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7" r:id="rId2"/>
    <p:sldId id="327" r:id="rId3"/>
    <p:sldId id="328" r:id="rId4"/>
    <p:sldId id="329" r:id="rId5"/>
    <p:sldId id="324" r:id="rId6"/>
    <p:sldId id="321" r:id="rId7"/>
    <p:sldId id="315" r:id="rId8"/>
    <p:sldId id="325" r:id="rId9"/>
    <p:sldId id="326" r:id="rId10"/>
    <p:sldId id="265" r:id="rId11"/>
    <p:sldId id="330" r:id="rId12"/>
    <p:sldId id="331" r:id="rId13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7F2A08-CA4A-477D-85EB-1FD48F2B47D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A40624-F18D-4D00-A7A8-8696AC5413D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2640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883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765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075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558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930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172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marketing'&gt;Marketing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5F3F6C-3D74-4EF5-AB85-974AAB73FB8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094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B02D91-ACE2-428D-C023-2A9A5A1F4C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D46BDD5-C1E9-20CF-0804-77D7C954AB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51BD958-0F61-1D35-2C48-7218E4B78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2600F6D-8EBC-EA42-1ECF-276F6861B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D0C000D-C31D-3634-8E27-4DB8FC5BF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892344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14CF22-FCAA-6275-0048-1EBA1CD04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6A624D5-2C9E-25F8-E366-8365CC234F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97797B7-5A8D-8700-09B6-9DAE7DA45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FCD3E82-125C-8028-71F9-FE784E8D4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196F9A9-C99F-6C61-A044-F135BCB13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8070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0924B63-B043-300C-1BAD-4069C5C960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ABF2C3A-359B-C63C-9FBF-5894DD6151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4047280-8899-0A5A-E1D9-43494FBD9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A5C3850-DE01-58EE-B11D-D2E919924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170C8B9-724C-DB54-6E4B-C75B7EC1E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2675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B8C902-C145-2256-6005-A234009B8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D6ECEDC-D749-FDDA-B2C7-304851E0FF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71D4913-7F74-DC94-78AC-9B64873F05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1F95A62-76CC-B9B3-6A5D-CDCF04081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6614887-0863-4A33-FC84-0EE5C12C4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3340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1BB802-13D3-7188-A1AD-613A3E8B1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6CF6213-16B6-651C-9F41-4F40A8BEC8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7F1DF58-3D66-51A7-9EC9-059B3E013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2B8DFEB-4D0C-F196-D594-9E022EA14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2BB9CDC-172F-D168-4C43-015CC565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0433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08E5F3-2FBC-772C-4FDB-FC98C045A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67F3A73-5F95-49EE-4CA1-6C7D3B80B4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7FAAF65-FECD-6A5F-A885-7787946FB1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8DC12EF-A166-68C7-39C7-61F6C0C77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9085480-987A-78F2-2EB5-13DE75998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FCADA0E-C2F7-413B-63BB-868CB58D4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2245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7C3901-5D75-EADE-9C9B-0E7C7FD71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A910B3A-CFF6-6371-716F-C2F3DFFFC1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7472F27-ECD7-539E-5F31-494DC43C0B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70912E4-980D-7D08-ED2C-A3D0562431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04B88A1B-35FB-BED0-F315-153EFB5A89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2C58E0F-1AAF-4453-6804-495C3BED6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889D62D-5C30-3F26-E6FB-A276312DF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1EA1F5E8-CF74-39F8-03E9-627B9D99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3968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4AC2E1-9FDB-BA4C-756D-66CB439D2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9DF1A5D-9C7C-6A9C-EA87-60BC389C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09D47FD9-8592-282F-FF33-FF893FA22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906E93A-412E-7D4E-047A-7E14C8FB8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588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856C6FE-EA6E-0EFF-A19D-90D50463F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95BA76E-EC95-B337-CD89-2C9C96E04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BF6C79F-973F-059D-C744-A3EC69244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0412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501256-F376-77A7-35CF-679B82FA8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8E04C29-13A5-C182-91F6-4F3D51234C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BAF1AA9-721D-87B9-CCD3-52FAEE460B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AC69E2E-B11D-05CA-6E4C-50DECC8FE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4B4FE64-3285-584E-E2BD-5A8247C63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005AB06-9388-6C3B-C4FA-EA5D9436A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0386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6B3756-D014-63E1-D139-DBC69E588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57D9D74-E5E4-898D-8750-5BD99827BB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8927619-0ADE-E3E9-51EE-2977F33414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32800D-7E4A-FF7F-E317-2A37AD90D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25B31ED-A9E7-3BDF-66A7-0C78BF5DD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D36D39C-66BA-0C5A-D8B6-10F057B57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8600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96F45629-05E7-3D2D-ADA3-177B4F1A9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14BF-F698-7B9A-F1FC-DAA0C32604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2DE664F-E104-ED3A-E77E-3B5140DF37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60556A-6386-4568-BFBC-69261B6B2B5B}" type="datetimeFigureOut">
              <a:rPr lang="pt-BR" smtClean="0"/>
              <a:t>25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7414AD2-B71B-D858-593B-E197E4EDA2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87BE20A-4060-CD02-3487-FF191B69D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3D8FAF-34D9-47FD-A4B7-30C841B127A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9977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507349-1603-4835-A7E9-859C7AC1BB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507349-1603-4835-A7E9-859C7AC1B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CFC9D7C-7287-4CB2-AD36-BEA7D3B1C8E1}"/>
              </a:ext>
            </a:extLst>
          </p:cNvPr>
          <p:cNvSpPr/>
          <p:nvPr/>
        </p:nvSpPr>
        <p:spPr>
          <a:xfrm>
            <a:off x="0" y="1043755"/>
            <a:ext cx="12192000" cy="5814245"/>
          </a:xfrm>
          <a:custGeom>
            <a:avLst/>
            <a:gdLst>
              <a:gd name="connsiteX0" fmla="*/ 4768964 w 12192000"/>
              <a:gd name="connsiteY0" fmla="*/ 1178 h 5814245"/>
              <a:gd name="connsiteX1" fmla="*/ 4868884 w 12192000"/>
              <a:gd name="connsiteY1" fmla="*/ 1274 h 5814245"/>
              <a:gd name="connsiteX2" fmla="*/ 6241130 w 12192000"/>
              <a:gd name="connsiteY2" fmla="*/ 2034191 h 5814245"/>
              <a:gd name="connsiteX3" fmla="*/ 6254151 w 12192000"/>
              <a:gd name="connsiteY3" fmla="*/ 2116718 h 5814245"/>
              <a:gd name="connsiteX4" fmla="*/ 6270171 w 12192000"/>
              <a:gd name="connsiteY4" fmla="*/ 2120359 h 5814245"/>
              <a:gd name="connsiteX5" fmla="*/ 7315200 w 12192000"/>
              <a:gd name="connsiteY5" fmla="*/ 4515216 h 5814245"/>
              <a:gd name="connsiteX6" fmla="*/ 10101943 w 12192000"/>
              <a:gd name="connsiteY6" fmla="*/ 5110302 h 5814245"/>
              <a:gd name="connsiteX7" fmla="*/ 11843657 w 12192000"/>
              <a:gd name="connsiteY7" fmla="*/ 3542759 h 5814245"/>
              <a:gd name="connsiteX8" fmla="*/ 12138385 w 12192000"/>
              <a:gd name="connsiteY8" fmla="*/ 3664027 h 5814245"/>
              <a:gd name="connsiteX9" fmla="*/ 12192000 w 12192000"/>
              <a:gd name="connsiteY9" fmla="*/ 3706925 h 5814245"/>
              <a:gd name="connsiteX10" fmla="*/ 12192000 w 12192000"/>
              <a:gd name="connsiteY10" fmla="*/ 5814245 h 5814245"/>
              <a:gd name="connsiteX11" fmla="*/ 0 w 12192000"/>
              <a:gd name="connsiteY11" fmla="*/ 5814245 h 5814245"/>
              <a:gd name="connsiteX12" fmla="*/ 0 w 12192000"/>
              <a:gd name="connsiteY12" fmla="*/ 2167841 h 5814245"/>
              <a:gd name="connsiteX13" fmla="*/ 28152 w 12192000"/>
              <a:gd name="connsiteY13" fmla="*/ 2153336 h 5814245"/>
              <a:gd name="connsiteX14" fmla="*/ 4768964 w 12192000"/>
              <a:gd name="connsiteY14" fmla="*/ 1178 h 58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5814245">
                <a:moveTo>
                  <a:pt x="4768964" y="1178"/>
                </a:moveTo>
                <a:cubicBezTo>
                  <a:pt x="4803939" y="-411"/>
                  <a:pt x="4837282" y="-407"/>
                  <a:pt x="4868884" y="1274"/>
                </a:cubicBezTo>
                <a:cubicBezTo>
                  <a:pt x="5745309" y="47909"/>
                  <a:pt x="6091253" y="1155499"/>
                  <a:pt x="6241130" y="2034191"/>
                </a:cubicBezTo>
                <a:lnTo>
                  <a:pt x="6254151" y="2116718"/>
                </a:lnTo>
                <a:lnTo>
                  <a:pt x="6270171" y="2120359"/>
                </a:lnTo>
                <a:cubicBezTo>
                  <a:pt x="6717696" y="2294530"/>
                  <a:pt x="6676573" y="4016892"/>
                  <a:pt x="7315200" y="4515216"/>
                </a:cubicBezTo>
                <a:cubicBezTo>
                  <a:pt x="7953829" y="5013540"/>
                  <a:pt x="9347200" y="5272378"/>
                  <a:pt x="10101943" y="5110302"/>
                </a:cubicBezTo>
                <a:cubicBezTo>
                  <a:pt x="10856686" y="4948226"/>
                  <a:pt x="11350171" y="3520988"/>
                  <a:pt x="11843657" y="3542759"/>
                </a:cubicBezTo>
                <a:cubicBezTo>
                  <a:pt x="11936186" y="3546841"/>
                  <a:pt x="12036453" y="3591235"/>
                  <a:pt x="12138385" y="3664027"/>
                </a:cubicBezTo>
                <a:lnTo>
                  <a:pt x="12192000" y="3706925"/>
                </a:lnTo>
                <a:lnTo>
                  <a:pt x="12192000" y="5814245"/>
                </a:lnTo>
                <a:lnTo>
                  <a:pt x="0" y="5814245"/>
                </a:lnTo>
                <a:lnTo>
                  <a:pt x="0" y="2167841"/>
                </a:lnTo>
                <a:lnTo>
                  <a:pt x="28152" y="2153336"/>
                </a:lnTo>
                <a:cubicBezTo>
                  <a:pt x="1030980" y="1629236"/>
                  <a:pt x="3684701" y="50421"/>
                  <a:pt x="4768964" y="117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8810EA9-C32E-4282-9010-D4A8D59E4692}"/>
              </a:ext>
            </a:extLst>
          </p:cNvPr>
          <p:cNvSpPr/>
          <p:nvPr/>
        </p:nvSpPr>
        <p:spPr>
          <a:xfrm>
            <a:off x="0" y="0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84DF823-4F38-465C-A86A-3025C9F0BEC5}"/>
              </a:ext>
            </a:extLst>
          </p:cNvPr>
          <p:cNvSpPr/>
          <p:nvPr/>
        </p:nvSpPr>
        <p:spPr>
          <a:xfrm>
            <a:off x="8308402" y="0"/>
            <a:ext cx="3883599" cy="3573334"/>
          </a:xfrm>
          <a:custGeom>
            <a:avLst/>
            <a:gdLst>
              <a:gd name="connsiteX0" fmla="*/ 0 w 3883599"/>
              <a:gd name="connsiteY0" fmla="*/ 0 h 3573334"/>
              <a:gd name="connsiteX1" fmla="*/ 3883599 w 3883599"/>
              <a:gd name="connsiteY1" fmla="*/ 0 h 3573334"/>
              <a:gd name="connsiteX2" fmla="*/ 3883599 w 3883599"/>
              <a:gd name="connsiteY2" fmla="*/ 3573334 h 3573334"/>
              <a:gd name="connsiteX3" fmla="*/ 3844236 w 3883599"/>
              <a:gd name="connsiteY3" fmla="*/ 3561483 h 3573334"/>
              <a:gd name="connsiteX4" fmla="*/ 3731199 w 3883599"/>
              <a:gd name="connsiteY4" fmla="*/ 3505200 h 3573334"/>
              <a:gd name="connsiteX5" fmla="*/ 2321499 w 3883599"/>
              <a:gd name="connsiteY5" fmla="*/ 628650 h 3573334"/>
              <a:gd name="connsiteX6" fmla="*/ 73599 w 3883599"/>
              <a:gd name="connsiteY6" fmla="*/ 57150 h 3573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83599" h="3573334">
                <a:moveTo>
                  <a:pt x="0" y="0"/>
                </a:moveTo>
                <a:lnTo>
                  <a:pt x="3883599" y="0"/>
                </a:lnTo>
                <a:lnTo>
                  <a:pt x="3883599" y="3573334"/>
                </a:lnTo>
                <a:lnTo>
                  <a:pt x="3844236" y="3561483"/>
                </a:lnTo>
                <a:cubicBezTo>
                  <a:pt x="3803964" y="3545743"/>
                  <a:pt x="3766124" y="3527028"/>
                  <a:pt x="3731199" y="3505200"/>
                </a:cubicBezTo>
                <a:cubicBezTo>
                  <a:pt x="3172399" y="3155950"/>
                  <a:pt x="2931099" y="1203325"/>
                  <a:pt x="2321499" y="628650"/>
                </a:cubicBezTo>
                <a:cubicBezTo>
                  <a:pt x="1711899" y="53975"/>
                  <a:pt x="387924" y="257175"/>
                  <a:pt x="73599" y="5715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016D9A-3D4D-403B-9F7E-58579D48A7FB}"/>
              </a:ext>
            </a:extLst>
          </p:cNvPr>
          <p:cNvSpPr txBox="1"/>
          <p:nvPr/>
        </p:nvSpPr>
        <p:spPr>
          <a:xfrm>
            <a:off x="340651" y="2315724"/>
            <a:ext cx="5112302" cy="4555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444361"/>
                </a:solidFill>
                <a:effectLst/>
                <a:uLnTx/>
                <a:uFillTx/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rodu</a:t>
            </a:r>
            <a:r>
              <a:rPr lang="en-US" sz="40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ção</a:t>
            </a:r>
            <a:r>
              <a:rPr lang="en-US" sz="40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do </a:t>
            </a:r>
            <a:r>
              <a:rPr lang="en-US" sz="40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conhecimento</a:t>
            </a:r>
            <a:r>
              <a:rPr lang="en-US" sz="40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en-US" sz="40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científico</a:t>
            </a:r>
            <a:r>
              <a:rPr lang="en-US" sz="40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, </a:t>
            </a:r>
            <a:r>
              <a:rPr lang="en-US" sz="40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ecnológico</a:t>
            </a:r>
            <a:r>
              <a:rPr lang="en-US" sz="40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e </a:t>
            </a:r>
            <a:r>
              <a:rPr lang="en-US" sz="40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Disrupção</a:t>
            </a:r>
            <a:endParaRPr lang="en-US" sz="4000" b="1" dirty="0">
              <a:solidFill>
                <a:srgbClr val="444361"/>
              </a:solidFill>
              <a:latin typeface="Arial Black" panose="020B0A04020102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444361"/>
              </a:solidFill>
              <a:effectLst/>
              <a:uLnTx/>
              <a:uFillTx/>
              <a:latin typeface="Arial Black" panose="020B0A04020102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rofª. </a:t>
            </a:r>
            <a:r>
              <a:rPr lang="en-US" sz="2800" b="1" dirty="0" err="1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sc</a:t>
            </a:r>
            <a:r>
              <a:rPr lang="en-US" sz="2800" b="1" dirty="0">
                <a:solidFill>
                  <a:srgbClr val="44436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. Talita Soares de Andrad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44361"/>
              </a:solidFill>
              <a:effectLst/>
              <a:uLnTx/>
              <a:uFillTx/>
              <a:latin typeface="Arial Black" panose="020B0A04020102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31B99DC-F2D7-4B3D-A7E0-13D726E85C6B}"/>
              </a:ext>
            </a:extLst>
          </p:cNvPr>
          <p:cNvGrpSpPr/>
          <p:nvPr/>
        </p:nvGrpSpPr>
        <p:grpSpPr>
          <a:xfrm>
            <a:off x="202274" y="254454"/>
            <a:ext cx="304800" cy="226242"/>
            <a:chOff x="202274" y="254454"/>
            <a:chExt cx="304800" cy="226242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B9D80AF-CBDC-4F06-BFB3-903F680BDF9D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6489337C-7451-48C4-825E-B67F0888466E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FE43B90-3247-49EF-B026-8064CA7C229B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F7E80D2-CAC5-490A-9A62-E12576AF0108}"/>
              </a:ext>
            </a:extLst>
          </p:cNvPr>
          <p:cNvGrpSpPr/>
          <p:nvPr/>
        </p:nvGrpSpPr>
        <p:grpSpPr>
          <a:xfrm flipH="1">
            <a:off x="11649736" y="6399666"/>
            <a:ext cx="304800" cy="226242"/>
            <a:chOff x="202274" y="254454"/>
            <a:chExt cx="304800" cy="226242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36B7D85-FB32-47EA-9B4E-9FB586C13AE2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675630C6-4BFA-4084-8C4D-D1324E72D46D}"/>
                </a:ext>
              </a:extLst>
            </p:cNvPr>
            <p:cNvCxnSpPr/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3303E8AE-2057-4400-9429-67EC5951A3FF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217">
            <a:extLst>
              <a:ext uri="{FF2B5EF4-FFF2-40B4-BE49-F238E27FC236}">
                <a16:creationId xmlns:a16="http://schemas.microsoft.com/office/drawing/2014/main" id="{81CBC0E1-5CBD-40D8-9CD3-1F49F2135446}"/>
              </a:ext>
            </a:extLst>
          </p:cNvPr>
          <p:cNvGrpSpPr>
            <a:grpSpLocks/>
          </p:cNvGrpSpPr>
          <p:nvPr/>
        </p:nvGrpSpPr>
        <p:grpSpPr bwMode="auto">
          <a:xfrm>
            <a:off x="5684037" y="1138446"/>
            <a:ext cx="5248729" cy="5261220"/>
            <a:chOff x="3138" y="-154"/>
            <a:chExt cx="4202" cy="4212"/>
          </a:xfrm>
        </p:grpSpPr>
        <p:sp>
          <p:nvSpPr>
            <p:cNvPr id="109" name="Freeform 20">
              <a:extLst>
                <a:ext uri="{FF2B5EF4-FFF2-40B4-BE49-F238E27FC236}">
                  <a16:creationId xmlns:a16="http://schemas.microsoft.com/office/drawing/2014/main" id="{1B460361-3295-4CAE-860A-D9B8EF309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4" y="2633"/>
              <a:ext cx="1847" cy="727"/>
            </a:xfrm>
            <a:custGeom>
              <a:avLst/>
              <a:gdLst>
                <a:gd name="T0" fmla="*/ 38 w 1847"/>
                <a:gd name="T1" fmla="*/ 727 h 727"/>
                <a:gd name="T2" fmla="*/ 1811 w 1847"/>
                <a:gd name="T3" fmla="*/ 727 h 727"/>
                <a:gd name="T4" fmla="*/ 1847 w 1847"/>
                <a:gd name="T5" fmla="*/ 0 h 727"/>
                <a:gd name="T6" fmla="*/ 0 w 1847"/>
                <a:gd name="T7" fmla="*/ 0 h 727"/>
                <a:gd name="T8" fmla="*/ 38 w 1847"/>
                <a:gd name="T9" fmla="*/ 727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7" h="727">
                  <a:moveTo>
                    <a:pt x="38" y="727"/>
                  </a:moveTo>
                  <a:lnTo>
                    <a:pt x="1811" y="727"/>
                  </a:lnTo>
                  <a:lnTo>
                    <a:pt x="1847" y="0"/>
                  </a:lnTo>
                  <a:lnTo>
                    <a:pt x="0" y="0"/>
                  </a:lnTo>
                  <a:lnTo>
                    <a:pt x="38" y="727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1">
              <a:extLst>
                <a:ext uri="{FF2B5EF4-FFF2-40B4-BE49-F238E27FC236}">
                  <a16:creationId xmlns:a16="http://schemas.microsoft.com/office/drawing/2014/main" id="{7D975171-8A18-41DF-AF05-E72752EB7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5" y="2714"/>
              <a:ext cx="771" cy="252"/>
            </a:xfrm>
            <a:custGeom>
              <a:avLst/>
              <a:gdLst>
                <a:gd name="T0" fmla="*/ 755 w 771"/>
                <a:gd name="T1" fmla="*/ 252 h 252"/>
                <a:gd name="T2" fmla="*/ 14 w 771"/>
                <a:gd name="T3" fmla="*/ 252 h 252"/>
                <a:gd name="T4" fmla="*/ 0 w 771"/>
                <a:gd name="T5" fmla="*/ 0 h 252"/>
                <a:gd name="T6" fmla="*/ 771 w 771"/>
                <a:gd name="T7" fmla="*/ 0 h 252"/>
                <a:gd name="T8" fmla="*/ 755 w 771"/>
                <a:gd name="T9" fmla="*/ 252 h 252"/>
                <a:gd name="T10" fmla="*/ 23 w 771"/>
                <a:gd name="T11" fmla="*/ 242 h 252"/>
                <a:gd name="T12" fmla="*/ 748 w 771"/>
                <a:gd name="T13" fmla="*/ 242 h 252"/>
                <a:gd name="T14" fmla="*/ 762 w 771"/>
                <a:gd name="T15" fmla="*/ 10 h 252"/>
                <a:gd name="T16" fmla="*/ 9 w 771"/>
                <a:gd name="T17" fmla="*/ 10 h 252"/>
                <a:gd name="T18" fmla="*/ 23 w 771"/>
                <a:gd name="T19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1" h="252">
                  <a:moveTo>
                    <a:pt x="755" y="252"/>
                  </a:moveTo>
                  <a:lnTo>
                    <a:pt x="14" y="252"/>
                  </a:lnTo>
                  <a:lnTo>
                    <a:pt x="0" y="0"/>
                  </a:lnTo>
                  <a:lnTo>
                    <a:pt x="771" y="0"/>
                  </a:lnTo>
                  <a:lnTo>
                    <a:pt x="755" y="252"/>
                  </a:lnTo>
                  <a:close/>
                  <a:moveTo>
                    <a:pt x="23" y="242"/>
                  </a:moveTo>
                  <a:lnTo>
                    <a:pt x="748" y="242"/>
                  </a:lnTo>
                  <a:lnTo>
                    <a:pt x="762" y="10"/>
                  </a:lnTo>
                  <a:lnTo>
                    <a:pt x="9" y="10"/>
                  </a:lnTo>
                  <a:lnTo>
                    <a:pt x="23" y="24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2">
              <a:extLst>
                <a:ext uri="{FF2B5EF4-FFF2-40B4-BE49-F238E27FC236}">
                  <a16:creationId xmlns:a16="http://schemas.microsoft.com/office/drawing/2014/main" id="{105B9A83-316E-466F-967B-FAC39DE5DC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8" y="3030"/>
              <a:ext cx="724" cy="228"/>
            </a:xfrm>
            <a:custGeom>
              <a:avLst/>
              <a:gdLst>
                <a:gd name="T0" fmla="*/ 710 w 724"/>
                <a:gd name="T1" fmla="*/ 228 h 228"/>
                <a:gd name="T2" fmla="*/ 9 w 724"/>
                <a:gd name="T3" fmla="*/ 228 h 228"/>
                <a:gd name="T4" fmla="*/ 0 w 724"/>
                <a:gd name="T5" fmla="*/ 0 h 228"/>
                <a:gd name="T6" fmla="*/ 724 w 724"/>
                <a:gd name="T7" fmla="*/ 0 h 228"/>
                <a:gd name="T8" fmla="*/ 710 w 724"/>
                <a:gd name="T9" fmla="*/ 228 h 228"/>
                <a:gd name="T10" fmla="*/ 19 w 724"/>
                <a:gd name="T11" fmla="*/ 218 h 228"/>
                <a:gd name="T12" fmla="*/ 700 w 724"/>
                <a:gd name="T13" fmla="*/ 218 h 228"/>
                <a:gd name="T14" fmla="*/ 715 w 724"/>
                <a:gd name="T15" fmla="*/ 7 h 228"/>
                <a:gd name="T16" fmla="*/ 9 w 724"/>
                <a:gd name="T17" fmla="*/ 7 h 228"/>
                <a:gd name="T18" fmla="*/ 19 w 724"/>
                <a:gd name="T19" fmla="*/ 21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228">
                  <a:moveTo>
                    <a:pt x="710" y="228"/>
                  </a:moveTo>
                  <a:lnTo>
                    <a:pt x="9" y="228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10" y="228"/>
                  </a:lnTo>
                  <a:close/>
                  <a:moveTo>
                    <a:pt x="19" y="218"/>
                  </a:moveTo>
                  <a:lnTo>
                    <a:pt x="700" y="218"/>
                  </a:lnTo>
                  <a:lnTo>
                    <a:pt x="715" y="7"/>
                  </a:lnTo>
                  <a:lnTo>
                    <a:pt x="9" y="7"/>
                  </a:lnTo>
                  <a:lnTo>
                    <a:pt x="19" y="218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3">
              <a:extLst>
                <a:ext uri="{FF2B5EF4-FFF2-40B4-BE49-F238E27FC236}">
                  <a16:creationId xmlns:a16="http://schemas.microsoft.com/office/drawing/2014/main" id="{9514E5A9-0D4B-41D5-82DC-369477A7D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0" y="2807"/>
              <a:ext cx="140" cy="61"/>
            </a:xfrm>
            <a:custGeom>
              <a:avLst/>
              <a:gdLst>
                <a:gd name="T0" fmla="*/ 131 w 140"/>
                <a:gd name="T1" fmla="*/ 61 h 61"/>
                <a:gd name="T2" fmla="*/ 7 w 140"/>
                <a:gd name="T3" fmla="*/ 61 h 61"/>
                <a:gd name="T4" fmla="*/ 0 w 140"/>
                <a:gd name="T5" fmla="*/ 0 h 61"/>
                <a:gd name="T6" fmla="*/ 140 w 140"/>
                <a:gd name="T7" fmla="*/ 0 h 61"/>
                <a:gd name="T8" fmla="*/ 131 w 140"/>
                <a:gd name="T9" fmla="*/ 61 h 61"/>
                <a:gd name="T10" fmla="*/ 14 w 140"/>
                <a:gd name="T11" fmla="*/ 52 h 61"/>
                <a:gd name="T12" fmla="*/ 123 w 140"/>
                <a:gd name="T13" fmla="*/ 52 h 61"/>
                <a:gd name="T14" fmla="*/ 128 w 140"/>
                <a:gd name="T15" fmla="*/ 9 h 61"/>
                <a:gd name="T16" fmla="*/ 9 w 140"/>
                <a:gd name="T17" fmla="*/ 9 h 61"/>
                <a:gd name="T18" fmla="*/ 14 w 140"/>
                <a:gd name="T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61">
                  <a:moveTo>
                    <a:pt x="131" y="61"/>
                  </a:moveTo>
                  <a:lnTo>
                    <a:pt x="7" y="61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1" y="61"/>
                  </a:lnTo>
                  <a:close/>
                  <a:moveTo>
                    <a:pt x="14" y="52"/>
                  </a:moveTo>
                  <a:lnTo>
                    <a:pt x="123" y="52"/>
                  </a:lnTo>
                  <a:lnTo>
                    <a:pt x="128" y="9"/>
                  </a:lnTo>
                  <a:lnTo>
                    <a:pt x="9" y="9"/>
                  </a:lnTo>
                  <a:lnTo>
                    <a:pt x="14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24">
              <a:extLst>
                <a:ext uri="{FF2B5EF4-FFF2-40B4-BE49-F238E27FC236}">
                  <a16:creationId xmlns:a16="http://schemas.microsoft.com/office/drawing/2014/main" id="{7DCEAD87-3BFA-4E5C-B20D-C641F5662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0" y="3113"/>
              <a:ext cx="140" cy="59"/>
            </a:xfrm>
            <a:custGeom>
              <a:avLst/>
              <a:gdLst>
                <a:gd name="T0" fmla="*/ 131 w 140"/>
                <a:gd name="T1" fmla="*/ 59 h 59"/>
                <a:gd name="T2" fmla="*/ 7 w 140"/>
                <a:gd name="T3" fmla="*/ 59 h 59"/>
                <a:gd name="T4" fmla="*/ 0 w 140"/>
                <a:gd name="T5" fmla="*/ 0 h 59"/>
                <a:gd name="T6" fmla="*/ 140 w 140"/>
                <a:gd name="T7" fmla="*/ 0 h 59"/>
                <a:gd name="T8" fmla="*/ 131 w 140"/>
                <a:gd name="T9" fmla="*/ 59 h 59"/>
                <a:gd name="T10" fmla="*/ 14 w 140"/>
                <a:gd name="T11" fmla="*/ 52 h 59"/>
                <a:gd name="T12" fmla="*/ 123 w 140"/>
                <a:gd name="T13" fmla="*/ 52 h 59"/>
                <a:gd name="T14" fmla="*/ 128 w 140"/>
                <a:gd name="T15" fmla="*/ 9 h 59"/>
                <a:gd name="T16" fmla="*/ 9 w 140"/>
                <a:gd name="T17" fmla="*/ 9 h 59"/>
                <a:gd name="T18" fmla="*/ 14 w 140"/>
                <a:gd name="T19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59">
                  <a:moveTo>
                    <a:pt x="131" y="5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1" y="59"/>
                  </a:lnTo>
                  <a:close/>
                  <a:moveTo>
                    <a:pt x="14" y="52"/>
                  </a:moveTo>
                  <a:lnTo>
                    <a:pt x="123" y="52"/>
                  </a:lnTo>
                  <a:lnTo>
                    <a:pt x="128" y="9"/>
                  </a:lnTo>
                  <a:lnTo>
                    <a:pt x="9" y="9"/>
                  </a:lnTo>
                  <a:lnTo>
                    <a:pt x="14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5">
              <a:extLst>
                <a:ext uri="{FF2B5EF4-FFF2-40B4-BE49-F238E27FC236}">
                  <a16:creationId xmlns:a16="http://schemas.microsoft.com/office/drawing/2014/main" id="{FD3D33F1-61D4-48A1-9020-9EA0C8D486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3" y="2714"/>
              <a:ext cx="772" cy="252"/>
            </a:xfrm>
            <a:custGeom>
              <a:avLst/>
              <a:gdLst>
                <a:gd name="T0" fmla="*/ 755 w 772"/>
                <a:gd name="T1" fmla="*/ 252 h 252"/>
                <a:gd name="T2" fmla="*/ 15 w 772"/>
                <a:gd name="T3" fmla="*/ 252 h 252"/>
                <a:gd name="T4" fmla="*/ 0 w 772"/>
                <a:gd name="T5" fmla="*/ 0 h 252"/>
                <a:gd name="T6" fmla="*/ 772 w 772"/>
                <a:gd name="T7" fmla="*/ 0 h 252"/>
                <a:gd name="T8" fmla="*/ 755 w 772"/>
                <a:gd name="T9" fmla="*/ 252 h 252"/>
                <a:gd name="T10" fmla="*/ 22 w 772"/>
                <a:gd name="T11" fmla="*/ 242 h 252"/>
                <a:gd name="T12" fmla="*/ 748 w 772"/>
                <a:gd name="T13" fmla="*/ 242 h 252"/>
                <a:gd name="T14" fmla="*/ 763 w 772"/>
                <a:gd name="T15" fmla="*/ 10 h 252"/>
                <a:gd name="T16" fmla="*/ 10 w 772"/>
                <a:gd name="T17" fmla="*/ 10 h 252"/>
                <a:gd name="T18" fmla="*/ 22 w 772"/>
                <a:gd name="T19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2" h="252">
                  <a:moveTo>
                    <a:pt x="755" y="252"/>
                  </a:moveTo>
                  <a:lnTo>
                    <a:pt x="15" y="252"/>
                  </a:lnTo>
                  <a:lnTo>
                    <a:pt x="0" y="0"/>
                  </a:lnTo>
                  <a:lnTo>
                    <a:pt x="772" y="0"/>
                  </a:lnTo>
                  <a:lnTo>
                    <a:pt x="755" y="252"/>
                  </a:lnTo>
                  <a:close/>
                  <a:moveTo>
                    <a:pt x="22" y="242"/>
                  </a:moveTo>
                  <a:lnTo>
                    <a:pt x="748" y="242"/>
                  </a:lnTo>
                  <a:lnTo>
                    <a:pt x="763" y="10"/>
                  </a:lnTo>
                  <a:lnTo>
                    <a:pt x="10" y="10"/>
                  </a:lnTo>
                  <a:lnTo>
                    <a:pt x="22" y="24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6">
              <a:extLst>
                <a:ext uri="{FF2B5EF4-FFF2-40B4-BE49-F238E27FC236}">
                  <a16:creationId xmlns:a16="http://schemas.microsoft.com/office/drawing/2014/main" id="{49AD9E3E-5E9B-4AE3-9EBB-AE21877379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4" y="3030"/>
              <a:ext cx="724" cy="228"/>
            </a:xfrm>
            <a:custGeom>
              <a:avLst/>
              <a:gdLst>
                <a:gd name="T0" fmla="*/ 710 w 724"/>
                <a:gd name="T1" fmla="*/ 228 h 228"/>
                <a:gd name="T2" fmla="*/ 12 w 724"/>
                <a:gd name="T3" fmla="*/ 228 h 228"/>
                <a:gd name="T4" fmla="*/ 0 w 724"/>
                <a:gd name="T5" fmla="*/ 0 h 228"/>
                <a:gd name="T6" fmla="*/ 724 w 724"/>
                <a:gd name="T7" fmla="*/ 0 h 228"/>
                <a:gd name="T8" fmla="*/ 710 w 724"/>
                <a:gd name="T9" fmla="*/ 228 h 228"/>
                <a:gd name="T10" fmla="*/ 22 w 724"/>
                <a:gd name="T11" fmla="*/ 218 h 228"/>
                <a:gd name="T12" fmla="*/ 703 w 724"/>
                <a:gd name="T13" fmla="*/ 218 h 228"/>
                <a:gd name="T14" fmla="*/ 715 w 724"/>
                <a:gd name="T15" fmla="*/ 7 h 228"/>
                <a:gd name="T16" fmla="*/ 10 w 724"/>
                <a:gd name="T17" fmla="*/ 7 h 228"/>
                <a:gd name="T18" fmla="*/ 22 w 724"/>
                <a:gd name="T19" fmla="*/ 21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228">
                  <a:moveTo>
                    <a:pt x="710" y="228"/>
                  </a:moveTo>
                  <a:lnTo>
                    <a:pt x="12" y="228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10" y="228"/>
                  </a:lnTo>
                  <a:close/>
                  <a:moveTo>
                    <a:pt x="22" y="218"/>
                  </a:moveTo>
                  <a:lnTo>
                    <a:pt x="703" y="218"/>
                  </a:lnTo>
                  <a:lnTo>
                    <a:pt x="715" y="7"/>
                  </a:lnTo>
                  <a:lnTo>
                    <a:pt x="10" y="7"/>
                  </a:lnTo>
                  <a:lnTo>
                    <a:pt x="22" y="218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7">
              <a:extLst>
                <a:ext uri="{FF2B5EF4-FFF2-40B4-BE49-F238E27FC236}">
                  <a16:creationId xmlns:a16="http://schemas.microsoft.com/office/drawing/2014/main" id="{1F8C54A6-D232-4FFD-A8F0-595D7E19B5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6" y="2807"/>
              <a:ext cx="140" cy="61"/>
            </a:xfrm>
            <a:custGeom>
              <a:avLst/>
              <a:gdLst>
                <a:gd name="T0" fmla="*/ 133 w 140"/>
                <a:gd name="T1" fmla="*/ 61 h 61"/>
                <a:gd name="T2" fmla="*/ 10 w 140"/>
                <a:gd name="T3" fmla="*/ 61 h 61"/>
                <a:gd name="T4" fmla="*/ 0 w 140"/>
                <a:gd name="T5" fmla="*/ 0 h 61"/>
                <a:gd name="T6" fmla="*/ 140 w 140"/>
                <a:gd name="T7" fmla="*/ 0 h 61"/>
                <a:gd name="T8" fmla="*/ 133 w 140"/>
                <a:gd name="T9" fmla="*/ 61 h 61"/>
                <a:gd name="T10" fmla="*/ 17 w 140"/>
                <a:gd name="T11" fmla="*/ 52 h 61"/>
                <a:gd name="T12" fmla="*/ 126 w 140"/>
                <a:gd name="T13" fmla="*/ 52 h 61"/>
                <a:gd name="T14" fmla="*/ 131 w 140"/>
                <a:gd name="T15" fmla="*/ 9 h 61"/>
                <a:gd name="T16" fmla="*/ 12 w 140"/>
                <a:gd name="T17" fmla="*/ 9 h 61"/>
                <a:gd name="T18" fmla="*/ 17 w 140"/>
                <a:gd name="T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61">
                  <a:moveTo>
                    <a:pt x="133" y="61"/>
                  </a:moveTo>
                  <a:lnTo>
                    <a:pt x="10" y="61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3" y="61"/>
                  </a:lnTo>
                  <a:close/>
                  <a:moveTo>
                    <a:pt x="17" y="52"/>
                  </a:moveTo>
                  <a:lnTo>
                    <a:pt x="126" y="52"/>
                  </a:lnTo>
                  <a:lnTo>
                    <a:pt x="131" y="9"/>
                  </a:lnTo>
                  <a:lnTo>
                    <a:pt x="12" y="9"/>
                  </a:lnTo>
                  <a:lnTo>
                    <a:pt x="17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8">
              <a:extLst>
                <a:ext uri="{FF2B5EF4-FFF2-40B4-BE49-F238E27FC236}">
                  <a16:creationId xmlns:a16="http://schemas.microsoft.com/office/drawing/2014/main" id="{8347D4FF-7E66-4C63-A6E7-572C0E0828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6" y="3113"/>
              <a:ext cx="140" cy="59"/>
            </a:xfrm>
            <a:custGeom>
              <a:avLst/>
              <a:gdLst>
                <a:gd name="T0" fmla="*/ 133 w 140"/>
                <a:gd name="T1" fmla="*/ 59 h 59"/>
                <a:gd name="T2" fmla="*/ 10 w 140"/>
                <a:gd name="T3" fmla="*/ 59 h 59"/>
                <a:gd name="T4" fmla="*/ 0 w 140"/>
                <a:gd name="T5" fmla="*/ 0 h 59"/>
                <a:gd name="T6" fmla="*/ 140 w 140"/>
                <a:gd name="T7" fmla="*/ 0 h 59"/>
                <a:gd name="T8" fmla="*/ 133 w 140"/>
                <a:gd name="T9" fmla="*/ 59 h 59"/>
                <a:gd name="T10" fmla="*/ 17 w 140"/>
                <a:gd name="T11" fmla="*/ 52 h 59"/>
                <a:gd name="T12" fmla="*/ 126 w 140"/>
                <a:gd name="T13" fmla="*/ 52 h 59"/>
                <a:gd name="T14" fmla="*/ 131 w 140"/>
                <a:gd name="T15" fmla="*/ 9 h 59"/>
                <a:gd name="T16" fmla="*/ 12 w 140"/>
                <a:gd name="T17" fmla="*/ 9 h 59"/>
                <a:gd name="T18" fmla="*/ 17 w 140"/>
                <a:gd name="T19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59">
                  <a:moveTo>
                    <a:pt x="133" y="59"/>
                  </a:moveTo>
                  <a:lnTo>
                    <a:pt x="10" y="59"/>
                  </a:lnTo>
                  <a:lnTo>
                    <a:pt x="0" y="0"/>
                  </a:lnTo>
                  <a:lnTo>
                    <a:pt x="140" y="0"/>
                  </a:lnTo>
                  <a:lnTo>
                    <a:pt x="133" y="59"/>
                  </a:lnTo>
                  <a:close/>
                  <a:moveTo>
                    <a:pt x="17" y="52"/>
                  </a:moveTo>
                  <a:lnTo>
                    <a:pt x="126" y="52"/>
                  </a:lnTo>
                  <a:lnTo>
                    <a:pt x="131" y="9"/>
                  </a:lnTo>
                  <a:lnTo>
                    <a:pt x="12" y="9"/>
                  </a:lnTo>
                  <a:lnTo>
                    <a:pt x="17" y="52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9">
              <a:extLst>
                <a:ext uri="{FF2B5EF4-FFF2-40B4-BE49-F238E27FC236}">
                  <a16:creationId xmlns:a16="http://schemas.microsoft.com/office/drawing/2014/main" id="{99C00E35-7A2E-4384-98D9-965FB19B4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360"/>
              <a:ext cx="79" cy="240"/>
            </a:xfrm>
            <a:custGeom>
              <a:avLst/>
              <a:gdLst>
                <a:gd name="T0" fmla="*/ 79 w 79"/>
                <a:gd name="T1" fmla="*/ 0 h 240"/>
                <a:gd name="T2" fmla="*/ 67 w 79"/>
                <a:gd name="T3" fmla="*/ 81 h 240"/>
                <a:gd name="T4" fmla="*/ 46 w 79"/>
                <a:gd name="T5" fmla="*/ 240 h 240"/>
                <a:gd name="T6" fmla="*/ 0 w 79"/>
                <a:gd name="T7" fmla="*/ 240 h 240"/>
                <a:gd name="T8" fmla="*/ 0 w 79"/>
                <a:gd name="T9" fmla="*/ 0 h 240"/>
                <a:gd name="T10" fmla="*/ 79 w 79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240">
                  <a:moveTo>
                    <a:pt x="79" y="0"/>
                  </a:moveTo>
                  <a:lnTo>
                    <a:pt x="67" y="81"/>
                  </a:lnTo>
                  <a:lnTo>
                    <a:pt x="46" y="240"/>
                  </a:lnTo>
                  <a:lnTo>
                    <a:pt x="0" y="240"/>
                  </a:lnTo>
                  <a:lnTo>
                    <a:pt x="0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0">
              <a:extLst>
                <a:ext uri="{FF2B5EF4-FFF2-40B4-BE49-F238E27FC236}">
                  <a16:creationId xmlns:a16="http://schemas.microsoft.com/office/drawing/2014/main" id="{A9942964-96DE-4CAB-B868-705683F83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360"/>
              <a:ext cx="79" cy="81"/>
            </a:xfrm>
            <a:custGeom>
              <a:avLst/>
              <a:gdLst>
                <a:gd name="T0" fmla="*/ 79 w 79"/>
                <a:gd name="T1" fmla="*/ 0 h 81"/>
                <a:gd name="T2" fmla="*/ 67 w 79"/>
                <a:gd name="T3" fmla="*/ 81 h 81"/>
                <a:gd name="T4" fmla="*/ 0 w 79"/>
                <a:gd name="T5" fmla="*/ 81 h 81"/>
                <a:gd name="T6" fmla="*/ 0 w 79"/>
                <a:gd name="T7" fmla="*/ 0 h 81"/>
                <a:gd name="T8" fmla="*/ 79 w 79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81">
                  <a:moveTo>
                    <a:pt x="79" y="0"/>
                  </a:moveTo>
                  <a:lnTo>
                    <a:pt x="67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">
              <a:extLst>
                <a:ext uri="{FF2B5EF4-FFF2-40B4-BE49-F238E27FC236}">
                  <a16:creationId xmlns:a16="http://schemas.microsoft.com/office/drawing/2014/main" id="{663CAB0F-DCE4-4F69-B3C7-7E535E1BA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" y="3360"/>
              <a:ext cx="76" cy="240"/>
            </a:xfrm>
            <a:custGeom>
              <a:avLst/>
              <a:gdLst>
                <a:gd name="T0" fmla="*/ 0 w 76"/>
                <a:gd name="T1" fmla="*/ 0 h 240"/>
                <a:gd name="T2" fmla="*/ 10 w 76"/>
                <a:gd name="T3" fmla="*/ 81 h 240"/>
                <a:gd name="T4" fmla="*/ 33 w 76"/>
                <a:gd name="T5" fmla="*/ 240 h 240"/>
                <a:gd name="T6" fmla="*/ 76 w 76"/>
                <a:gd name="T7" fmla="*/ 240 h 240"/>
                <a:gd name="T8" fmla="*/ 76 w 76"/>
                <a:gd name="T9" fmla="*/ 0 h 240"/>
                <a:gd name="T10" fmla="*/ 0 w 76"/>
                <a:gd name="T11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240">
                  <a:moveTo>
                    <a:pt x="0" y="0"/>
                  </a:moveTo>
                  <a:lnTo>
                    <a:pt x="10" y="81"/>
                  </a:lnTo>
                  <a:lnTo>
                    <a:pt x="33" y="240"/>
                  </a:lnTo>
                  <a:lnTo>
                    <a:pt x="76" y="240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2">
              <a:extLst>
                <a:ext uri="{FF2B5EF4-FFF2-40B4-BE49-F238E27FC236}">
                  <a16:creationId xmlns:a16="http://schemas.microsoft.com/office/drawing/2014/main" id="{E81528D9-1ACC-43CF-ACF1-BDAB5FACA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" y="3360"/>
              <a:ext cx="76" cy="81"/>
            </a:xfrm>
            <a:custGeom>
              <a:avLst/>
              <a:gdLst>
                <a:gd name="T0" fmla="*/ 0 w 76"/>
                <a:gd name="T1" fmla="*/ 0 h 81"/>
                <a:gd name="T2" fmla="*/ 10 w 76"/>
                <a:gd name="T3" fmla="*/ 81 h 81"/>
                <a:gd name="T4" fmla="*/ 76 w 76"/>
                <a:gd name="T5" fmla="*/ 81 h 81"/>
                <a:gd name="T6" fmla="*/ 76 w 76"/>
                <a:gd name="T7" fmla="*/ 0 h 81"/>
                <a:gd name="T8" fmla="*/ 0 w 76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81">
                  <a:moveTo>
                    <a:pt x="0" y="0"/>
                  </a:moveTo>
                  <a:lnTo>
                    <a:pt x="10" y="81"/>
                  </a:lnTo>
                  <a:lnTo>
                    <a:pt x="76" y="81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Oval 33">
              <a:extLst>
                <a:ext uri="{FF2B5EF4-FFF2-40B4-BE49-F238E27FC236}">
                  <a16:creationId xmlns:a16="http://schemas.microsoft.com/office/drawing/2014/main" id="{0E0E3EB6-6CE7-4EA7-A63F-EC0E3801F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5" y="3709"/>
              <a:ext cx="2018" cy="349"/>
            </a:xfrm>
            <a:prstGeom prst="ellipse">
              <a:avLst/>
            </a:prstGeom>
            <a:solidFill>
              <a:srgbClr val="8A8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id="{B8CA8EFB-6FD5-4155-9974-8F6BF3FDC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" y="3600"/>
              <a:ext cx="4183" cy="9"/>
            </a:xfrm>
            <a:custGeom>
              <a:avLst/>
              <a:gdLst>
                <a:gd name="T0" fmla="*/ 0 w 4183"/>
                <a:gd name="T1" fmla="*/ 4 h 9"/>
                <a:gd name="T2" fmla="*/ 523 w 4183"/>
                <a:gd name="T3" fmla="*/ 2 h 9"/>
                <a:gd name="T4" fmla="*/ 1045 w 4183"/>
                <a:gd name="T5" fmla="*/ 2 h 9"/>
                <a:gd name="T6" fmla="*/ 2092 w 4183"/>
                <a:gd name="T7" fmla="*/ 0 h 9"/>
                <a:gd name="T8" fmla="*/ 3139 w 4183"/>
                <a:gd name="T9" fmla="*/ 2 h 9"/>
                <a:gd name="T10" fmla="*/ 3661 w 4183"/>
                <a:gd name="T11" fmla="*/ 2 h 9"/>
                <a:gd name="T12" fmla="*/ 4183 w 4183"/>
                <a:gd name="T13" fmla="*/ 4 h 9"/>
                <a:gd name="T14" fmla="*/ 3661 w 4183"/>
                <a:gd name="T15" fmla="*/ 7 h 9"/>
                <a:gd name="T16" fmla="*/ 3139 w 4183"/>
                <a:gd name="T17" fmla="*/ 7 h 9"/>
                <a:gd name="T18" fmla="*/ 2092 w 4183"/>
                <a:gd name="T19" fmla="*/ 9 h 9"/>
                <a:gd name="T20" fmla="*/ 1045 w 4183"/>
                <a:gd name="T21" fmla="*/ 7 h 9"/>
                <a:gd name="T22" fmla="*/ 523 w 4183"/>
                <a:gd name="T23" fmla="*/ 7 h 9"/>
                <a:gd name="T24" fmla="*/ 0 w 4183"/>
                <a:gd name="T2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83" h="9">
                  <a:moveTo>
                    <a:pt x="0" y="4"/>
                  </a:moveTo>
                  <a:lnTo>
                    <a:pt x="523" y="2"/>
                  </a:lnTo>
                  <a:lnTo>
                    <a:pt x="1045" y="2"/>
                  </a:lnTo>
                  <a:lnTo>
                    <a:pt x="2092" y="0"/>
                  </a:lnTo>
                  <a:lnTo>
                    <a:pt x="3139" y="2"/>
                  </a:lnTo>
                  <a:lnTo>
                    <a:pt x="3661" y="2"/>
                  </a:lnTo>
                  <a:lnTo>
                    <a:pt x="4183" y="4"/>
                  </a:lnTo>
                  <a:lnTo>
                    <a:pt x="3661" y="7"/>
                  </a:lnTo>
                  <a:lnTo>
                    <a:pt x="3139" y="7"/>
                  </a:lnTo>
                  <a:lnTo>
                    <a:pt x="2092" y="9"/>
                  </a:lnTo>
                  <a:lnTo>
                    <a:pt x="1045" y="7"/>
                  </a:lnTo>
                  <a:lnTo>
                    <a:pt x="523" y="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6">
              <a:extLst>
                <a:ext uri="{FF2B5EF4-FFF2-40B4-BE49-F238E27FC236}">
                  <a16:creationId xmlns:a16="http://schemas.microsoft.com/office/drawing/2014/main" id="{75A6E519-7439-483E-BDDF-E2F2D920AD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4" y="33"/>
              <a:ext cx="798" cy="798"/>
            </a:xfrm>
            <a:custGeom>
              <a:avLst/>
              <a:gdLst>
                <a:gd name="T0" fmla="*/ 168 w 336"/>
                <a:gd name="T1" fmla="*/ 0 h 336"/>
                <a:gd name="T2" fmla="*/ 0 w 336"/>
                <a:gd name="T3" fmla="*/ 168 h 336"/>
                <a:gd name="T4" fmla="*/ 168 w 336"/>
                <a:gd name="T5" fmla="*/ 336 h 336"/>
                <a:gd name="T6" fmla="*/ 336 w 336"/>
                <a:gd name="T7" fmla="*/ 168 h 336"/>
                <a:gd name="T8" fmla="*/ 168 w 336"/>
                <a:gd name="T9" fmla="*/ 0 h 336"/>
                <a:gd name="T10" fmla="*/ 168 w 336"/>
                <a:gd name="T11" fmla="*/ 246 h 336"/>
                <a:gd name="T12" fmla="*/ 90 w 336"/>
                <a:gd name="T13" fmla="*/ 168 h 336"/>
                <a:gd name="T14" fmla="*/ 168 w 336"/>
                <a:gd name="T15" fmla="*/ 89 h 336"/>
                <a:gd name="T16" fmla="*/ 246 w 336"/>
                <a:gd name="T17" fmla="*/ 168 h 336"/>
                <a:gd name="T18" fmla="*/ 168 w 336"/>
                <a:gd name="T19" fmla="*/ 24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336">
                  <a:moveTo>
                    <a:pt x="168" y="0"/>
                  </a:moveTo>
                  <a:cubicBezTo>
                    <a:pt x="75" y="0"/>
                    <a:pt x="0" y="75"/>
                    <a:pt x="0" y="168"/>
                  </a:cubicBezTo>
                  <a:cubicBezTo>
                    <a:pt x="0" y="260"/>
                    <a:pt x="75" y="336"/>
                    <a:pt x="168" y="336"/>
                  </a:cubicBezTo>
                  <a:cubicBezTo>
                    <a:pt x="261" y="336"/>
                    <a:pt x="336" y="260"/>
                    <a:pt x="336" y="168"/>
                  </a:cubicBezTo>
                  <a:cubicBezTo>
                    <a:pt x="336" y="75"/>
                    <a:pt x="261" y="0"/>
                    <a:pt x="168" y="0"/>
                  </a:cubicBezTo>
                  <a:close/>
                  <a:moveTo>
                    <a:pt x="168" y="246"/>
                  </a:moveTo>
                  <a:cubicBezTo>
                    <a:pt x="125" y="246"/>
                    <a:pt x="90" y="211"/>
                    <a:pt x="90" y="168"/>
                  </a:cubicBezTo>
                  <a:cubicBezTo>
                    <a:pt x="90" y="124"/>
                    <a:pt x="125" y="89"/>
                    <a:pt x="168" y="89"/>
                  </a:cubicBezTo>
                  <a:cubicBezTo>
                    <a:pt x="211" y="89"/>
                    <a:pt x="246" y="124"/>
                    <a:pt x="246" y="168"/>
                  </a:cubicBezTo>
                  <a:cubicBezTo>
                    <a:pt x="246" y="211"/>
                    <a:pt x="211" y="246"/>
                    <a:pt x="168" y="246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7">
              <a:extLst>
                <a:ext uri="{FF2B5EF4-FFF2-40B4-BE49-F238E27FC236}">
                  <a16:creationId xmlns:a16="http://schemas.microsoft.com/office/drawing/2014/main" id="{8ADE568F-968C-4437-A4D6-BC29CC967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" y="-59"/>
              <a:ext cx="152" cy="109"/>
            </a:xfrm>
            <a:custGeom>
              <a:avLst/>
              <a:gdLst>
                <a:gd name="T0" fmla="*/ 152 w 152"/>
                <a:gd name="T1" fmla="*/ 109 h 109"/>
                <a:gd name="T2" fmla="*/ 0 w 152"/>
                <a:gd name="T3" fmla="*/ 109 h 109"/>
                <a:gd name="T4" fmla="*/ 7 w 152"/>
                <a:gd name="T5" fmla="*/ 0 h 109"/>
                <a:gd name="T6" fmla="*/ 145 w 152"/>
                <a:gd name="T7" fmla="*/ 0 h 109"/>
                <a:gd name="T8" fmla="*/ 152 w 152"/>
                <a:gd name="T9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09">
                  <a:moveTo>
                    <a:pt x="152" y="109"/>
                  </a:moveTo>
                  <a:lnTo>
                    <a:pt x="0" y="109"/>
                  </a:lnTo>
                  <a:lnTo>
                    <a:pt x="7" y="0"/>
                  </a:lnTo>
                  <a:lnTo>
                    <a:pt x="145" y="0"/>
                  </a:lnTo>
                  <a:lnTo>
                    <a:pt x="152" y="10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8">
              <a:extLst>
                <a:ext uri="{FF2B5EF4-FFF2-40B4-BE49-F238E27FC236}">
                  <a16:creationId xmlns:a16="http://schemas.microsoft.com/office/drawing/2014/main" id="{79B88DD5-6357-47AB-A011-57475F8D1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" y="31"/>
              <a:ext cx="178" cy="178"/>
            </a:xfrm>
            <a:custGeom>
              <a:avLst/>
              <a:gdLst>
                <a:gd name="T0" fmla="*/ 178 w 178"/>
                <a:gd name="T1" fmla="*/ 69 h 178"/>
                <a:gd name="T2" fmla="*/ 71 w 178"/>
                <a:gd name="T3" fmla="*/ 178 h 178"/>
                <a:gd name="T4" fmla="*/ 0 w 178"/>
                <a:gd name="T5" fmla="*/ 95 h 178"/>
                <a:gd name="T6" fmla="*/ 97 w 178"/>
                <a:gd name="T7" fmla="*/ 0 h 178"/>
                <a:gd name="T8" fmla="*/ 178 w 178"/>
                <a:gd name="T9" fmla="*/ 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178" y="69"/>
                  </a:moveTo>
                  <a:lnTo>
                    <a:pt x="71" y="178"/>
                  </a:lnTo>
                  <a:lnTo>
                    <a:pt x="0" y="95"/>
                  </a:lnTo>
                  <a:lnTo>
                    <a:pt x="97" y="0"/>
                  </a:lnTo>
                  <a:lnTo>
                    <a:pt x="178" y="6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9">
              <a:extLst>
                <a:ext uri="{FF2B5EF4-FFF2-40B4-BE49-F238E27FC236}">
                  <a16:creationId xmlns:a16="http://schemas.microsoft.com/office/drawing/2014/main" id="{793221CB-62A8-45BA-807E-676112440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" y="344"/>
              <a:ext cx="110" cy="152"/>
            </a:xfrm>
            <a:custGeom>
              <a:avLst/>
              <a:gdLst>
                <a:gd name="T0" fmla="*/ 110 w 110"/>
                <a:gd name="T1" fmla="*/ 0 h 152"/>
                <a:gd name="T2" fmla="*/ 110 w 110"/>
                <a:gd name="T3" fmla="*/ 152 h 152"/>
                <a:gd name="T4" fmla="*/ 0 w 110"/>
                <a:gd name="T5" fmla="*/ 145 h 152"/>
                <a:gd name="T6" fmla="*/ 0 w 110"/>
                <a:gd name="T7" fmla="*/ 7 h 152"/>
                <a:gd name="T8" fmla="*/ 110 w 110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52">
                  <a:moveTo>
                    <a:pt x="110" y="0"/>
                  </a:moveTo>
                  <a:lnTo>
                    <a:pt x="110" y="152"/>
                  </a:lnTo>
                  <a:lnTo>
                    <a:pt x="0" y="145"/>
                  </a:lnTo>
                  <a:lnTo>
                    <a:pt x="0" y="7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40">
              <a:extLst>
                <a:ext uri="{FF2B5EF4-FFF2-40B4-BE49-F238E27FC236}">
                  <a16:creationId xmlns:a16="http://schemas.microsoft.com/office/drawing/2014/main" id="{5245E1C4-839B-4E32-B7F7-BB78CE45C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0" y="636"/>
              <a:ext cx="178" cy="178"/>
            </a:xfrm>
            <a:custGeom>
              <a:avLst/>
              <a:gdLst>
                <a:gd name="T0" fmla="*/ 71 w 178"/>
                <a:gd name="T1" fmla="*/ 0 h 178"/>
                <a:gd name="T2" fmla="*/ 178 w 178"/>
                <a:gd name="T3" fmla="*/ 107 h 178"/>
                <a:gd name="T4" fmla="*/ 95 w 178"/>
                <a:gd name="T5" fmla="*/ 178 h 178"/>
                <a:gd name="T6" fmla="*/ 0 w 178"/>
                <a:gd name="T7" fmla="*/ 83 h 178"/>
                <a:gd name="T8" fmla="*/ 71 w 178"/>
                <a:gd name="T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71" y="0"/>
                  </a:moveTo>
                  <a:lnTo>
                    <a:pt x="178" y="107"/>
                  </a:lnTo>
                  <a:lnTo>
                    <a:pt x="95" y="178"/>
                  </a:lnTo>
                  <a:lnTo>
                    <a:pt x="0" y="8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1">
              <a:extLst>
                <a:ext uri="{FF2B5EF4-FFF2-40B4-BE49-F238E27FC236}">
                  <a16:creationId xmlns:a16="http://schemas.microsoft.com/office/drawing/2014/main" id="{6CCE5C85-CA5E-4F1C-93E6-892E6CCE2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3" y="805"/>
              <a:ext cx="154" cy="109"/>
            </a:xfrm>
            <a:custGeom>
              <a:avLst/>
              <a:gdLst>
                <a:gd name="T0" fmla="*/ 0 w 154"/>
                <a:gd name="T1" fmla="*/ 0 h 109"/>
                <a:gd name="T2" fmla="*/ 154 w 154"/>
                <a:gd name="T3" fmla="*/ 0 h 109"/>
                <a:gd name="T4" fmla="*/ 145 w 154"/>
                <a:gd name="T5" fmla="*/ 109 h 109"/>
                <a:gd name="T6" fmla="*/ 9 w 154"/>
                <a:gd name="T7" fmla="*/ 109 h 109"/>
                <a:gd name="T8" fmla="*/ 0 w 154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09">
                  <a:moveTo>
                    <a:pt x="0" y="0"/>
                  </a:moveTo>
                  <a:lnTo>
                    <a:pt x="154" y="0"/>
                  </a:lnTo>
                  <a:lnTo>
                    <a:pt x="145" y="109"/>
                  </a:lnTo>
                  <a:lnTo>
                    <a:pt x="9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2">
              <a:extLst>
                <a:ext uri="{FF2B5EF4-FFF2-40B4-BE49-F238E27FC236}">
                  <a16:creationId xmlns:a16="http://schemas.microsoft.com/office/drawing/2014/main" id="{915EBAB9-52B6-4678-980C-FFEFD9605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646"/>
              <a:ext cx="178" cy="178"/>
            </a:xfrm>
            <a:custGeom>
              <a:avLst/>
              <a:gdLst>
                <a:gd name="T0" fmla="*/ 0 w 178"/>
                <a:gd name="T1" fmla="*/ 107 h 178"/>
                <a:gd name="T2" fmla="*/ 109 w 178"/>
                <a:gd name="T3" fmla="*/ 0 h 178"/>
                <a:gd name="T4" fmla="*/ 178 w 178"/>
                <a:gd name="T5" fmla="*/ 83 h 178"/>
                <a:gd name="T6" fmla="*/ 83 w 178"/>
                <a:gd name="T7" fmla="*/ 178 h 178"/>
                <a:gd name="T8" fmla="*/ 0 w 178"/>
                <a:gd name="T9" fmla="*/ 10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78">
                  <a:moveTo>
                    <a:pt x="0" y="107"/>
                  </a:moveTo>
                  <a:lnTo>
                    <a:pt x="109" y="0"/>
                  </a:lnTo>
                  <a:lnTo>
                    <a:pt x="178" y="83"/>
                  </a:lnTo>
                  <a:lnTo>
                    <a:pt x="83" y="178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43">
              <a:extLst>
                <a:ext uri="{FF2B5EF4-FFF2-40B4-BE49-F238E27FC236}">
                  <a16:creationId xmlns:a16="http://schemas.microsoft.com/office/drawing/2014/main" id="{36B56C0F-3D55-4D1F-9342-F1C4A7A83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" y="359"/>
              <a:ext cx="109" cy="152"/>
            </a:xfrm>
            <a:custGeom>
              <a:avLst/>
              <a:gdLst>
                <a:gd name="T0" fmla="*/ 0 w 109"/>
                <a:gd name="T1" fmla="*/ 152 h 152"/>
                <a:gd name="T2" fmla="*/ 0 w 109"/>
                <a:gd name="T3" fmla="*/ 0 h 152"/>
                <a:gd name="T4" fmla="*/ 109 w 109"/>
                <a:gd name="T5" fmla="*/ 7 h 152"/>
                <a:gd name="T6" fmla="*/ 109 w 109"/>
                <a:gd name="T7" fmla="*/ 144 h 152"/>
                <a:gd name="T8" fmla="*/ 0 w 109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52">
                  <a:moveTo>
                    <a:pt x="0" y="152"/>
                  </a:moveTo>
                  <a:lnTo>
                    <a:pt x="0" y="0"/>
                  </a:lnTo>
                  <a:lnTo>
                    <a:pt x="109" y="7"/>
                  </a:lnTo>
                  <a:lnTo>
                    <a:pt x="109" y="1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44">
              <a:extLst>
                <a:ext uri="{FF2B5EF4-FFF2-40B4-BE49-F238E27FC236}">
                  <a16:creationId xmlns:a16="http://schemas.microsoft.com/office/drawing/2014/main" id="{75710C23-BAF6-4369-90B1-2AD494D86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4" y="40"/>
              <a:ext cx="179" cy="178"/>
            </a:xfrm>
            <a:custGeom>
              <a:avLst/>
              <a:gdLst>
                <a:gd name="T0" fmla="*/ 110 w 179"/>
                <a:gd name="T1" fmla="*/ 178 h 178"/>
                <a:gd name="T2" fmla="*/ 0 w 179"/>
                <a:gd name="T3" fmla="*/ 72 h 178"/>
                <a:gd name="T4" fmla="*/ 84 w 179"/>
                <a:gd name="T5" fmla="*/ 0 h 178"/>
                <a:gd name="T6" fmla="*/ 179 w 179"/>
                <a:gd name="T7" fmla="*/ 95 h 178"/>
                <a:gd name="T8" fmla="*/ 110 w 179"/>
                <a:gd name="T9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178">
                  <a:moveTo>
                    <a:pt x="110" y="178"/>
                  </a:moveTo>
                  <a:lnTo>
                    <a:pt x="0" y="72"/>
                  </a:lnTo>
                  <a:lnTo>
                    <a:pt x="84" y="0"/>
                  </a:lnTo>
                  <a:lnTo>
                    <a:pt x="179" y="95"/>
                  </a:lnTo>
                  <a:lnTo>
                    <a:pt x="110" y="178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45">
              <a:extLst>
                <a:ext uri="{FF2B5EF4-FFF2-40B4-BE49-F238E27FC236}">
                  <a16:creationId xmlns:a16="http://schemas.microsoft.com/office/drawing/2014/main" id="{BCA8A228-6BCE-42E9-8D6B-1FA41EC84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" y="-154"/>
              <a:ext cx="306" cy="351"/>
            </a:xfrm>
            <a:custGeom>
              <a:avLst/>
              <a:gdLst>
                <a:gd name="T0" fmla="*/ 126 w 129"/>
                <a:gd name="T1" fmla="*/ 69 h 148"/>
                <a:gd name="T2" fmla="*/ 91 w 129"/>
                <a:gd name="T3" fmla="*/ 127 h 148"/>
                <a:gd name="T4" fmla="*/ 85 w 129"/>
                <a:gd name="T5" fmla="*/ 148 h 148"/>
                <a:gd name="T6" fmla="*/ 43 w 129"/>
                <a:gd name="T7" fmla="*/ 148 h 148"/>
                <a:gd name="T8" fmla="*/ 38 w 129"/>
                <a:gd name="T9" fmla="*/ 127 h 148"/>
                <a:gd name="T10" fmla="*/ 3 w 129"/>
                <a:gd name="T11" fmla="*/ 68 h 148"/>
                <a:gd name="T12" fmla="*/ 64 w 129"/>
                <a:gd name="T13" fmla="*/ 0 h 148"/>
                <a:gd name="T14" fmla="*/ 126 w 129"/>
                <a:gd name="T15" fmla="*/ 6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48">
                  <a:moveTo>
                    <a:pt x="126" y="69"/>
                  </a:moveTo>
                  <a:cubicBezTo>
                    <a:pt x="121" y="109"/>
                    <a:pt x="95" y="116"/>
                    <a:pt x="91" y="127"/>
                  </a:cubicBezTo>
                  <a:cubicBezTo>
                    <a:pt x="89" y="133"/>
                    <a:pt x="85" y="148"/>
                    <a:pt x="85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3" y="148"/>
                    <a:pt x="40" y="133"/>
                    <a:pt x="38" y="127"/>
                  </a:cubicBezTo>
                  <a:cubicBezTo>
                    <a:pt x="33" y="116"/>
                    <a:pt x="7" y="109"/>
                    <a:pt x="3" y="68"/>
                  </a:cubicBezTo>
                  <a:cubicBezTo>
                    <a:pt x="0" y="42"/>
                    <a:pt x="20" y="0"/>
                    <a:pt x="64" y="0"/>
                  </a:cubicBezTo>
                  <a:cubicBezTo>
                    <a:pt x="109" y="0"/>
                    <a:pt x="129" y="42"/>
                    <a:pt x="126" y="69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46">
              <a:extLst>
                <a:ext uri="{FF2B5EF4-FFF2-40B4-BE49-F238E27FC236}">
                  <a16:creationId xmlns:a16="http://schemas.microsoft.com/office/drawing/2014/main" id="{19BB81C9-A9C3-4101-B88D-31946BB40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" y="43"/>
              <a:ext cx="36" cy="161"/>
            </a:xfrm>
            <a:custGeom>
              <a:avLst/>
              <a:gdLst>
                <a:gd name="T0" fmla="*/ 31 w 36"/>
                <a:gd name="T1" fmla="*/ 161 h 161"/>
                <a:gd name="T2" fmla="*/ 0 w 36"/>
                <a:gd name="T3" fmla="*/ 2 h 161"/>
                <a:gd name="T4" fmla="*/ 7 w 36"/>
                <a:gd name="T5" fmla="*/ 0 h 161"/>
                <a:gd name="T6" fmla="*/ 36 w 36"/>
                <a:gd name="T7" fmla="*/ 159 h 161"/>
                <a:gd name="T8" fmla="*/ 31 w 36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61">
                  <a:moveTo>
                    <a:pt x="31" y="161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36" y="159"/>
                  </a:lnTo>
                  <a:lnTo>
                    <a:pt x="31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47">
              <a:extLst>
                <a:ext uri="{FF2B5EF4-FFF2-40B4-BE49-F238E27FC236}">
                  <a16:creationId xmlns:a16="http://schemas.microsoft.com/office/drawing/2014/main" id="{90905741-41C6-4E3E-9493-20609F9B1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" y="43"/>
              <a:ext cx="38" cy="161"/>
            </a:xfrm>
            <a:custGeom>
              <a:avLst/>
              <a:gdLst>
                <a:gd name="T0" fmla="*/ 7 w 38"/>
                <a:gd name="T1" fmla="*/ 161 h 161"/>
                <a:gd name="T2" fmla="*/ 0 w 38"/>
                <a:gd name="T3" fmla="*/ 159 h 161"/>
                <a:gd name="T4" fmla="*/ 31 w 38"/>
                <a:gd name="T5" fmla="*/ 0 h 161"/>
                <a:gd name="T6" fmla="*/ 38 w 38"/>
                <a:gd name="T7" fmla="*/ 2 h 161"/>
                <a:gd name="T8" fmla="*/ 7 w 38"/>
                <a:gd name="T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1">
                  <a:moveTo>
                    <a:pt x="7" y="161"/>
                  </a:moveTo>
                  <a:lnTo>
                    <a:pt x="0" y="159"/>
                  </a:lnTo>
                  <a:lnTo>
                    <a:pt x="31" y="0"/>
                  </a:lnTo>
                  <a:lnTo>
                    <a:pt x="38" y="2"/>
                  </a:lnTo>
                  <a:lnTo>
                    <a:pt x="7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8">
              <a:extLst>
                <a:ext uri="{FF2B5EF4-FFF2-40B4-BE49-F238E27FC236}">
                  <a16:creationId xmlns:a16="http://schemas.microsoft.com/office/drawing/2014/main" id="{B08EC999-4C67-4132-ADAA-AB431A8AD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1" y="33"/>
              <a:ext cx="107" cy="64"/>
            </a:xfrm>
            <a:custGeom>
              <a:avLst/>
              <a:gdLst>
                <a:gd name="T0" fmla="*/ 22 w 45"/>
                <a:gd name="T1" fmla="*/ 27 h 27"/>
                <a:gd name="T2" fmla="*/ 22 w 45"/>
                <a:gd name="T3" fmla="*/ 27 h 27"/>
                <a:gd name="T4" fmla="*/ 13 w 45"/>
                <a:gd name="T5" fmla="*/ 19 h 27"/>
                <a:gd name="T6" fmla="*/ 9 w 45"/>
                <a:gd name="T7" fmla="*/ 21 h 27"/>
                <a:gd name="T8" fmla="*/ 9 w 45"/>
                <a:gd name="T9" fmla="*/ 21 h 27"/>
                <a:gd name="T10" fmla="*/ 0 w 45"/>
                <a:gd name="T11" fmla="*/ 7 h 27"/>
                <a:gd name="T12" fmla="*/ 1 w 45"/>
                <a:gd name="T13" fmla="*/ 7 h 27"/>
                <a:gd name="T14" fmla="*/ 9 w 45"/>
                <a:gd name="T15" fmla="*/ 19 h 27"/>
                <a:gd name="T16" fmla="*/ 9 w 45"/>
                <a:gd name="T17" fmla="*/ 19 h 27"/>
                <a:gd name="T18" fmla="*/ 12 w 45"/>
                <a:gd name="T19" fmla="*/ 18 h 27"/>
                <a:gd name="T20" fmla="*/ 9 w 45"/>
                <a:gd name="T21" fmla="*/ 6 h 27"/>
                <a:gd name="T22" fmla="*/ 13 w 45"/>
                <a:gd name="T23" fmla="*/ 0 h 27"/>
                <a:gd name="T24" fmla="*/ 13 w 45"/>
                <a:gd name="T25" fmla="*/ 0 h 27"/>
                <a:gd name="T26" fmla="*/ 16 w 45"/>
                <a:gd name="T27" fmla="*/ 2 h 27"/>
                <a:gd name="T28" fmla="*/ 14 w 45"/>
                <a:gd name="T29" fmla="*/ 17 h 27"/>
                <a:gd name="T30" fmla="*/ 14 w 45"/>
                <a:gd name="T31" fmla="*/ 18 h 27"/>
                <a:gd name="T32" fmla="*/ 22 w 45"/>
                <a:gd name="T33" fmla="*/ 26 h 27"/>
                <a:gd name="T34" fmla="*/ 22 w 45"/>
                <a:gd name="T35" fmla="*/ 26 h 27"/>
                <a:gd name="T36" fmla="*/ 30 w 45"/>
                <a:gd name="T37" fmla="*/ 19 h 27"/>
                <a:gd name="T38" fmla="*/ 26 w 45"/>
                <a:gd name="T39" fmla="*/ 8 h 27"/>
                <a:gd name="T40" fmla="*/ 31 w 45"/>
                <a:gd name="T41" fmla="*/ 0 h 27"/>
                <a:gd name="T42" fmla="*/ 31 w 45"/>
                <a:gd name="T43" fmla="*/ 0 h 27"/>
                <a:gd name="T44" fmla="*/ 35 w 45"/>
                <a:gd name="T45" fmla="*/ 6 h 27"/>
                <a:gd name="T46" fmla="*/ 32 w 45"/>
                <a:gd name="T47" fmla="*/ 19 h 27"/>
                <a:gd name="T48" fmla="*/ 36 w 45"/>
                <a:gd name="T49" fmla="*/ 20 h 27"/>
                <a:gd name="T50" fmla="*/ 36 w 45"/>
                <a:gd name="T51" fmla="*/ 20 h 27"/>
                <a:gd name="T52" fmla="*/ 44 w 45"/>
                <a:gd name="T53" fmla="*/ 8 h 27"/>
                <a:gd name="T54" fmla="*/ 45 w 45"/>
                <a:gd name="T55" fmla="*/ 8 h 27"/>
                <a:gd name="T56" fmla="*/ 36 w 45"/>
                <a:gd name="T57" fmla="*/ 22 h 27"/>
                <a:gd name="T58" fmla="*/ 36 w 45"/>
                <a:gd name="T59" fmla="*/ 22 h 27"/>
                <a:gd name="T60" fmla="*/ 31 w 45"/>
                <a:gd name="T61" fmla="*/ 20 h 27"/>
                <a:gd name="T62" fmla="*/ 22 w 45"/>
                <a:gd name="T63" fmla="*/ 27 h 27"/>
                <a:gd name="T64" fmla="*/ 31 w 45"/>
                <a:gd name="T65" fmla="*/ 1 h 27"/>
                <a:gd name="T66" fmla="*/ 28 w 45"/>
                <a:gd name="T67" fmla="*/ 8 h 27"/>
                <a:gd name="T68" fmla="*/ 31 w 45"/>
                <a:gd name="T69" fmla="*/ 18 h 27"/>
                <a:gd name="T70" fmla="*/ 33 w 45"/>
                <a:gd name="T71" fmla="*/ 6 h 27"/>
                <a:gd name="T72" fmla="*/ 31 w 45"/>
                <a:gd name="T73" fmla="*/ 1 h 27"/>
                <a:gd name="T74" fmla="*/ 13 w 45"/>
                <a:gd name="T75" fmla="*/ 1 h 27"/>
                <a:gd name="T76" fmla="*/ 10 w 45"/>
                <a:gd name="T77" fmla="*/ 6 h 27"/>
                <a:gd name="T78" fmla="*/ 13 w 45"/>
                <a:gd name="T79" fmla="*/ 16 h 27"/>
                <a:gd name="T80" fmla="*/ 13 w 45"/>
                <a:gd name="T81" fmla="*/ 16 h 27"/>
                <a:gd name="T82" fmla="*/ 15 w 45"/>
                <a:gd name="T83" fmla="*/ 3 h 27"/>
                <a:gd name="T84" fmla="*/ 13 w 45"/>
                <a:gd name="T8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27"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18" y="27"/>
                    <a:pt x="15" y="23"/>
                    <a:pt x="13" y="19"/>
                  </a:cubicBezTo>
                  <a:cubicBezTo>
                    <a:pt x="11" y="20"/>
                    <a:pt x="10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3" y="21"/>
                    <a:pt x="0" y="8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10"/>
                    <a:pt x="5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1" y="19"/>
                    <a:pt x="12" y="18"/>
                  </a:cubicBezTo>
                  <a:cubicBezTo>
                    <a:pt x="10" y="14"/>
                    <a:pt x="9" y="9"/>
                    <a:pt x="9" y="6"/>
                  </a:cubicBezTo>
                  <a:cubicBezTo>
                    <a:pt x="9" y="2"/>
                    <a:pt x="10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2"/>
                  </a:cubicBezTo>
                  <a:cubicBezTo>
                    <a:pt x="18" y="5"/>
                    <a:pt x="17" y="12"/>
                    <a:pt x="14" y="17"/>
                  </a:cubicBezTo>
                  <a:cubicBezTo>
                    <a:pt x="14" y="17"/>
                    <a:pt x="14" y="17"/>
                    <a:pt x="14" y="18"/>
                  </a:cubicBezTo>
                  <a:cubicBezTo>
                    <a:pt x="16" y="22"/>
                    <a:pt x="19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5" y="26"/>
                    <a:pt x="28" y="23"/>
                    <a:pt x="30" y="19"/>
                  </a:cubicBezTo>
                  <a:cubicBezTo>
                    <a:pt x="28" y="16"/>
                    <a:pt x="26" y="12"/>
                    <a:pt x="26" y="8"/>
                  </a:cubicBezTo>
                  <a:cubicBezTo>
                    <a:pt x="26" y="3"/>
                    <a:pt x="28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4" y="0"/>
                    <a:pt x="35" y="2"/>
                    <a:pt x="35" y="6"/>
                  </a:cubicBezTo>
                  <a:cubicBezTo>
                    <a:pt x="35" y="10"/>
                    <a:pt x="34" y="15"/>
                    <a:pt x="32" y="19"/>
                  </a:cubicBezTo>
                  <a:cubicBezTo>
                    <a:pt x="33" y="20"/>
                    <a:pt x="34" y="20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40" y="20"/>
                    <a:pt x="43" y="11"/>
                    <a:pt x="44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1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4" y="22"/>
                    <a:pt x="33" y="21"/>
                    <a:pt x="31" y="20"/>
                  </a:cubicBezTo>
                  <a:cubicBezTo>
                    <a:pt x="29" y="24"/>
                    <a:pt x="26" y="27"/>
                    <a:pt x="22" y="27"/>
                  </a:cubicBezTo>
                  <a:close/>
                  <a:moveTo>
                    <a:pt x="31" y="1"/>
                  </a:moveTo>
                  <a:cubicBezTo>
                    <a:pt x="29" y="1"/>
                    <a:pt x="28" y="5"/>
                    <a:pt x="28" y="8"/>
                  </a:cubicBezTo>
                  <a:cubicBezTo>
                    <a:pt x="28" y="11"/>
                    <a:pt x="29" y="15"/>
                    <a:pt x="31" y="18"/>
                  </a:cubicBezTo>
                  <a:cubicBezTo>
                    <a:pt x="33" y="14"/>
                    <a:pt x="33" y="10"/>
                    <a:pt x="33" y="6"/>
                  </a:cubicBezTo>
                  <a:cubicBezTo>
                    <a:pt x="33" y="5"/>
                    <a:pt x="33" y="1"/>
                    <a:pt x="31" y="1"/>
                  </a:cubicBezTo>
                  <a:close/>
                  <a:moveTo>
                    <a:pt x="13" y="1"/>
                  </a:moveTo>
                  <a:cubicBezTo>
                    <a:pt x="11" y="1"/>
                    <a:pt x="10" y="4"/>
                    <a:pt x="10" y="6"/>
                  </a:cubicBezTo>
                  <a:cubicBezTo>
                    <a:pt x="10" y="9"/>
                    <a:pt x="11" y="13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2"/>
                    <a:pt x="17" y="6"/>
                    <a:pt x="15" y="3"/>
                  </a:cubicBezTo>
                  <a:cubicBezTo>
                    <a:pt x="15" y="2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49">
              <a:extLst>
                <a:ext uri="{FF2B5EF4-FFF2-40B4-BE49-F238E27FC236}">
                  <a16:creationId xmlns:a16="http://schemas.microsoft.com/office/drawing/2014/main" id="{E82C1BCC-FA43-4280-80AB-738C598CC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192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50">
              <a:extLst>
                <a:ext uri="{FF2B5EF4-FFF2-40B4-BE49-F238E27FC236}">
                  <a16:creationId xmlns:a16="http://schemas.microsoft.com/office/drawing/2014/main" id="{06FF75B1-33C2-4013-81E3-05F5BB13B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221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51">
              <a:extLst>
                <a:ext uri="{FF2B5EF4-FFF2-40B4-BE49-F238E27FC236}">
                  <a16:creationId xmlns:a16="http://schemas.microsoft.com/office/drawing/2014/main" id="{6755CE3F-6B45-4E39-8D85-2117EACD19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1" y="249"/>
              <a:ext cx="124" cy="24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2">
              <a:extLst>
                <a:ext uri="{FF2B5EF4-FFF2-40B4-BE49-F238E27FC236}">
                  <a16:creationId xmlns:a16="http://schemas.microsoft.com/office/drawing/2014/main" id="{3A28EDFC-0CE7-4E4A-AB7A-411DFBBFD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8" y="909"/>
              <a:ext cx="1608" cy="1608"/>
            </a:xfrm>
            <a:custGeom>
              <a:avLst/>
              <a:gdLst>
                <a:gd name="T0" fmla="*/ 338 w 677"/>
                <a:gd name="T1" fmla="*/ 137 h 677"/>
                <a:gd name="T2" fmla="*/ 137 w 677"/>
                <a:gd name="T3" fmla="*/ 338 h 677"/>
                <a:gd name="T4" fmla="*/ 338 w 677"/>
                <a:gd name="T5" fmla="*/ 539 h 677"/>
                <a:gd name="T6" fmla="*/ 539 w 677"/>
                <a:gd name="T7" fmla="*/ 338 h 677"/>
                <a:gd name="T8" fmla="*/ 338 w 677"/>
                <a:gd name="T9" fmla="*/ 137 h 677"/>
                <a:gd name="T10" fmla="*/ 338 w 677"/>
                <a:gd name="T11" fmla="*/ 497 h 677"/>
                <a:gd name="T12" fmla="*/ 180 w 677"/>
                <a:gd name="T13" fmla="*/ 338 h 677"/>
                <a:gd name="T14" fmla="*/ 338 w 677"/>
                <a:gd name="T15" fmla="*/ 180 h 677"/>
                <a:gd name="T16" fmla="*/ 496 w 677"/>
                <a:gd name="T17" fmla="*/ 338 h 677"/>
                <a:gd name="T18" fmla="*/ 338 w 677"/>
                <a:gd name="T19" fmla="*/ 497 h 677"/>
                <a:gd name="T20" fmla="*/ 338 w 677"/>
                <a:gd name="T21" fmla="*/ 137 h 677"/>
                <a:gd name="T22" fmla="*/ 137 w 677"/>
                <a:gd name="T23" fmla="*/ 338 h 677"/>
                <a:gd name="T24" fmla="*/ 338 w 677"/>
                <a:gd name="T25" fmla="*/ 539 h 677"/>
                <a:gd name="T26" fmla="*/ 539 w 677"/>
                <a:gd name="T27" fmla="*/ 338 h 677"/>
                <a:gd name="T28" fmla="*/ 338 w 677"/>
                <a:gd name="T29" fmla="*/ 137 h 677"/>
                <a:gd name="T30" fmla="*/ 338 w 677"/>
                <a:gd name="T31" fmla="*/ 497 h 677"/>
                <a:gd name="T32" fmla="*/ 180 w 677"/>
                <a:gd name="T33" fmla="*/ 338 h 677"/>
                <a:gd name="T34" fmla="*/ 338 w 677"/>
                <a:gd name="T35" fmla="*/ 180 h 677"/>
                <a:gd name="T36" fmla="*/ 496 w 677"/>
                <a:gd name="T37" fmla="*/ 338 h 677"/>
                <a:gd name="T38" fmla="*/ 338 w 677"/>
                <a:gd name="T39" fmla="*/ 497 h 677"/>
                <a:gd name="T40" fmla="*/ 338 w 677"/>
                <a:gd name="T41" fmla="*/ 0 h 677"/>
                <a:gd name="T42" fmla="*/ 0 w 677"/>
                <a:gd name="T43" fmla="*/ 338 h 677"/>
                <a:gd name="T44" fmla="*/ 338 w 677"/>
                <a:gd name="T45" fmla="*/ 677 h 677"/>
                <a:gd name="T46" fmla="*/ 677 w 677"/>
                <a:gd name="T47" fmla="*/ 338 h 677"/>
                <a:gd name="T48" fmla="*/ 338 w 677"/>
                <a:gd name="T49" fmla="*/ 0 h 677"/>
                <a:gd name="T50" fmla="*/ 338 w 677"/>
                <a:gd name="T51" fmla="*/ 559 h 677"/>
                <a:gd name="T52" fmla="*/ 118 w 677"/>
                <a:gd name="T53" fmla="*/ 338 h 677"/>
                <a:gd name="T54" fmla="*/ 338 w 677"/>
                <a:gd name="T55" fmla="*/ 118 h 677"/>
                <a:gd name="T56" fmla="*/ 559 w 677"/>
                <a:gd name="T57" fmla="*/ 338 h 677"/>
                <a:gd name="T58" fmla="*/ 338 w 677"/>
                <a:gd name="T59" fmla="*/ 559 h 677"/>
                <a:gd name="T60" fmla="*/ 338 w 677"/>
                <a:gd name="T61" fmla="*/ 137 h 677"/>
                <a:gd name="T62" fmla="*/ 137 w 677"/>
                <a:gd name="T63" fmla="*/ 338 h 677"/>
                <a:gd name="T64" fmla="*/ 338 w 677"/>
                <a:gd name="T65" fmla="*/ 539 h 677"/>
                <a:gd name="T66" fmla="*/ 539 w 677"/>
                <a:gd name="T67" fmla="*/ 338 h 677"/>
                <a:gd name="T68" fmla="*/ 338 w 677"/>
                <a:gd name="T69" fmla="*/ 137 h 677"/>
                <a:gd name="T70" fmla="*/ 338 w 677"/>
                <a:gd name="T71" fmla="*/ 497 h 677"/>
                <a:gd name="T72" fmla="*/ 180 w 677"/>
                <a:gd name="T73" fmla="*/ 338 h 677"/>
                <a:gd name="T74" fmla="*/ 338 w 677"/>
                <a:gd name="T75" fmla="*/ 180 h 677"/>
                <a:gd name="T76" fmla="*/ 496 w 677"/>
                <a:gd name="T77" fmla="*/ 338 h 677"/>
                <a:gd name="T78" fmla="*/ 338 w 677"/>
                <a:gd name="T79" fmla="*/ 49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7" h="677"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  <a:moveTo>
                    <a:pt x="338" y="0"/>
                  </a:moveTo>
                  <a:cubicBezTo>
                    <a:pt x="151" y="0"/>
                    <a:pt x="0" y="151"/>
                    <a:pt x="0" y="338"/>
                  </a:cubicBezTo>
                  <a:cubicBezTo>
                    <a:pt x="0" y="525"/>
                    <a:pt x="151" y="677"/>
                    <a:pt x="338" y="677"/>
                  </a:cubicBezTo>
                  <a:cubicBezTo>
                    <a:pt x="525" y="677"/>
                    <a:pt x="677" y="525"/>
                    <a:pt x="677" y="338"/>
                  </a:cubicBezTo>
                  <a:cubicBezTo>
                    <a:pt x="677" y="151"/>
                    <a:pt x="525" y="0"/>
                    <a:pt x="338" y="0"/>
                  </a:cubicBezTo>
                  <a:close/>
                  <a:moveTo>
                    <a:pt x="338" y="559"/>
                  </a:moveTo>
                  <a:cubicBezTo>
                    <a:pt x="217" y="559"/>
                    <a:pt x="118" y="460"/>
                    <a:pt x="118" y="338"/>
                  </a:cubicBezTo>
                  <a:cubicBezTo>
                    <a:pt x="118" y="217"/>
                    <a:pt x="217" y="118"/>
                    <a:pt x="338" y="118"/>
                  </a:cubicBezTo>
                  <a:cubicBezTo>
                    <a:pt x="460" y="118"/>
                    <a:pt x="559" y="217"/>
                    <a:pt x="559" y="338"/>
                  </a:cubicBezTo>
                  <a:cubicBezTo>
                    <a:pt x="559" y="460"/>
                    <a:pt x="460" y="559"/>
                    <a:pt x="338" y="559"/>
                  </a:cubicBezTo>
                  <a:close/>
                  <a:moveTo>
                    <a:pt x="338" y="137"/>
                  </a:moveTo>
                  <a:cubicBezTo>
                    <a:pt x="228" y="137"/>
                    <a:pt x="137" y="228"/>
                    <a:pt x="137" y="338"/>
                  </a:cubicBezTo>
                  <a:cubicBezTo>
                    <a:pt x="137" y="449"/>
                    <a:pt x="228" y="539"/>
                    <a:pt x="338" y="539"/>
                  </a:cubicBezTo>
                  <a:cubicBezTo>
                    <a:pt x="449" y="539"/>
                    <a:pt x="539" y="449"/>
                    <a:pt x="539" y="338"/>
                  </a:cubicBezTo>
                  <a:cubicBezTo>
                    <a:pt x="539" y="228"/>
                    <a:pt x="449" y="137"/>
                    <a:pt x="338" y="137"/>
                  </a:cubicBezTo>
                  <a:close/>
                  <a:moveTo>
                    <a:pt x="338" y="497"/>
                  </a:moveTo>
                  <a:cubicBezTo>
                    <a:pt x="251" y="497"/>
                    <a:pt x="180" y="426"/>
                    <a:pt x="180" y="338"/>
                  </a:cubicBezTo>
                  <a:cubicBezTo>
                    <a:pt x="180" y="251"/>
                    <a:pt x="251" y="180"/>
                    <a:pt x="338" y="180"/>
                  </a:cubicBezTo>
                  <a:cubicBezTo>
                    <a:pt x="426" y="180"/>
                    <a:pt x="496" y="251"/>
                    <a:pt x="496" y="338"/>
                  </a:cubicBezTo>
                  <a:cubicBezTo>
                    <a:pt x="496" y="426"/>
                    <a:pt x="426" y="497"/>
                    <a:pt x="338" y="497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3">
              <a:extLst>
                <a:ext uri="{FF2B5EF4-FFF2-40B4-BE49-F238E27FC236}">
                  <a16:creationId xmlns:a16="http://schemas.microsoft.com/office/drawing/2014/main" id="{20A858BF-1FFC-4FB4-ADA4-816E325A3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3" y="738"/>
              <a:ext cx="183" cy="186"/>
            </a:xfrm>
            <a:custGeom>
              <a:avLst/>
              <a:gdLst>
                <a:gd name="T0" fmla="*/ 183 w 183"/>
                <a:gd name="T1" fmla="*/ 186 h 186"/>
                <a:gd name="T2" fmla="*/ 0 w 183"/>
                <a:gd name="T3" fmla="*/ 186 h 186"/>
                <a:gd name="T4" fmla="*/ 17 w 183"/>
                <a:gd name="T5" fmla="*/ 0 h 186"/>
                <a:gd name="T6" fmla="*/ 164 w 183"/>
                <a:gd name="T7" fmla="*/ 0 h 186"/>
                <a:gd name="T8" fmla="*/ 183 w 183"/>
                <a:gd name="T9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6">
                  <a:moveTo>
                    <a:pt x="183" y="186"/>
                  </a:moveTo>
                  <a:lnTo>
                    <a:pt x="0" y="186"/>
                  </a:lnTo>
                  <a:lnTo>
                    <a:pt x="17" y="0"/>
                  </a:lnTo>
                  <a:lnTo>
                    <a:pt x="164" y="0"/>
                  </a:lnTo>
                  <a:lnTo>
                    <a:pt x="183" y="186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54">
              <a:extLst>
                <a:ext uri="{FF2B5EF4-FFF2-40B4-BE49-F238E27FC236}">
                  <a16:creationId xmlns:a16="http://schemas.microsoft.com/office/drawing/2014/main" id="{FDDA5EB5-02AC-43A8-8AA4-2A10704F7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" y="831"/>
              <a:ext cx="235" cy="242"/>
            </a:xfrm>
            <a:custGeom>
              <a:avLst/>
              <a:gdLst>
                <a:gd name="T0" fmla="*/ 235 w 235"/>
                <a:gd name="T1" fmla="*/ 150 h 242"/>
                <a:gd name="T2" fmla="*/ 76 w 235"/>
                <a:gd name="T3" fmla="*/ 242 h 242"/>
                <a:gd name="T4" fmla="*/ 0 w 235"/>
                <a:gd name="T5" fmla="*/ 74 h 242"/>
                <a:gd name="T6" fmla="*/ 129 w 235"/>
                <a:gd name="T7" fmla="*/ 0 h 242"/>
                <a:gd name="T8" fmla="*/ 235 w 235"/>
                <a:gd name="T9" fmla="*/ 15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2">
                  <a:moveTo>
                    <a:pt x="235" y="150"/>
                  </a:moveTo>
                  <a:lnTo>
                    <a:pt x="76" y="242"/>
                  </a:lnTo>
                  <a:lnTo>
                    <a:pt x="0" y="74"/>
                  </a:lnTo>
                  <a:lnTo>
                    <a:pt x="129" y="0"/>
                  </a:lnTo>
                  <a:lnTo>
                    <a:pt x="235" y="15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55">
              <a:extLst>
                <a:ext uri="{FF2B5EF4-FFF2-40B4-BE49-F238E27FC236}">
                  <a16:creationId xmlns:a16="http://schemas.microsoft.com/office/drawing/2014/main" id="{A596CA58-1488-4F74-88A6-79FC551BA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" y="1161"/>
              <a:ext cx="243" cy="235"/>
            </a:xfrm>
            <a:custGeom>
              <a:avLst/>
              <a:gdLst>
                <a:gd name="T0" fmla="*/ 243 w 243"/>
                <a:gd name="T1" fmla="*/ 76 h 235"/>
                <a:gd name="T2" fmla="*/ 150 w 243"/>
                <a:gd name="T3" fmla="*/ 235 h 235"/>
                <a:gd name="T4" fmla="*/ 0 w 243"/>
                <a:gd name="T5" fmla="*/ 126 h 235"/>
                <a:gd name="T6" fmla="*/ 74 w 243"/>
                <a:gd name="T7" fmla="*/ 0 h 235"/>
                <a:gd name="T8" fmla="*/ 243 w 243"/>
                <a:gd name="T9" fmla="*/ 7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35">
                  <a:moveTo>
                    <a:pt x="243" y="76"/>
                  </a:moveTo>
                  <a:lnTo>
                    <a:pt x="150" y="235"/>
                  </a:lnTo>
                  <a:lnTo>
                    <a:pt x="0" y="126"/>
                  </a:lnTo>
                  <a:lnTo>
                    <a:pt x="74" y="0"/>
                  </a:lnTo>
                  <a:lnTo>
                    <a:pt x="243" y="76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56">
              <a:extLst>
                <a:ext uri="{FF2B5EF4-FFF2-40B4-BE49-F238E27FC236}">
                  <a16:creationId xmlns:a16="http://schemas.microsoft.com/office/drawing/2014/main" id="{97DF2034-0BBA-45C5-A349-A133BC884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1619"/>
              <a:ext cx="186" cy="183"/>
            </a:xfrm>
            <a:custGeom>
              <a:avLst/>
              <a:gdLst>
                <a:gd name="T0" fmla="*/ 186 w 186"/>
                <a:gd name="T1" fmla="*/ 0 h 183"/>
                <a:gd name="T2" fmla="*/ 186 w 186"/>
                <a:gd name="T3" fmla="*/ 183 h 183"/>
                <a:gd name="T4" fmla="*/ 0 w 186"/>
                <a:gd name="T5" fmla="*/ 164 h 183"/>
                <a:gd name="T6" fmla="*/ 0 w 186"/>
                <a:gd name="T7" fmla="*/ 17 h 183"/>
                <a:gd name="T8" fmla="*/ 186 w 186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3">
                  <a:moveTo>
                    <a:pt x="186" y="0"/>
                  </a:moveTo>
                  <a:lnTo>
                    <a:pt x="186" y="183"/>
                  </a:lnTo>
                  <a:lnTo>
                    <a:pt x="0" y="164"/>
                  </a:lnTo>
                  <a:lnTo>
                    <a:pt x="0" y="17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57">
              <a:extLst>
                <a:ext uri="{FF2B5EF4-FFF2-40B4-BE49-F238E27FC236}">
                  <a16:creationId xmlns:a16="http://schemas.microsoft.com/office/drawing/2014/main" id="{949B0D1F-DD3D-425D-B5D1-09D826505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" y="2025"/>
              <a:ext cx="242" cy="236"/>
            </a:xfrm>
            <a:custGeom>
              <a:avLst/>
              <a:gdLst>
                <a:gd name="T0" fmla="*/ 150 w 242"/>
                <a:gd name="T1" fmla="*/ 0 h 236"/>
                <a:gd name="T2" fmla="*/ 242 w 242"/>
                <a:gd name="T3" fmla="*/ 160 h 236"/>
                <a:gd name="T4" fmla="*/ 74 w 242"/>
                <a:gd name="T5" fmla="*/ 236 h 236"/>
                <a:gd name="T6" fmla="*/ 0 w 242"/>
                <a:gd name="T7" fmla="*/ 110 h 236"/>
                <a:gd name="T8" fmla="*/ 150 w 242"/>
                <a:gd name="T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36">
                  <a:moveTo>
                    <a:pt x="150" y="0"/>
                  </a:moveTo>
                  <a:lnTo>
                    <a:pt x="242" y="160"/>
                  </a:lnTo>
                  <a:lnTo>
                    <a:pt x="74" y="236"/>
                  </a:lnTo>
                  <a:lnTo>
                    <a:pt x="0" y="110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58">
              <a:extLst>
                <a:ext uri="{FF2B5EF4-FFF2-40B4-BE49-F238E27FC236}">
                  <a16:creationId xmlns:a16="http://schemas.microsoft.com/office/drawing/2014/main" id="{53D5AD5F-2975-4FA3-9A2E-000D553CA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" y="2351"/>
              <a:ext cx="235" cy="240"/>
            </a:xfrm>
            <a:custGeom>
              <a:avLst/>
              <a:gdLst>
                <a:gd name="T0" fmla="*/ 76 w 235"/>
                <a:gd name="T1" fmla="*/ 0 h 240"/>
                <a:gd name="T2" fmla="*/ 235 w 235"/>
                <a:gd name="T3" fmla="*/ 90 h 240"/>
                <a:gd name="T4" fmla="*/ 126 w 235"/>
                <a:gd name="T5" fmla="*/ 240 h 240"/>
                <a:gd name="T6" fmla="*/ 0 w 235"/>
                <a:gd name="T7" fmla="*/ 166 h 240"/>
                <a:gd name="T8" fmla="*/ 76 w 235"/>
                <a:gd name="T9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0">
                  <a:moveTo>
                    <a:pt x="76" y="0"/>
                  </a:moveTo>
                  <a:lnTo>
                    <a:pt x="235" y="90"/>
                  </a:lnTo>
                  <a:lnTo>
                    <a:pt x="126" y="240"/>
                  </a:lnTo>
                  <a:lnTo>
                    <a:pt x="0" y="166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59">
              <a:extLst>
                <a:ext uri="{FF2B5EF4-FFF2-40B4-BE49-F238E27FC236}">
                  <a16:creationId xmlns:a16="http://schemas.microsoft.com/office/drawing/2014/main" id="{102C85F4-DEA6-438F-A53D-CBE944F09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" y="2503"/>
              <a:ext cx="183" cy="183"/>
            </a:xfrm>
            <a:custGeom>
              <a:avLst/>
              <a:gdLst>
                <a:gd name="T0" fmla="*/ 0 w 183"/>
                <a:gd name="T1" fmla="*/ 0 h 183"/>
                <a:gd name="T2" fmla="*/ 183 w 183"/>
                <a:gd name="T3" fmla="*/ 0 h 183"/>
                <a:gd name="T4" fmla="*/ 164 w 183"/>
                <a:gd name="T5" fmla="*/ 183 h 183"/>
                <a:gd name="T6" fmla="*/ 17 w 183"/>
                <a:gd name="T7" fmla="*/ 183 h 183"/>
                <a:gd name="T8" fmla="*/ 0 w 183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0"/>
                  </a:moveTo>
                  <a:lnTo>
                    <a:pt x="183" y="0"/>
                  </a:lnTo>
                  <a:lnTo>
                    <a:pt x="164" y="183"/>
                  </a:lnTo>
                  <a:lnTo>
                    <a:pt x="17" y="1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60">
              <a:extLst>
                <a:ext uri="{FF2B5EF4-FFF2-40B4-BE49-F238E27FC236}">
                  <a16:creationId xmlns:a16="http://schemas.microsoft.com/office/drawing/2014/main" id="{FB2AB5C4-B9AF-4FD4-A67B-0674F164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" y="2353"/>
              <a:ext cx="235" cy="240"/>
            </a:xfrm>
            <a:custGeom>
              <a:avLst/>
              <a:gdLst>
                <a:gd name="T0" fmla="*/ 0 w 235"/>
                <a:gd name="T1" fmla="*/ 90 h 240"/>
                <a:gd name="T2" fmla="*/ 159 w 235"/>
                <a:gd name="T3" fmla="*/ 0 h 240"/>
                <a:gd name="T4" fmla="*/ 235 w 235"/>
                <a:gd name="T5" fmla="*/ 166 h 240"/>
                <a:gd name="T6" fmla="*/ 109 w 235"/>
                <a:gd name="T7" fmla="*/ 240 h 240"/>
                <a:gd name="T8" fmla="*/ 0 w 235"/>
                <a:gd name="T9" fmla="*/ 9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0">
                  <a:moveTo>
                    <a:pt x="0" y="90"/>
                  </a:moveTo>
                  <a:lnTo>
                    <a:pt x="159" y="0"/>
                  </a:lnTo>
                  <a:lnTo>
                    <a:pt x="235" y="166"/>
                  </a:lnTo>
                  <a:lnTo>
                    <a:pt x="109" y="24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1">
              <a:extLst>
                <a:ext uri="{FF2B5EF4-FFF2-40B4-BE49-F238E27FC236}">
                  <a16:creationId xmlns:a16="http://schemas.microsoft.com/office/drawing/2014/main" id="{82D99088-E02F-4336-A585-CCA5B6CCC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7" y="2030"/>
              <a:ext cx="242" cy="235"/>
            </a:xfrm>
            <a:custGeom>
              <a:avLst/>
              <a:gdLst>
                <a:gd name="T0" fmla="*/ 0 w 242"/>
                <a:gd name="T1" fmla="*/ 159 h 235"/>
                <a:gd name="T2" fmla="*/ 93 w 242"/>
                <a:gd name="T3" fmla="*/ 0 h 235"/>
                <a:gd name="T4" fmla="*/ 242 w 242"/>
                <a:gd name="T5" fmla="*/ 107 h 235"/>
                <a:gd name="T6" fmla="*/ 169 w 242"/>
                <a:gd name="T7" fmla="*/ 235 h 235"/>
                <a:gd name="T8" fmla="*/ 0 w 242"/>
                <a:gd name="T9" fmla="*/ 15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35">
                  <a:moveTo>
                    <a:pt x="0" y="159"/>
                  </a:moveTo>
                  <a:lnTo>
                    <a:pt x="93" y="0"/>
                  </a:lnTo>
                  <a:lnTo>
                    <a:pt x="242" y="107"/>
                  </a:lnTo>
                  <a:lnTo>
                    <a:pt x="169" y="235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62">
              <a:extLst>
                <a:ext uri="{FF2B5EF4-FFF2-40B4-BE49-F238E27FC236}">
                  <a16:creationId xmlns:a16="http://schemas.microsoft.com/office/drawing/2014/main" id="{489DB6B8-7FF0-43FD-AE68-1C0CE505F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1" y="1624"/>
              <a:ext cx="183" cy="183"/>
            </a:xfrm>
            <a:custGeom>
              <a:avLst/>
              <a:gdLst>
                <a:gd name="T0" fmla="*/ 0 w 183"/>
                <a:gd name="T1" fmla="*/ 183 h 183"/>
                <a:gd name="T2" fmla="*/ 0 w 183"/>
                <a:gd name="T3" fmla="*/ 0 h 183"/>
                <a:gd name="T4" fmla="*/ 183 w 183"/>
                <a:gd name="T5" fmla="*/ 17 h 183"/>
                <a:gd name="T6" fmla="*/ 183 w 183"/>
                <a:gd name="T7" fmla="*/ 164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0" y="0"/>
                  </a:lnTo>
                  <a:lnTo>
                    <a:pt x="183" y="17"/>
                  </a:lnTo>
                  <a:lnTo>
                    <a:pt x="183" y="164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63">
              <a:extLst>
                <a:ext uri="{FF2B5EF4-FFF2-40B4-BE49-F238E27FC236}">
                  <a16:creationId xmlns:a16="http://schemas.microsoft.com/office/drawing/2014/main" id="{1CAADA1F-8D82-4449-BDCD-4414EB37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" y="1163"/>
              <a:ext cx="243" cy="238"/>
            </a:xfrm>
            <a:custGeom>
              <a:avLst/>
              <a:gdLst>
                <a:gd name="T0" fmla="*/ 93 w 243"/>
                <a:gd name="T1" fmla="*/ 238 h 238"/>
                <a:gd name="T2" fmla="*/ 0 w 243"/>
                <a:gd name="T3" fmla="*/ 76 h 238"/>
                <a:gd name="T4" fmla="*/ 169 w 243"/>
                <a:gd name="T5" fmla="*/ 0 h 238"/>
                <a:gd name="T6" fmla="*/ 243 w 243"/>
                <a:gd name="T7" fmla="*/ 129 h 238"/>
                <a:gd name="T8" fmla="*/ 93 w 243"/>
                <a:gd name="T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38">
                  <a:moveTo>
                    <a:pt x="93" y="238"/>
                  </a:moveTo>
                  <a:lnTo>
                    <a:pt x="0" y="76"/>
                  </a:lnTo>
                  <a:lnTo>
                    <a:pt x="169" y="0"/>
                  </a:lnTo>
                  <a:lnTo>
                    <a:pt x="243" y="129"/>
                  </a:lnTo>
                  <a:lnTo>
                    <a:pt x="93" y="238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64">
              <a:extLst>
                <a:ext uri="{FF2B5EF4-FFF2-40B4-BE49-F238E27FC236}">
                  <a16:creationId xmlns:a16="http://schemas.microsoft.com/office/drawing/2014/main" id="{9BB52CB4-003E-4F0B-A445-8A73D3CDC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" y="833"/>
              <a:ext cx="235" cy="243"/>
            </a:xfrm>
            <a:custGeom>
              <a:avLst/>
              <a:gdLst>
                <a:gd name="T0" fmla="*/ 159 w 235"/>
                <a:gd name="T1" fmla="*/ 243 h 243"/>
                <a:gd name="T2" fmla="*/ 0 w 235"/>
                <a:gd name="T3" fmla="*/ 150 h 243"/>
                <a:gd name="T4" fmla="*/ 107 w 235"/>
                <a:gd name="T5" fmla="*/ 0 h 243"/>
                <a:gd name="T6" fmla="*/ 235 w 235"/>
                <a:gd name="T7" fmla="*/ 74 h 243"/>
                <a:gd name="T8" fmla="*/ 159 w 235"/>
                <a:gd name="T9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43">
                  <a:moveTo>
                    <a:pt x="159" y="243"/>
                  </a:moveTo>
                  <a:lnTo>
                    <a:pt x="0" y="150"/>
                  </a:lnTo>
                  <a:lnTo>
                    <a:pt x="107" y="0"/>
                  </a:lnTo>
                  <a:lnTo>
                    <a:pt x="235" y="74"/>
                  </a:lnTo>
                  <a:lnTo>
                    <a:pt x="159" y="24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65">
              <a:extLst>
                <a:ext uri="{FF2B5EF4-FFF2-40B4-BE49-F238E27FC236}">
                  <a16:creationId xmlns:a16="http://schemas.microsoft.com/office/drawing/2014/main" id="{DDAA3F52-452E-40FD-889C-7A467EF66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" y="1142"/>
              <a:ext cx="200" cy="240"/>
            </a:xfrm>
            <a:custGeom>
              <a:avLst/>
              <a:gdLst>
                <a:gd name="T0" fmla="*/ 84 w 84"/>
                <a:gd name="T1" fmla="*/ 83 h 101"/>
                <a:gd name="T2" fmla="*/ 60 w 84"/>
                <a:gd name="T3" fmla="*/ 101 h 101"/>
                <a:gd name="T4" fmla="*/ 16 w 84"/>
                <a:gd name="T5" fmla="*/ 42 h 101"/>
                <a:gd name="T6" fmla="*/ 0 w 84"/>
                <a:gd name="T7" fmla="*/ 21 h 101"/>
                <a:gd name="T8" fmla="*/ 9 w 84"/>
                <a:gd name="T9" fmla="*/ 16 h 101"/>
                <a:gd name="T10" fmla="*/ 21 w 84"/>
                <a:gd name="T11" fmla="*/ 0 h 101"/>
                <a:gd name="T12" fmla="*/ 39 w 84"/>
                <a:gd name="T13" fmla="*/ 23 h 101"/>
                <a:gd name="T14" fmla="*/ 84 w 84"/>
                <a:gd name="T15" fmla="*/ 8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01">
                  <a:moveTo>
                    <a:pt x="84" y="83"/>
                  </a:moveTo>
                  <a:cubicBezTo>
                    <a:pt x="60" y="101"/>
                    <a:pt x="60" y="101"/>
                    <a:pt x="60" y="101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6" y="18"/>
                    <a:pt x="9" y="16"/>
                  </a:cubicBezTo>
                  <a:cubicBezTo>
                    <a:pt x="15" y="11"/>
                    <a:pt x="19" y="6"/>
                    <a:pt x="21" y="0"/>
                  </a:cubicBezTo>
                  <a:cubicBezTo>
                    <a:pt x="39" y="23"/>
                    <a:pt x="39" y="23"/>
                    <a:pt x="39" y="23"/>
                  </a:cubicBezTo>
                  <a:lnTo>
                    <a:pt x="84" y="83"/>
                  </a:ln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66">
              <a:extLst>
                <a:ext uri="{FF2B5EF4-FFF2-40B4-BE49-F238E27FC236}">
                  <a16:creationId xmlns:a16="http://schemas.microsoft.com/office/drawing/2014/main" id="{0CB7D0BD-CAD3-4370-90CC-BE2FB5D6C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9" y="931"/>
              <a:ext cx="340" cy="346"/>
            </a:xfrm>
            <a:custGeom>
              <a:avLst/>
              <a:gdLst>
                <a:gd name="T0" fmla="*/ 125 w 143"/>
                <a:gd name="T1" fmla="*/ 34 h 146"/>
                <a:gd name="T2" fmla="*/ 34 w 143"/>
                <a:gd name="T3" fmla="*/ 22 h 146"/>
                <a:gd name="T4" fmla="*/ 22 w 143"/>
                <a:gd name="T5" fmla="*/ 114 h 146"/>
                <a:gd name="T6" fmla="*/ 104 w 143"/>
                <a:gd name="T7" fmla="*/ 131 h 146"/>
                <a:gd name="T8" fmla="*/ 113 w 143"/>
                <a:gd name="T9" fmla="*/ 126 h 146"/>
                <a:gd name="T10" fmla="*/ 127 w 143"/>
                <a:gd name="T11" fmla="*/ 112 h 146"/>
                <a:gd name="T12" fmla="*/ 125 w 143"/>
                <a:gd name="T13" fmla="*/ 34 h 146"/>
                <a:gd name="T14" fmla="*/ 97 w 143"/>
                <a:gd name="T15" fmla="*/ 105 h 146"/>
                <a:gd name="T16" fmla="*/ 88 w 143"/>
                <a:gd name="T17" fmla="*/ 110 h 146"/>
                <a:gd name="T18" fmla="*/ 42 w 143"/>
                <a:gd name="T19" fmla="*/ 98 h 146"/>
                <a:gd name="T20" fmla="*/ 50 w 143"/>
                <a:gd name="T21" fmla="*/ 43 h 146"/>
                <a:gd name="T22" fmla="*/ 104 w 143"/>
                <a:gd name="T23" fmla="*/ 50 h 146"/>
                <a:gd name="T24" fmla="*/ 109 w 143"/>
                <a:gd name="T25" fmla="*/ 89 h 146"/>
                <a:gd name="T26" fmla="*/ 97 w 143"/>
                <a:gd name="T27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" h="146">
                  <a:moveTo>
                    <a:pt x="125" y="34"/>
                  </a:moveTo>
                  <a:cubicBezTo>
                    <a:pt x="103" y="6"/>
                    <a:pt x="62" y="0"/>
                    <a:pt x="34" y="22"/>
                  </a:cubicBezTo>
                  <a:cubicBezTo>
                    <a:pt x="5" y="44"/>
                    <a:pt x="0" y="85"/>
                    <a:pt x="22" y="114"/>
                  </a:cubicBezTo>
                  <a:cubicBezTo>
                    <a:pt x="41" y="139"/>
                    <a:pt x="76" y="146"/>
                    <a:pt x="104" y="131"/>
                  </a:cubicBezTo>
                  <a:cubicBezTo>
                    <a:pt x="107" y="130"/>
                    <a:pt x="110" y="128"/>
                    <a:pt x="113" y="126"/>
                  </a:cubicBezTo>
                  <a:cubicBezTo>
                    <a:pt x="118" y="121"/>
                    <a:pt x="123" y="117"/>
                    <a:pt x="127" y="112"/>
                  </a:cubicBezTo>
                  <a:cubicBezTo>
                    <a:pt x="143" y="89"/>
                    <a:pt x="143" y="57"/>
                    <a:pt x="125" y="34"/>
                  </a:cubicBezTo>
                  <a:close/>
                  <a:moveTo>
                    <a:pt x="97" y="105"/>
                  </a:moveTo>
                  <a:cubicBezTo>
                    <a:pt x="94" y="107"/>
                    <a:pt x="91" y="109"/>
                    <a:pt x="88" y="110"/>
                  </a:cubicBezTo>
                  <a:cubicBezTo>
                    <a:pt x="72" y="116"/>
                    <a:pt x="53" y="112"/>
                    <a:pt x="42" y="98"/>
                  </a:cubicBezTo>
                  <a:cubicBezTo>
                    <a:pt x="29" y="81"/>
                    <a:pt x="33" y="56"/>
                    <a:pt x="50" y="43"/>
                  </a:cubicBezTo>
                  <a:cubicBezTo>
                    <a:pt x="67" y="30"/>
                    <a:pt x="91" y="33"/>
                    <a:pt x="104" y="50"/>
                  </a:cubicBezTo>
                  <a:cubicBezTo>
                    <a:pt x="113" y="62"/>
                    <a:pt x="115" y="76"/>
                    <a:pt x="109" y="89"/>
                  </a:cubicBezTo>
                  <a:cubicBezTo>
                    <a:pt x="107" y="95"/>
                    <a:pt x="103" y="100"/>
                    <a:pt x="97" y="105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67">
              <a:extLst>
                <a:ext uri="{FF2B5EF4-FFF2-40B4-BE49-F238E27FC236}">
                  <a16:creationId xmlns:a16="http://schemas.microsoft.com/office/drawing/2014/main" id="{F27B5373-BAEF-4FDA-B255-2CADF8DED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1" y="387"/>
              <a:ext cx="805" cy="803"/>
            </a:xfrm>
            <a:custGeom>
              <a:avLst/>
              <a:gdLst>
                <a:gd name="T0" fmla="*/ 162 w 339"/>
                <a:gd name="T1" fmla="*/ 93 h 338"/>
                <a:gd name="T2" fmla="*/ 177 w 339"/>
                <a:gd name="T3" fmla="*/ 246 h 338"/>
                <a:gd name="T4" fmla="*/ 176 w 339"/>
                <a:gd name="T5" fmla="*/ 236 h 338"/>
                <a:gd name="T6" fmla="*/ 163 w 339"/>
                <a:gd name="T7" fmla="*/ 102 h 338"/>
                <a:gd name="T8" fmla="*/ 176 w 339"/>
                <a:gd name="T9" fmla="*/ 236 h 338"/>
                <a:gd name="T10" fmla="*/ 162 w 339"/>
                <a:gd name="T11" fmla="*/ 93 h 338"/>
                <a:gd name="T12" fmla="*/ 177 w 339"/>
                <a:gd name="T13" fmla="*/ 246 h 338"/>
                <a:gd name="T14" fmla="*/ 176 w 339"/>
                <a:gd name="T15" fmla="*/ 236 h 338"/>
                <a:gd name="T16" fmla="*/ 163 w 339"/>
                <a:gd name="T17" fmla="*/ 102 h 338"/>
                <a:gd name="T18" fmla="*/ 176 w 339"/>
                <a:gd name="T19" fmla="*/ 236 h 338"/>
                <a:gd name="T20" fmla="*/ 162 w 339"/>
                <a:gd name="T21" fmla="*/ 93 h 338"/>
                <a:gd name="T22" fmla="*/ 177 w 339"/>
                <a:gd name="T23" fmla="*/ 246 h 338"/>
                <a:gd name="T24" fmla="*/ 176 w 339"/>
                <a:gd name="T25" fmla="*/ 236 h 338"/>
                <a:gd name="T26" fmla="*/ 163 w 339"/>
                <a:gd name="T27" fmla="*/ 102 h 338"/>
                <a:gd name="T28" fmla="*/ 176 w 339"/>
                <a:gd name="T29" fmla="*/ 236 h 338"/>
                <a:gd name="T30" fmla="*/ 155 w 339"/>
                <a:gd name="T31" fmla="*/ 8 h 338"/>
                <a:gd name="T32" fmla="*/ 185 w 339"/>
                <a:gd name="T33" fmla="*/ 330 h 338"/>
                <a:gd name="T34" fmla="*/ 178 w 339"/>
                <a:gd name="T35" fmla="*/ 257 h 338"/>
                <a:gd name="T36" fmla="*/ 161 w 339"/>
                <a:gd name="T37" fmla="*/ 81 h 338"/>
                <a:gd name="T38" fmla="*/ 178 w 339"/>
                <a:gd name="T39" fmla="*/ 257 h 338"/>
                <a:gd name="T40" fmla="*/ 93 w 339"/>
                <a:gd name="T41" fmla="*/ 176 h 338"/>
                <a:gd name="T42" fmla="*/ 246 w 339"/>
                <a:gd name="T43" fmla="*/ 162 h 338"/>
                <a:gd name="T44" fmla="*/ 176 w 339"/>
                <a:gd name="T45" fmla="*/ 236 h 338"/>
                <a:gd name="T46" fmla="*/ 163 w 339"/>
                <a:gd name="T47" fmla="*/ 102 h 338"/>
                <a:gd name="T48" fmla="*/ 176 w 339"/>
                <a:gd name="T49" fmla="*/ 236 h 338"/>
                <a:gd name="T50" fmla="*/ 162 w 339"/>
                <a:gd name="T51" fmla="*/ 93 h 338"/>
                <a:gd name="T52" fmla="*/ 177 w 339"/>
                <a:gd name="T53" fmla="*/ 246 h 338"/>
                <a:gd name="T54" fmla="*/ 176 w 339"/>
                <a:gd name="T55" fmla="*/ 236 h 338"/>
                <a:gd name="T56" fmla="*/ 163 w 339"/>
                <a:gd name="T57" fmla="*/ 102 h 338"/>
                <a:gd name="T58" fmla="*/ 176 w 339"/>
                <a:gd name="T59" fmla="*/ 236 h 338"/>
                <a:gd name="T60" fmla="*/ 162 w 339"/>
                <a:gd name="T61" fmla="*/ 93 h 338"/>
                <a:gd name="T62" fmla="*/ 177 w 339"/>
                <a:gd name="T63" fmla="*/ 246 h 338"/>
                <a:gd name="T64" fmla="*/ 176 w 339"/>
                <a:gd name="T65" fmla="*/ 236 h 338"/>
                <a:gd name="T66" fmla="*/ 163 w 339"/>
                <a:gd name="T67" fmla="*/ 102 h 338"/>
                <a:gd name="T68" fmla="*/ 176 w 339"/>
                <a:gd name="T69" fmla="*/ 2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9" h="338"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330" y="154"/>
                  </a:moveTo>
                  <a:cubicBezTo>
                    <a:pt x="322" y="66"/>
                    <a:pt x="243" y="0"/>
                    <a:pt x="155" y="8"/>
                  </a:cubicBezTo>
                  <a:cubicBezTo>
                    <a:pt x="66" y="17"/>
                    <a:pt x="0" y="95"/>
                    <a:pt x="9" y="184"/>
                  </a:cubicBezTo>
                  <a:cubicBezTo>
                    <a:pt x="17" y="273"/>
                    <a:pt x="96" y="338"/>
                    <a:pt x="185" y="330"/>
                  </a:cubicBezTo>
                  <a:cubicBezTo>
                    <a:pt x="273" y="322"/>
                    <a:pt x="339" y="243"/>
                    <a:pt x="330" y="154"/>
                  </a:cubicBezTo>
                  <a:close/>
                  <a:moveTo>
                    <a:pt x="178" y="257"/>
                  </a:moveTo>
                  <a:cubicBezTo>
                    <a:pt x="129" y="262"/>
                    <a:pt x="86" y="226"/>
                    <a:pt x="81" y="177"/>
                  </a:cubicBezTo>
                  <a:cubicBezTo>
                    <a:pt x="77" y="129"/>
                    <a:pt x="113" y="86"/>
                    <a:pt x="161" y="81"/>
                  </a:cubicBezTo>
                  <a:cubicBezTo>
                    <a:pt x="210" y="77"/>
                    <a:pt x="253" y="112"/>
                    <a:pt x="258" y="161"/>
                  </a:cubicBezTo>
                  <a:cubicBezTo>
                    <a:pt x="262" y="210"/>
                    <a:pt x="226" y="253"/>
                    <a:pt x="178" y="257"/>
                  </a:cubicBezTo>
                  <a:close/>
                  <a:moveTo>
                    <a:pt x="162" y="93"/>
                  </a:move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ubicBezTo>
                    <a:pt x="242" y="120"/>
                    <a:pt x="205" y="89"/>
                    <a:pt x="162" y="93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  <a:moveTo>
                    <a:pt x="246" y="162"/>
                  </a:moveTo>
                  <a:cubicBezTo>
                    <a:pt x="242" y="120"/>
                    <a:pt x="205" y="89"/>
                    <a:pt x="162" y="93"/>
                  </a:cubicBezTo>
                  <a:cubicBezTo>
                    <a:pt x="120" y="97"/>
                    <a:pt x="89" y="134"/>
                    <a:pt x="93" y="176"/>
                  </a:cubicBezTo>
                  <a:cubicBezTo>
                    <a:pt x="97" y="218"/>
                    <a:pt x="134" y="249"/>
                    <a:pt x="177" y="246"/>
                  </a:cubicBezTo>
                  <a:cubicBezTo>
                    <a:pt x="219" y="242"/>
                    <a:pt x="250" y="204"/>
                    <a:pt x="246" y="162"/>
                  </a:cubicBezTo>
                  <a:close/>
                  <a:moveTo>
                    <a:pt x="176" y="236"/>
                  </a:moveTo>
                  <a:cubicBezTo>
                    <a:pt x="139" y="240"/>
                    <a:pt x="106" y="212"/>
                    <a:pt x="103" y="175"/>
                  </a:cubicBezTo>
                  <a:cubicBezTo>
                    <a:pt x="99" y="138"/>
                    <a:pt x="126" y="106"/>
                    <a:pt x="163" y="102"/>
                  </a:cubicBezTo>
                  <a:cubicBezTo>
                    <a:pt x="200" y="99"/>
                    <a:pt x="233" y="126"/>
                    <a:pt x="237" y="163"/>
                  </a:cubicBezTo>
                  <a:cubicBezTo>
                    <a:pt x="240" y="200"/>
                    <a:pt x="213" y="233"/>
                    <a:pt x="176" y="236"/>
                  </a:cubicBez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68">
              <a:extLst>
                <a:ext uri="{FF2B5EF4-FFF2-40B4-BE49-F238E27FC236}">
                  <a16:creationId xmlns:a16="http://schemas.microsoft.com/office/drawing/2014/main" id="{8F0F2653-D299-4B60-AF96-1929467A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" y="313"/>
              <a:ext cx="147" cy="117"/>
            </a:xfrm>
            <a:custGeom>
              <a:avLst/>
              <a:gdLst>
                <a:gd name="T0" fmla="*/ 147 w 147"/>
                <a:gd name="T1" fmla="*/ 103 h 117"/>
                <a:gd name="T2" fmla="*/ 0 w 147"/>
                <a:gd name="T3" fmla="*/ 117 h 117"/>
                <a:gd name="T4" fmla="*/ 0 w 147"/>
                <a:gd name="T5" fmla="*/ 12 h 117"/>
                <a:gd name="T6" fmla="*/ 130 w 147"/>
                <a:gd name="T7" fmla="*/ 0 h 117"/>
                <a:gd name="T8" fmla="*/ 147 w 147"/>
                <a:gd name="T9" fmla="*/ 10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17">
                  <a:moveTo>
                    <a:pt x="147" y="103"/>
                  </a:moveTo>
                  <a:lnTo>
                    <a:pt x="0" y="117"/>
                  </a:lnTo>
                  <a:lnTo>
                    <a:pt x="0" y="12"/>
                  </a:lnTo>
                  <a:lnTo>
                    <a:pt x="130" y="0"/>
                  </a:lnTo>
                  <a:lnTo>
                    <a:pt x="147" y="103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9">
              <a:extLst>
                <a:ext uri="{FF2B5EF4-FFF2-40B4-BE49-F238E27FC236}">
                  <a16:creationId xmlns:a16="http://schemas.microsoft.com/office/drawing/2014/main" id="{D07C1C7E-7C1F-4869-83B5-BE7887A17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432"/>
              <a:ext cx="169" cy="173"/>
            </a:xfrm>
            <a:custGeom>
              <a:avLst/>
              <a:gdLst>
                <a:gd name="T0" fmla="*/ 169 w 169"/>
                <a:gd name="T1" fmla="*/ 60 h 173"/>
                <a:gd name="T2" fmla="*/ 76 w 169"/>
                <a:gd name="T3" fmla="*/ 173 h 173"/>
                <a:gd name="T4" fmla="*/ 0 w 169"/>
                <a:gd name="T5" fmla="*/ 100 h 173"/>
                <a:gd name="T6" fmla="*/ 83 w 169"/>
                <a:gd name="T7" fmla="*/ 0 h 173"/>
                <a:gd name="T8" fmla="*/ 169 w 169"/>
                <a:gd name="T9" fmla="*/ 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73">
                  <a:moveTo>
                    <a:pt x="169" y="60"/>
                  </a:moveTo>
                  <a:lnTo>
                    <a:pt x="76" y="173"/>
                  </a:lnTo>
                  <a:lnTo>
                    <a:pt x="0" y="100"/>
                  </a:lnTo>
                  <a:lnTo>
                    <a:pt x="83" y="0"/>
                  </a:lnTo>
                  <a:lnTo>
                    <a:pt x="169" y="6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70">
              <a:extLst>
                <a:ext uri="{FF2B5EF4-FFF2-40B4-BE49-F238E27FC236}">
                  <a16:creationId xmlns:a16="http://schemas.microsoft.com/office/drawing/2014/main" id="{78747A6A-9E88-49CB-9E0B-64DAF02D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" y="738"/>
              <a:ext cx="116" cy="150"/>
            </a:xfrm>
            <a:custGeom>
              <a:avLst/>
              <a:gdLst>
                <a:gd name="T0" fmla="*/ 102 w 116"/>
                <a:gd name="T1" fmla="*/ 0 h 150"/>
                <a:gd name="T2" fmla="*/ 116 w 116"/>
                <a:gd name="T3" fmla="*/ 148 h 150"/>
                <a:gd name="T4" fmla="*/ 11 w 116"/>
                <a:gd name="T5" fmla="*/ 150 h 150"/>
                <a:gd name="T6" fmla="*/ 0 w 116"/>
                <a:gd name="T7" fmla="*/ 19 h 150"/>
                <a:gd name="T8" fmla="*/ 102 w 116"/>
                <a:gd name="T9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50">
                  <a:moveTo>
                    <a:pt x="102" y="0"/>
                  </a:moveTo>
                  <a:lnTo>
                    <a:pt x="116" y="148"/>
                  </a:lnTo>
                  <a:lnTo>
                    <a:pt x="11" y="150"/>
                  </a:lnTo>
                  <a:lnTo>
                    <a:pt x="0" y="19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1">
              <a:extLst>
                <a:ext uri="{FF2B5EF4-FFF2-40B4-BE49-F238E27FC236}">
                  <a16:creationId xmlns:a16="http://schemas.microsoft.com/office/drawing/2014/main" id="{E8083ABA-3E41-41A9-9ACA-6C6E9954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" y="1014"/>
              <a:ext cx="176" cy="168"/>
            </a:xfrm>
            <a:custGeom>
              <a:avLst/>
              <a:gdLst>
                <a:gd name="T0" fmla="*/ 62 w 176"/>
                <a:gd name="T1" fmla="*/ 0 h 168"/>
                <a:gd name="T2" fmla="*/ 176 w 176"/>
                <a:gd name="T3" fmla="*/ 95 h 168"/>
                <a:gd name="T4" fmla="*/ 102 w 176"/>
                <a:gd name="T5" fmla="*/ 168 h 168"/>
                <a:gd name="T6" fmla="*/ 0 w 176"/>
                <a:gd name="T7" fmla="*/ 85 h 168"/>
                <a:gd name="T8" fmla="*/ 62 w 176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68">
                  <a:moveTo>
                    <a:pt x="62" y="0"/>
                  </a:moveTo>
                  <a:lnTo>
                    <a:pt x="176" y="95"/>
                  </a:lnTo>
                  <a:lnTo>
                    <a:pt x="102" y="168"/>
                  </a:lnTo>
                  <a:lnTo>
                    <a:pt x="0" y="85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2">
              <a:extLst>
                <a:ext uri="{FF2B5EF4-FFF2-40B4-BE49-F238E27FC236}">
                  <a16:creationId xmlns:a16="http://schemas.microsoft.com/office/drawing/2014/main" id="{E3E4DE6A-7D0B-4F42-AAF5-224014359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0" y="1142"/>
              <a:ext cx="150" cy="116"/>
            </a:xfrm>
            <a:custGeom>
              <a:avLst/>
              <a:gdLst>
                <a:gd name="T0" fmla="*/ 0 w 150"/>
                <a:gd name="T1" fmla="*/ 12 h 116"/>
                <a:gd name="T2" fmla="*/ 148 w 150"/>
                <a:gd name="T3" fmla="*/ 0 h 116"/>
                <a:gd name="T4" fmla="*/ 150 w 150"/>
                <a:gd name="T5" fmla="*/ 105 h 116"/>
                <a:gd name="T6" fmla="*/ 19 w 150"/>
                <a:gd name="T7" fmla="*/ 116 h 116"/>
                <a:gd name="T8" fmla="*/ 0 w 150"/>
                <a:gd name="T9" fmla="*/ 1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16">
                  <a:moveTo>
                    <a:pt x="0" y="12"/>
                  </a:moveTo>
                  <a:lnTo>
                    <a:pt x="148" y="0"/>
                  </a:lnTo>
                  <a:lnTo>
                    <a:pt x="150" y="105"/>
                  </a:lnTo>
                  <a:lnTo>
                    <a:pt x="19" y="11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73">
              <a:extLst>
                <a:ext uri="{FF2B5EF4-FFF2-40B4-BE49-F238E27FC236}">
                  <a16:creationId xmlns:a16="http://schemas.microsoft.com/office/drawing/2014/main" id="{5D815BF5-CDF0-4EED-9B01-338E9463B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" y="966"/>
              <a:ext cx="168" cy="174"/>
            </a:xfrm>
            <a:custGeom>
              <a:avLst/>
              <a:gdLst>
                <a:gd name="T0" fmla="*/ 0 w 168"/>
                <a:gd name="T1" fmla="*/ 114 h 174"/>
                <a:gd name="T2" fmla="*/ 92 w 168"/>
                <a:gd name="T3" fmla="*/ 0 h 174"/>
                <a:gd name="T4" fmla="*/ 168 w 168"/>
                <a:gd name="T5" fmla="*/ 74 h 174"/>
                <a:gd name="T6" fmla="*/ 85 w 168"/>
                <a:gd name="T7" fmla="*/ 174 h 174"/>
                <a:gd name="T8" fmla="*/ 0 w 168"/>
                <a:gd name="T9" fmla="*/ 11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74">
                  <a:moveTo>
                    <a:pt x="0" y="114"/>
                  </a:moveTo>
                  <a:lnTo>
                    <a:pt x="92" y="0"/>
                  </a:lnTo>
                  <a:lnTo>
                    <a:pt x="168" y="74"/>
                  </a:lnTo>
                  <a:lnTo>
                    <a:pt x="85" y="17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4">
              <a:extLst>
                <a:ext uri="{FF2B5EF4-FFF2-40B4-BE49-F238E27FC236}">
                  <a16:creationId xmlns:a16="http://schemas.microsoft.com/office/drawing/2014/main" id="{BD60FD99-8FB1-4F1F-9919-A12165706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" y="684"/>
              <a:ext cx="118" cy="147"/>
            </a:xfrm>
            <a:custGeom>
              <a:avLst/>
              <a:gdLst>
                <a:gd name="T0" fmla="*/ 14 w 118"/>
                <a:gd name="T1" fmla="*/ 147 h 147"/>
                <a:gd name="T2" fmla="*/ 0 w 118"/>
                <a:gd name="T3" fmla="*/ 2 h 147"/>
                <a:gd name="T4" fmla="*/ 107 w 118"/>
                <a:gd name="T5" fmla="*/ 0 h 147"/>
                <a:gd name="T6" fmla="*/ 118 w 118"/>
                <a:gd name="T7" fmla="*/ 130 h 147"/>
                <a:gd name="T8" fmla="*/ 14 w 11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47">
                  <a:moveTo>
                    <a:pt x="14" y="147"/>
                  </a:moveTo>
                  <a:lnTo>
                    <a:pt x="0" y="2"/>
                  </a:lnTo>
                  <a:lnTo>
                    <a:pt x="107" y="0"/>
                  </a:lnTo>
                  <a:lnTo>
                    <a:pt x="118" y="130"/>
                  </a:lnTo>
                  <a:lnTo>
                    <a:pt x="14" y="14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5">
              <a:extLst>
                <a:ext uri="{FF2B5EF4-FFF2-40B4-BE49-F238E27FC236}">
                  <a16:creationId xmlns:a16="http://schemas.microsoft.com/office/drawing/2014/main" id="{18DC17C9-4102-4EAF-ABE3-7060B83D3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" y="387"/>
              <a:ext cx="174" cy="171"/>
            </a:xfrm>
            <a:custGeom>
              <a:avLst/>
              <a:gdLst>
                <a:gd name="T0" fmla="*/ 112 w 174"/>
                <a:gd name="T1" fmla="*/ 171 h 171"/>
                <a:gd name="T2" fmla="*/ 0 w 174"/>
                <a:gd name="T3" fmla="*/ 76 h 171"/>
                <a:gd name="T4" fmla="*/ 72 w 174"/>
                <a:gd name="T5" fmla="*/ 0 h 171"/>
                <a:gd name="T6" fmla="*/ 174 w 174"/>
                <a:gd name="T7" fmla="*/ 86 h 171"/>
                <a:gd name="T8" fmla="*/ 112 w 174"/>
                <a:gd name="T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71">
                  <a:moveTo>
                    <a:pt x="112" y="171"/>
                  </a:moveTo>
                  <a:lnTo>
                    <a:pt x="0" y="76"/>
                  </a:lnTo>
                  <a:lnTo>
                    <a:pt x="72" y="0"/>
                  </a:lnTo>
                  <a:lnTo>
                    <a:pt x="174" y="86"/>
                  </a:lnTo>
                  <a:lnTo>
                    <a:pt x="112" y="171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6">
              <a:extLst>
                <a:ext uri="{FF2B5EF4-FFF2-40B4-BE49-F238E27FC236}">
                  <a16:creationId xmlns:a16="http://schemas.microsoft.com/office/drawing/2014/main" id="{AA64DB02-C3BA-4CC2-9E5D-B942A8724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2" y="335"/>
              <a:ext cx="95" cy="81"/>
            </a:xfrm>
            <a:custGeom>
              <a:avLst/>
              <a:gdLst>
                <a:gd name="T0" fmla="*/ 28 w 40"/>
                <a:gd name="T1" fmla="*/ 34 h 34"/>
                <a:gd name="T2" fmla="*/ 23 w 40"/>
                <a:gd name="T3" fmla="*/ 8 h 34"/>
                <a:gd name="T4" fmla="*/ 0 w 40"/>
                <a:gd name="T5" fmla="*/ 20 h 34"/>
                <a:gd name="T6" fmla="*/ 28 w 40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34">
                  <a:moveTo>
                    <a:pt x="28" y="34"/>
                  </a:moveTo>
                  <a:cubicBezTo>
                    <a:pt x="28" y="34"/>
                    <a:pt x="40" y="16"/>
                    <a:pt x="23" y="8"/>
                  </a:cubicBezTo>
                  <a:cubicBezTo>
                    <a:pt x="7" y="0"/>
                    <a:pt x="0" y="20"/>
                    <a:pt x="0" y="20"/>
                  </a:cubicBezTo>
                  <a:lnTo>
                    <a:pt x="28" y="34"/>
                  </a:lnTo>
                  <a:close/>
                </a:path>
              </a:pathLst>
            </a:custGeom>
            <a:solidFill>
              <a:srgbClr val="DD6A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77">
              <a:extLst>
                <a:ext uri="{FF2B5EF4-FFF2-40B4-BE49-F238E27FC236}">
                  <a16:creationId xmlns:a16="http://schemas.microsoft.com/office/drawing/2014/main" id="{4ABD232F-7210-4AD2-8A3C-14353A5BD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" y="380"/>
              <a:ext cx="223" cy="356"/>
            </a:xfrm>
            <a:custGeom>
              <a:avLst/>
              <a:gdLst>
                <a:gd name="T0" fmla="*/ 0 w 223"/>
                <a:gd name="T1" fmla="*/ 323 h 356"/>
                <a:gd name="T2" fmla="*/ 68 w 223"/>
                <a:gd name="T3" fmla="*/ 356 h 356"/>
                <a:gd name="T4" fmla="*/ 223 w 223"/>
                <a:gd name="T5" fmla="*/ 33 h 356"/>
                <a:gd name="T6" fmla="*/ 154 w 223"/>
                <a:gd name="T7" fmla="*/ 0 h 356"/>
                <a:gd name="T8" fmla="*/ 0 w 223"/>
                <a:gd name="T9" fmla="*/ 32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356">
                  <a:moveTo>
                    <a:pt x="0" y="323"/>
                  </a:moveTo>
                  <a:lnTo>
                    <a:pt x="68" y="356"/>
                  </a:lnTo>
                  <a:lnTo>
                    <a:pt x="223" y="33"/>
                  </a:lnTo>
                  <a:lnTo>
                    <a:pt x="154" y="0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8">
              <a:extLst>
                <a:ext uri="{FF2B5EF4-FFF2-40B4-BE49-F238E27FC236}">
                  <a16:creationId xmlns:a16="http://schemas.microsoft.com/office/drawing/2014/main" id="{DE5D5C1B-CCC2-4AD8-BA89-40A6C7707A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2" y="375"/>
              <a:ext cx="86" cy="52"/>
            </a:xfrm>
            <a:custGeom>
              <a:avLst/>
              <a:gdLst>
                <a:gd name="T0" fmla="*/ 0 w 86"/>
                <a:gd name="T1" fmla="*/ 14 h 52"/>
                <a:gd name="T2" fmla="*/ 79 w 86"/>
                <a:gd name="T3" fmla="*/ 52 h 52"/>
                <a:gd name="T4" fmla="*/ 86 w 86"/>
                <a:gd name="T5" fmla="*/ 41 h 52"/>
                <a:gd name="T6" fmla="*/ 5 w 86"/>
                <a:gd name="T7" fmla="*/ 0 h 52"/>
                <a:gd name="T8" fmla="*/ 0 w 86"/>
                <a:gd name="T9" fmla="*/ 1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2">
                  <a:moveTo>
                    <a:pt x="0" y="14"/>
                  </a:moveTo>
                  <a:lnTo>
                    <a:pt x="79" y="52"/>
                  </a:lnTo>
                  <a:lnTo>
                    <a:pt x="86" y="41"/>
                  </a:lnTo>
                  <a:lnTo>
                    <a:pt x="5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9">
              <a:extLst>
                <a:ext uri="{FF2B5EF4-FFF2-40B4-BE49-F238E27FC236}">
                  <a16:creationId xmlns:a16="http://schemas.microsoft.com/office/drawing/2014/main" id="{2DF39738-8FA6-4CAC-8BF2-3D1E14513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5" y="389"/>
              <a:ext cx="86" cy="53"/>
            </a:xfrm>
            <a:custGeom>
              <a:avLst/>
              <a:gdLst>
                <a:gd name="T0" fmla="*/ 0 w 86"/>
                <a:gd name="T1" fmla="*/ 15 h 53"/>
                <a:gd name="T2" fmla="*/ 79 w 86"/>
                <a:gd name="T3" fmla="*/ 53 h 53"/>
                <a:gd name="T4" fmla="*/ 86 w 86"/>
                <a:gd name="T5" fmla="*/ 41 h 53"/>
                <a:gd name="T6" fmla="*/ 5 w 86"/>
                <a:gd name="T7" fmla="*/ 0 h 53"/>
                <a:gd name="T8" fmla="*/ 0 w 86"/>
                <a:gd name="T9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53">
                  <a:moveTo>
                    <a:pt x="0" y="15"/>
                  </a:moveTo>
                  <a:lnTo>
                    <a:pt x="79" y="53"/>
                  </a:lnTo>
                  <a:lnTo>
                    <a:pt x="86" y="41"/>
                  </a:lnTo>
                  <a:lnTo>
                    <a:pt x="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80">
              <a:extLst>
                <a:ext uri="{FF2B5EF4-FFF2-40B4-BE49-F238E27FC236}">
                  <a16:creationId xmlns:a16="http://schemas.microsoft.com/office/drawing/2014/main" id="{11C3E2A3-720B-4F5D-BAEA-747680B22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" y="698"/>
              <a:ext cx="68" cy="74"/>
            </a:xfrm>
            <a:custGeom>
              <a:avLst/>
              <a:gdLst>
                <a:gd name="T0" fmla="*/ 0 w 68"/>
                <a:gd name="T1" fmla="*/ 5 h 74"/>
                <a:gd name="T2" fmla="*/ 7 w 68"/>
                <a:gd name="T3" fmla="*/ 57 h 74"/>
                <a:gd name="T4" fmla="*/ 9 w 68"/>
                <a:gd name="T5" fmla="*/ 74 h 74"/>
                <a:gd name="T6" fmla="*/ 23 w 68"/>
                <a:gd name="T7" fmla="*/ 67 h 74"/>
                <a:gd name="T8" fmla="*/ 68 w 68"/>
                <a:gd name="T9" fmla="*/ 38 h 74"/>
                <a:gd name="T10" fmla="*/ 66 w 68"/>
                <a:gd name="T11" fmla="*/ 26 h 74"/>
                <a:gd name="T12" fmla="*/ 54 w 68"/>
                <a:gd name="T13" fmla="*/ 31 h 74"/>
                <a:gd name="T14" fmla="*/ 52 w 68"/>
                <a:gd name="T15" fmla="*/ 19 h 74"/>
                <a:gd name="T16" fmla="*/ 40 w 68"/>
                <a:gd name="T17" fmla="*/ 24 h 74"/>
                <a:gd name="T18" fmla="*/ 37 w 68"/>
                <a:gd name="T19" fmla="*/ 14 h 74"/>
                <a:gd name="T20" fmla="*/ 28 w 68"/>
                <a:gd name="T21" fmla="*/ 19 h 74"/>
                <a:gd name="T22" fmla="*/ 26 w 68"/>
                <a:gd name="T23" fmla="*/ 7 h 74"/>
                <a:gd name="T24" fmla="*/ 14 w 68"/>
                <a:gd name="T25" fmla="*/ 12 h 74"/>
                <a:gd name="T26" fmla="*/ 11 w 68"/>
                <a:gd name="T27" fmla="*/ 0 h 74"/>
                <a:gd name="T28" fmla="*/ 0 w 68"/>
                <a:gd name="T2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4">
                  <a:moveTo>
                    <a:pt x="0" y="5"/>
                  </a:moveTo>
                  <a:lnTo>
                    <a:pt x="7" y="57"/>
                  </a:lnTo>
                  <a:lnTo>
                    <a:pt x="9" y="74"/>
                  </a:lnTo>
                  <a:lnTo>
                    <a:pt x="23" y="67"/>
                  </a:lnTo>
                  <a:lnTo>
                    <a:pt x="68" y="38"/>
                  </a:lnTo>
                  <a:lnTo>
                    <a:pt x="66" y="26"/>
                  </a:lnTo>
                  <a:lnTo>
                    <a:pt x="54" y="31"/>
                  </a:lnTo>
                  <a:lnTo>
                    <a:pt x="52" y="19"/>
                  </a:lnTo>
                  <a:lnTo>
                    <a:pt x="40" y="24"/>
                  </a:lnTo>
                  <a:lnTo>
                    <a:pt x="37" y="14"/>
                  </a:lnTo>
                  <a:lnTo>
                    <a:pt x="28" y="19"/>
                  </a:lnTo>
                  <a:lnTo>
                    <a:pt x="26" y="7"/>
                  </a:lnTo>
                  <a:lnTo>
                    <a:pt x="14" y="12"/>
                  </a:lnTo>
                  <a:lnTo>
                    <a:pt x="11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81">
              <a:extLst>
                <a:ext uri="{FF2B5EF4-FFF2-40B4-BE49-F238E27FC236}">
                  <a16:creationId xmlns:a16="http://schemas.microsoft.com/office/drawing/2014/main" id="{AC146DDF-DD53-4AD2-A337-A8A2278DD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5" y="755"/>
              <a:ext cx="16" cy="17"/>
            </a:xfrm>
            <a:custGeom>
              <a:avLst/>
              <a:gdLst>
                <a:gd name="T0" fmla="*/ 0 w 16"/>
                <a:gd name="T1" fmla="*/ 0 h 17"/>
                <a:gd name="T2" fmla="*/ 2 w 16"/>
                <a:gd name="T3" fmla="*/ 17 h 17"/>
                <a:gd name="T4" fmla="*/ 16 w 16"/>
                <a:gd name="T5" fmla="*/ 10 h 17"/>
                <a:gd name="T6" fmla="*/ 0 w 16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7">
                  <a:moveTo>
                    <a:pt x="0" y="0"/>
                  </a:moveTo>
                  <a:lnTo>
                    <a:pt x="2" y="17"/>
                  </a:lnTo>
                  <a:lnTo>
                    <a:pt x="16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82">
              <a:extLst>
                <a:ext uri="{FF2B5EF4-FFF2-40B4-BE49-F238E27FC236}">
                  <a16:creationId xmlns:a16="http://schemas.microsoft.com/office/drawing/2014/main" id="{8716E783-49E4-4D31-9E88-A647D4F28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6" y="425"/>
              <a:ext cx="128" cy="268"/>
            </a:xfrm>
            <a:custGeom>
              <a:avLst/>
              <a:gdLst>
                <a:gd name="T0" fmla="*/ 0 w 54"/>
                <a:gd name="T1" fmla="*/ 113 h 113"/>
                <a:gd name="T2" fmla="*/ 12 w 54"/>
                <a:gd name="T3" fmla="*/ 84 h 113"/>
                <a:gd name="T4" fmla="*/ 25 w 54"/>
                <a:gd name="T5" fmla="*/ 56 h 113"/>
                <a:gd name="T6" fmla="*/ 39 w 54"/>
                <a:gd name="T7" fmla="*/ 28 h 113"/>
                <a:gd name="T8" fmla="*/ 54 w 54"/>
                <a:gd name="T9" fmla="*/ 0 h 113"/>
                <a:gd name="T10" fmla="*/ 42 w 54"/>
                <a:gd name="T11" fmla="*/ 29 h 113"/>
                <a:gd name="T12" fmla="*/ 29 w 54"/>
                <a:gd name="T13" fmla="*/ 57 h 113"/>
                <a:gd name="T14" fmla="*/ 15 w 54"/>
                <a:gd name="T15" fmla="*/ 85 h 113"/>
                <a:gd name="T16" fmla="*/ 0 w 54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13">
                  <a:moveTo>
                    <a:pt x="0" y="113"/>
                  </a:moveTo>
                  <a:cubicBezTo>
                    <a:pt x="4" y="103"/>
                    <a:pt x="8" y="93"/>
                    <a:pt x="12" y="84"/>
                  </a:cubicBezTo>
                  <a:cubicBezTo>
                    <a:pt x="17" y="74"/>
                    <a:pt x="21" y="65"/>
                    <a:pt x="25" y="56"/>
                  </a:cubicBezTo>
                  <a:cubicBezTo>
                    <a:pt x="30" y="46"/>
                    <a:pt x="35" y="37"/>
                    <a:pt x="39" y="28"/>
                  </a:cubicBezTo>
                  <a:cubicBezTo>
                    <a:pt x="44" y="19"/>
                    <a:pt x="49" y="9"/>
                    <a:pt x="54" y="0"/>
                  </a:cubicBezTo>
                  <a:cubicBezTo>
                    <a:pt x="50" y="10"/>
                    <a:pt x="46" y="19"/>
                    <a:pt x="42" y="29"/>
                  </a:cubicBezTo>
                  <a:cubicBezTo>
                    <a:pt x="37" y="38"/>
                    <a:pt x="33" y="48"/>
                    <a:pt x="29" y="57"/>
                  </a:cubicBezTo>
                  <a:cubicBezTo>
                    <a:pt x="24" y="66"/>
                    <a:pt x="20" y="76"/>
                    <a:pt x="15" y="85"/>
                  </a:cubicBezTo>
                  <a:cubicBezTo>
                    <a:pt x="10" y="94"/>
                    <a:pt x="5" y="103"/>
                    <a:pt x="0" y="1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83">
              <a:extLst>
                <a:ext uri="{FF2B5EF4-FFF2-40B4-BE49-F238E27FC236}">
                  <a16:creationId xmlns:a16="http://schemas.microsoft.com/office/drawing/2014/main" id="{7FDF9934-B53E-454E-BC97-CC677199E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7" y="439"/>
              <a:ext cx="128" cy="269"/>
            </a:xfrm>
            <a:custGeom>
              <a:avLst/>
              <a:gdLst>
                <a:gd name="T0" fmla="*/ 0 w 54"/>
                <a:gd name="T1" fmla="*/ 113 h 113"/>
                <a:gd name="T2" fmla="*/ 12 w 54"/>
                <a:gd name="T3" fmla="*/ 84 h 113"/>
                <a:gd name="T4" fmla="*/ 25 w 54"/>
                <a:gd name="T5" fmla="*/ 56 h 113"/>
                <a:gd name="T6" fmla="*/ 39 w 54"/>
                <a:gd name="T7" fmla="*/ 28 h 113"/>
                <a:gd name="T8" fmla="*/ 54 w 54"/>
                <a:gd name="T9" fmla="*/ 0 h 113"/>
                <a:gd name="T10" fmla="*/ 42 w 54"/>
                <a:gd name="T11" fmla="*/ 29 h 113"/>
                <a:gd name="T12" fmla="*/ 28 w 54"/>
                <a:gd name="T13" fmla="*/ 57 h 113"/>
                <a:gd name="T14" fmla="*/ 15 w 54"/>
                <a:gd name="T15" fmla="*/ 85 h 113"/>
                <a:gd name="T16" fmla="*/ 0 w 54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13">
                  <a:moveTo>
                    <a:pt x="0" y="113"/>
                  </a:moveTo>
                  <a:cubicBezTo>
                    <a:pt x="4" y="103"/>
                    <a:pt x="8" y="94"/>
                    <a:pt x="12" y="84"/>
                  </a:cubicBezTo>
                  <a:cubicBezTo>
                    <a:pt x="17" y="75"/>
                    <a:pt x="21" y="65"/>
                    <a:pt x="25" y="56"/>
                  </a:cubicBezTo>
                  <a:cubicBezTo>
                    <a:pt x="30" y="47"/>
                    <a:pt x="34" y="37"/>
                    <a:pt x="39" y="28"/>
                  </a:cubicBezTo>
                  <a:cubicBezTo>
                    <a:pt x="44" y="19"/>
                    <a:pt x="49" y="9"/>
                    <a:pt x="54" y="0"/>
                  </a:cubicBezTo>
                  <a:cubicBezTo>
                    <a:pt x="50" y="10"/>
                    <a:pt x="46" y="20"/>
                    <a:pt x="42" y="29"/>
                  </a:cubicBezTo>
                  <a:cubicBezTo>
                    <a:pt x="37" y="39"/>
                    <a:pt x="33" y="48"/>
                    <a:pt x="28" y="57"/>
                  </a:cubicBezTo>
                  <a:cubicBezTo>
                    <a:pt x="24" y="67"/>
                    <a:pt x="19" y="76"/>
                    <a:pt x="15" y="85"/>
                  </a:cubicBezTo>
                  <a:cubicBezTo>
                    <a:pt x="10" y="94"/>
                    <a:pt x="5" y="104"/>
                    <a:pt x="0" y="1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84">
              <a:extLst>
                <a:ext uri="{FF2B5EF4-FFF2-40B4-BE49-F238E27FC236}">
                  <a16:creationId xmlns:a16="http://schemas.microsoft.com/office/drawing/2014/main" id="{307E2E0D-4CD4-49A8-A7C2-28DE3C8C3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0" y="508"/>
              <a:ext cx="1021" cy="1021"/>
            </a:xfrm>
            <a:custGeom>
              <a:avLst/>
              <a:gdLst>
                <a:gd name="T0" fmla="*/ 215 w 430"/>
                <a:gd name="T1" fmla="*/ 0 h 430"/>
                <a:gd name="T2" fmla="*/ 0 w 430"/>
                <a:gd name="T3" fmla="*/ 215 h 430"/>
                <a:gd name="T4" fmla="*/ 215 w 430"/>
                <a:gd name="T5" fmla="*/ 430 h 430"/>
                <a:gd name="T6" fmla="*/ 430 w 430"/>
                <a:gd name="T7" fmla="*/ 215 h 430"/>
                <a:gd name="T8" fmla="*/ 215 w 430"/>
                <a:gd name="T9" fmla="*/ 0 h 430"/>
                <a:gd name="T10" fmla="*/ 215 w 430"/>
                <a:gd name="T11" fmla="*/ 316 h 430"/>
                <a:gd name="T12" fmla="*/ 115 w 430"/>
                <a:gd name="T13" fmla="*/ 215 h 430"/>
                <a:gd name="T14" fmla="*/ 215 w 430"/>
                <a:gd name="T15" fmla="*/ 115 h 430"/>
                <a:gd name="T16" fmla="*/ 315 w 430"/>
                <a:gd name="T17" fmla="*/ 215 h 430"/>
                <a:gd name="T18" fmla="*/ 215 w 430"/>
                <a:gd name="T19" fmla="*/ 316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0" h="430">
                  <a:moveTo>
                    <a:pt x="215" y="0"/>
                  </a:moveTo>
                  <a:cubicBezTo>
                    <a:pt x="96" y="0"/>
                    <a:pt x="0" y="96"/>
                    <a:pt x="0" y="215"/>
                  </a:cubicBezTo>
                  <a:cubicBezTo>
                    <a:pt x="0" y="334"/>
                    <a:pt x="96" y="430"/>
                    <a:pt x="215" y="430"/>
                  </a:cubicBezTo>
                  <a:cubicBezTo>
                    <a:pt x="334" y="430"/>
                    <a:pt x="430" y="334"/>
                    <a:pt x="430" y="215"/>
                  </a:cubicBezTo>
                  <a:cubicBezTo>
                    <a:pt x="430" y="96"/>
                    <a:pt x="334" y="0"/>
                    <a:pt x="215" y="0"/>
                  </a:cubicBezTo>
                  <a:moveTo>
                    <a:pt x="215" y="316"/>
                  </a:moveTo>
                  <a:cubicBezTo>
                    <a:pt x="160" y="316"/>
                    <a:pt x="115" y="271"/>
                    <a:pt x="115" y="215"/>
                  </a:cubicBezTo>
                  <a:cubicBezTo>
                    <a:pt x="115" y="160"/>
                    <a:pt x="160" y="115"/>
                    <a:pt x="215" y="115"/>
                  </a:cubicBezTo>
                  <a:cubicBezTo>
                    <a:pt x="270" y="115"/>
                    <a:pt x="315" y="160"/>
                    <a:pt x="315" y="215"/>
                  </a:cubicBezTo>
                  <a:cubicBezTo>
                    <a:pt x="315" y="271"/>
                    <a:pt x="270" y="316"/>
                    <a:pt x="215" y="316"/>
                  </a:cubicBezTo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85">
              <a:extLst>
                <a:ext uri="{FF2B5EF4-FFF2-40B4-BE49-F238E27FC236}">
                  <a16:creationId xmlns:a16="http://schemas.microsoft.com/office/drawing/2014/main" id="{D916B47E-6659-497C-BA2B-ABA5F7A93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3" y="389"/>
              <a:ext cx="195" cy="141"/>
            </a:xfrm>
            <a:custGeom>
              <a:avLst/>
              <a:gdLst>
                <a:gd name="T0" fmla="*/ 195 w 195"/>
                <a:gd name="T1" fmla="*/ 141 h 141"/>
                <a:gd name="T2" fmla="*/ 0 w 195"/>
                <a:gd name="T3" fmla="*/ 141 h 141"/>
                <a:gd name="T4" fmla="*/ 9 w 195"/>
                <a:gd name="T5" fmla="*/ 0 h 141"/>
                <a:gd name="T6" fmla="*/ 185 w 195"/>
                <a:gd name="T7" fmla="*/ 0 h 141"/>
                <a:gd name="T8" fmla="*/ 195 w 195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1">
                  <a:moveTo>
                    <a:pt x="195" y="141"/>
                  </a:moveTo>
                  <a:lnTo>
                    <a:pt x="0" y="141"/>
                  </a:lnTo>
                  <a:lnTo>
                    <a:pt x="9" y="0"/>
                  </a:lnTo>
                  <a:lnTo>
                    <a:pt x="185" y="0"/>
                  </a:lnTo>
                  <a:lnTo>
                    <a:pt x="195" y="141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86">
              <a:extLst>
                <a:ext uri="{FF2B5EF4-FFF2-40B4-BE49-F238E27FC236}">
                  <a16:creationId xmlns:a16="http://schemas.microsoft.com/office/drawing/2014/main" id="{AEAC8197-67D9-4E70-A8F8-8711FC315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" y="506"/>
              <a:ext cx="230" cy="228"/>
            </a:xfrm>
            <a:custGeom>
              <a:avLst/>
              <a:gdLst>
                <a:gd name="T0" fmla="*/ 230 w 230"/>
                <a:gd name="T1" fmla="*/ 90 h 228"/>
                <a:gd name="T2" fmla="*/ 90 w 230"/>
                <a:gd name="T3" fmla="*/ 228 h 228"/>
                <a:gd name="T4" fmla="*/ 0 w 230"/>
                <a:gd name="T5" fmla="*/ 123 h 228"/>
                <a:gd name="T6" fmla="*/ 123 w 230"/>
                <a:gd name="T7" fmla="*/ 0 h 228"/>
                <a:gd name="T8" fmla="*/ 230 w 230"/>
                <a:gd name="T9" fmla="*/ 9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28">
                  <a:moveTo>
                    <a:pt x="230" y="90"/>
                  </a:moveTo>
                  <a:lnTo>
                    <a:pt x="90" y="228"/>
                  </a:lnTo>
                  <a:lnTo>
                    <a:pt x="0" y="123"/>
                  </a:lnTo>
                  <a:lnTo>
                    <a:pt x="123" y="0"/>
                  </a:lnTo>
                  <a:lnTo>
                    <a:pt x="230" y="9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87">
              <a:extLst>
                <a:ext uri="{FF2B5EF4-FFF2-40B4-BE49-F238E27FC236}">
                  <a16:creationId xmlns:a16="http://schemas.microsoft.com/office/drawing/2014/main" id="{A467B675-7DB8-4299-8B0C-B55AF90A9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907"/>
              <a:ext cx="138" cy="197"/>
            </a:xfrm>
            <a:custGeom>
              <a:avLst/>
              <a:gdLst>
                <a:gd name="T0" fmla="*/ 138 w 138"/>
                <a:gd name="T1" fmla="*/ 0 h 197"/>
                <a:gd name="T2" fmla="*/ 138 w 138"/>
                <a:gd name="T3" fmla="*/ 197 h 197"/>
                <a:gd name="T4" fmla="*/ 0 w 138"/>
                <a:gd name="T5" fmla="*/ 185 h 197"/>
                <a:gd name="T6" fmla="*/ 0 w 138"/>
                <a:gd name="T7" fmla="*/ 10 h 197"/>
                <a:gd name="T8" fmla="*/ 138 w 138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97">
                  <a:moveTo>
                    <a:pt x="138" y="0"/>
                  </a:moveTo>
                  <a:lnTo>
                    <a:pt x="138" y="197"/>
                  </a:lnTo>
                  <a:lnTo>
                    <a:pt x="0" y="185"/>
                  </a:lnTo>
                  <a:lnTo>
                    <a:pt x="0" y="1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88">
              <a:extLst>
                <a:ext uri="{FF2B5EF4-FFF2-40B4-BE49-F238E27FC236}">
                  <a16:creationId xmlns:a16="http://schemas.microsoft.com/office/drawing/2014/main" id="{06E17500-B75F-4727-8064-27999BBC1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3" y="1280"/>
              <a:ext cx="230" cy="230"/>
            </a:xfrm>
            <a:custGeom>
              <a:avLst/>
              <a:gdLst>
                <a:gd name="T0" fmla="*/ 90 w 230"/>
                <a:gd name="T1" fmla="*/ 0 h 230"/>
                <a:gd name="T2" fmla="*/ 230 w 230"/>
                <a:gd name="T3" fmla="*/ 140 h 230"/>
                <a:gd name="T4" fmla="*/ 123 w 230"/>
                <a:gd name="T5" fmla="*/ 230 h 230"/>
                <a:gd name="T6" fmla="*/ 0 w 230"/>
                <a:gd name="T7" fmla="*/ 107 h 230"/>
                <a:gd name="T8" fmla="*/ 90 w 230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90" y="0"/>
                  </a:moveTo>
                  <a:lnTo>
                    <a:pt x="230" y="140"/>
                  </a:lnTo>
                  <a:lnTo>
                    <a:pt x="123" y="230"/>
                  </a:lnTo>
                  <a:lnTo>
                    <a:pt x="0" y="107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89">
              <a:extLst>
                <a:ext uri="{FF2B5EF4-FFF2-40B4-BE49-F238E27FC236}">
                  <a16:creationId xmlns:a16="http://schemas.microsoft.com/office/drawing/2014/main" id="{9CF7C709-9785-4456-A00C-B73AB2503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" y="1498"/>
              <a:ext cx="197" cy="138"/>
            </a:xfrm>
            <a:custGeom>
              <a:avLst/>
              <a:gdLst>
                <a:gd name="T0" fmla="*/ 0 w 197"/>
                <a:gd name="T1" fmla="*/ 0 h 138"/>
                <a:gd name="T2" fmla="*/ 197 w 197"/>
                <a:gd name="T3" fmla="*/ 0 h 138"/>
                <a:gd name="T4" fmla="*/ 185 w 197"/>
                <a:gd name="T5" fmla="*/ 138 h 138"/>
                <a:gd name="T6" fmla="*/ 12 w 197"/>
                <a:gd name="T7" fmla="*/ 138 h 138"/>
                <a:gd name="T8" fmla="*/ 0 w 197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8">
                  <a:moveTo>
                    <a:pt x="0" y="0"/>
                  </a:moveTo>
                  <a:lnTo>
                    <a:pt x="197" y="0"/>
                  </a:lnTo>
                  <a:lnTo>
                    <a:pt x="185" y="138"/>
                  </a:lnTo>
                  <a:lnTo>
                    <a:pt x="12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90">
              <a:extLst>
                <a:ext uri="{FF2B5EF4-FFF2-40B4-BE49-F238E27FC236}">
                  <a16:creationId xmlns:a16="http://schemas.microsoft.com/office/drawing/2014/main" id="{E5F31EE1-627D-4D88-8AB6-4B33F11FF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" y="1292"/>
              <a:ext cx="228" cy="230"/>
            </a:xfrm>
            <a:custGeom>
              <a:avLst/>
              <a:gdLst>
                <a:gd name="T0" fmla="*/ 0 w 228"/>
                <a:gd name="T1" fmla="*/ 140 h 230"/>
                <a:gd name="T2" fmla="*/ 138 w 228"/>
                <a:gd name="T3" fmla="*/ 0 h 230"/>
                <a:gd name="T4" fmla="*/ 228 w 228"/>
                <a:gd name="T5" fmla="*/ 107 h 230"/>
                <a:gd name="T6" fmla="*/ 105 w 228"/>
                <a:gd name="T7" fmla="*/ 230 h 230"/>
                <a:gd name="T8" fmla="*/ 0 w 228"/>
                <a:gd name="T9" fmla="*/ 14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0" y="140"/>
                  </a:moveTo>
                  <a:lnTo>
                    <a:pt x="138" y="0"/>
                  </a:lnTo>
                  <a:lnTo>
                    <a:pt x="228" y="107"/>
                  </a:lnTo>
                  <a:lnTo>
                    <a:pt x="105" y="230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91">
              <a:extLst>
                <a:ext uri="{FF2B5EF4-FFF2-40B4-BE49-F238E27FC236}">
                  <a16:creationId xmlns:a16="http://schemas.microsoft.com/office/drawing/2014/main" id="{5DEC4558-7B30-41DC-94AA-3B2BAF224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5" y="924"/>
              <a:ext cx="140" cy="197"/>
            </a:xfrm>
            <a:custGeom>
              <a:avLst/>
              <a:gdLst>
                <a:gd name="T0" fmla="*/ 0 w 140"/>
                <a:gd name="T1" fmla="*/ 197 h 197"/>
                <a:gd name="T2" fmla="*/ 0 w 140"/>
                <a:gd name="T3" fmla="*/ 0 h 197"/>
                <a:gd name="T4" fmla="*/ 140 w 140"/>
                <a:gd name="T5" fmla="*/ 12 h 197"/>
                <a:gd name="T6" fmla="*/ 140 w 140"/>
                <a:gd name="T7" fmla="*/ 185 h 197"/>
                <a:gd name="T8" fmla="*/ 0 w 140"/>
                <a:gd name="T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97">
                  <a:moveTo>
                    <a:pt x="0" y="197"/>
                  </a:moveTo>
                  <a:lnTo>
                    <a:pt x="0" y="0"/>
                  </a:lnTo>
                  <a:lnTo>
                    <a:pt x="140" y="12"/>
                  </a:lnTo>
                  <a:lnTo>
                    <a:pt x="140" y="185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92">
              <a:extLst>
                <a:ext uri="{FF2B5EF4-FFF2-40B4-BE49-F238E27FC236}">
                  <a16:creationId xmlns:a16="http://schemas.microsoft.com/office/drawing/2014/main" id="{8FF22A91-4616-4AFE-9E4E-8B52B172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" y="518"/>
              <a:ext cx="228" cy="230"/>
            </a:xfrm>
            <a:custGeom>
              <a:avLst/>
              <a:gdLst>
                <a:gd name="T0" fmla="*/ 138 w 228"/>
                <a:gd name="T1" fmla="*/ 230 h 230"/>
                <a:gd name="T2" fmla="*/ 0 w 228"/>
                <a:gd name="T3" fmla="*/ 90 h 230"/>
                <a:gd name="T4" fmla="*/ 104 w 228"/>
                <a:gd name="T5" fmla="*/ 0 h 230"/>
                <a:gd name="T6" fmla="*/ 228 w 228"/>
                <a:gd name="T7" fmla="*/ 123 h 230"/>
                <a:gd name="T8" fmla="*/ 138 w 22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138" y="230"/>
                  </a:moveTo>
                  <a:lnTo>
                    <a:pt x="0" y="90"/>
                  </a:lnTo>
                  <a:lnTo>
                    <a:pt x="104" y="0"/>
                  </a:lnTo>
                  <a:lnTo>
                    <a:pt x="228" y="123"/>
                  </a:lnTo>
                  <a:lnTo>
                    <a:pt x="138" y="230"/>
                  </a:lnTo>
                  <a:close/>
                </a:path>
              </a:pathLst>
            </a:custGeom>
            <a:solidFill>
              <a:srgbClr val="FF4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93">
              <a:extLst>
                <a:ext uri="{FF2B5EF4-FFF2-40B4-BE49-F238E27FC236}">
                  <a16:creationId xmlns:a16="http://schemas.microsoft.com/office/drawing/2014/main" id="{672A31A2-2F4B-4FAC-8A7A-73167CF6A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1" y="518"/>
              <a:ext cx="228" cy="230"/>
            </a:xfrm>
            <a:custGeom>
              <a:avLst/>
              <a:gdLst>
                <a:gd name="T0" fmla="*/ 138 w 228"/>
                <a:gd name="T1" fmla="*/ 230 h 230"/>
                <a:gd name="T2" fmla="*/ 0 w 228"/>
                <a:gd name="T3" fmla="*/ 90 h 230"/>
                <a:gd name="T4" fmla="*/ 104 w 228"/>
                <a:gd name="T5" fmla="*/ 0 h 230"/>
                <a:gd name="T6" fmla="*/ 228 w 228"/>
                <a:gd name="T7" fmla="*/ 123 h 230"/>
                <a:gd name="T8" fmla="*/ 138 w 228"/>
                <a:gd name="T9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8" h="230">
                  <a:moveTo>
                    <a:pt x="138" y="230"/>
                  </a:moveTo>
                  <a:lnTo>
                    <a:pt x="0" y="90"/>
                  </a:lnTo>
                  <a:lnTo>
                    <a:pt x="104" y="0"/>
                  </a:lnTo>
                  <a:lnTo>
                    <a:pt x="228" y="123"/>
                  </a:lnTo>
                  <a:lnTo>
                    <a:pt x="138" y="2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94">
              <a:extLst>
                <a:ext uri="{FF2B5EF4-FFF2-40B4-BE49-F238E27FC236}">
                  <a16:creationId xmlns:a16="http://schemas.microsoft.com/office/drawing/2014/main" id="{D629C717-4974-483F-A435-0385C721A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3" y="522"/>
              <a:ext cx="119" cy="119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Rectangle 95">
              <a:extLst>
                <a:ext uri="{FF2B5EF4-FFF2-40B4-BE49-F238E27FC236}">
                  <a16:creationId xmlns:a16="http://schemas.microsoft.com/office/drawing/2014/main" id="{12C71C80-B94A-4DAE-B4E7-BEC727943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0" y="632"/>
              <a:ext cx="126" cy="19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96">
              <a:extLst>
                <a:ext uri="{FF2B5EF4-FFF2-40B4-BE49-F238E27FC236}">
                  <a16:creationId xmlns:a16="http://schemas.microsoft.com/office/drawing/2014/main" id="{316190BD-A0BD-4634-B443-4317BB45B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0" y="632"/>
              <a:ext cx="126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97">
              <a:extLst>
                <a:ext uri="{FF2B5EF4-FFF2-40B4-BE49-F238E27FC236}">
                  <a16:creationId xmlns:a16="http://schemas.microsoft.com/office/drawing/2014/main" id="{1601A813-C965-4905-BFD9-2CC849E33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" y="632"/>
              <a:ext cx="126" cy="19"/>
            </a:xfrm>
            <a:custGeom>
              <a:avLst/>
              <a:gdLst>
                <a:gd name="T0" fmla="*/ 126 w 126"/>
                <a:gd name="T1" fmla="*/ 0 h 19"/>
                <a:gd name="T2" fmla="*/ 95 w 126"/>
                <a:gd name="T3" fmla="*/ 0 h 19"/>
                <a:gd name="T4" fmla="*/ 31 w 126"/>
                <a:gd name="T5" fmla="*/ 0 h 19"/>
                <a:gd name="T6" fmla="*/ 0 w 126"/>
                <a:gd name="T7" fmla="*/ 0 h 19"/>
                <a:gd name="T8" fmla="*/ 0 w 126"/>
                <a:gd name="T9" fmla="*/ 19 h 19"/>
                <a:gd name="T10" fmla="*/ 126 w 126"/>
                <a:gd name="T11" fmla="*/ 19 h 19"/>
                <a:gd name="T12" fmla="*/ 126 w 126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9">
                  <a:moveTo>
                    <a:pt x="126" y="0"/>
                  </a:moveTo>
                  <a:lnTo>
                    <a:pt x="95" y="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26" y="19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98">
              <a:extLst>
                <a:ext uri="{FF2B5EF4-FFF2-40B4-BE49-F238E27FC236}">
                  <a16:creationId xmlns:a16="http://schemas.microsoft.com/office/drawing/2014/main" id="{00296F10-02ED-4EB3-9103-CE13D29A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" y="632"/>
              <a:ext cx="126" cy="19"/>
            </a:xfrm>
            <a:custGeom>
              <a:avLst/>
              <a:gdLst>
                <a:gd name="T0" fmla="*/ 126 w 126"/>
                <a:gd name="T1" fmla="*/ 0 h 19"/>
                <a:gd name="T2" fmla="*/ 95 w 126"/>
                <a:gd name="T3" fmla="*/ 0 h 19"/>
                <a:gd name="T4" fmla="*/ 31 w 126"/>
                <a:gd name="T5" fmla="*/ 0 h 19"/>
                <a:gd name="T6" fmla="*/ 0 w 126"/>
                <a:gd name="T7" fmla="*/ 0 h 19"/>
                <a:gd name="T8" fmla="*/ 0 w 126"/>
                <a:gd name="T9" fmla="*/ 19 h 19"/>
                <a:gd name="T10" fmla="*/ 126 w 126"/>
                <a:gd name="T11" fmla="*/ 19 h 19"/>
                <a:gd name="T12" fmla="*/ 126 w 126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19">
                  <a:moveTo>
                    <a:pt x="126" y="0"/>
                  </a:moveTo>
                  <a:lnTo>
                    <a:pt x="95" y="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126" y="19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99">
              <a:extLst>
                <a:ext uri="{FF2B5EF4-FFF2-40B4-BE49-F238E27FC236}">
                  <a16:creationId xmlns:a16="http://schemas.microsoft.com/office/drawing/2014/main" id="{52030C4E-63C7-4AA9-B16A-849DC538B2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00">
              <a:extLst>
                <a:ext uri="{FF2B5EF4-FFF2-40B4-BE49-F238E27FC236}">
                  <a16:creationId xmlns:a16="http://schemas.microsoft.com/office/drawing/2014/main" id="{0D692833-5BFB-4401-BD7E-7A3ECD833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101">
              <a:extLst>
                <a:ext uri="{FF2B5EF4-FFF2-40B4-BE49-F238E27FC236}">
                  <a16:creationId xmlns:a16="http://schemas.microsoft.com/office/drawing/2014/main" id="{DBDA7C2E-7D48-4B81-9A1E-FBB46D35C6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02">
              <a:extLst>
                <a:ext uri="{FF2B5EF4-FFF2-40B4-BE49-F238E27FC236}">
                  <a16:creationId xmlns:a16="http://schemas.microsoft.com/office/drawing/2014/main" id="{F5F1FA6E-EBB8-4946-A114-755011070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883"/>
              <a:ext cx="254" cy="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103">
              <a:extLst>
                <a:ext uri="{FF2B5EF4-FFF2-40B4-BE49-F238E27FC236}">
                  <a16:creationId xmlns:a16="http://schemas.microsoft.com/office/drawing/2014/main" id="{9F3A7AD0-CA6C-410C-AF1F-B80EC7B1D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04">
              <a:extLst>
                <a:ext uri="{FF2B5EF4-FFF2-40B4-BE49-F238E27FC236}">
                  <a16:creationId xmlns:a16="http://schemas.microsoft.com/office/drawing/2014/main" id="{655DD65A-BC9A-4225-8B96-DA1EA2DDB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105">
              <a:extLst>
                <a:ext uri="{FF2B5EF4-FFF2-40B4-BE49-F238E27FC236}">
                  <a16:creationId xmlns:a16="http://schemas.microsoft.com/office/drawing/2014/main" id="{56E1D496-D07D-401B-BB16-4B42CC699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solidFill>
              <a:srgbClr val="E5B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06">
              <a:extLst>
                <a:ext uri="{FF2B5EF4-FFF2-40B4-BE49-F238E27FC236}">
                  <a16:creationId xmlns:a16="http://schemas.microsoft.com/office/drawing/2014/main" id="{08578800-978C-4595-9D60-E9215F91B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" y="933"/>
              <a:ext cx="254" cy="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Rectangle 107">
              <a:extLst>
                <a:ext uri="{FF2B5EF4-FFF2-40B4-BE49-F238E27FC236}">
                  <a16:creationId xmlns:a16="http://schemas.microsoft.com/office/drawing/2014/main" id="{979774D2-DBDB-413E-9C59-7DF66ED25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6" y="900"/>
              <a:ext cx="235" cy="33"/>
            </a:xfrm>
            <a:prstGeom prst="rect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08">
              <a:extLst>
                <a:ext uri="{FF2B5EF4-FFF2-40B4-BE49-F238E27FC236}">
                  <a16:creationId xmlns:a16="http://schemas.microsoft.com/office/drawing/2014/main" id="{7CBD2F08-7891-4649-A70D-D5A1DDC8E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2" y="651"/>
              <a:ext cx="102" cy="19"/>
            </a:xfrm>
            <a:prstGeom prst="rect">
              <a:avLst/>
            </a:pr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09">
              <a:extLst>
                <a:ext uri="{FF2B5EF4-FFF2-40B4-BE49-F238E27FC236}">
                  <a16:creationId xmlns:a16="http://schemas.microsoft.com/office/drawing/2014/main" id="{BD225DFF-35CE-446E-B02B-95BCF1229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8" y="670"/>
              <a:ext cx="209" cy="213"/>
            </a:xfrm>
            <a:custGeom>
              <a:avLst/>
              <a:gdLst>
                <a:gd name="T0" fmla="*/ 88 w 88"/>
                <a:gd name="T1" fmla="*/ 90 h 90"/>
                <a:gd name="T2" fmla="*/ 0 w 88"/>
                <a:gd name="T3" fmla="*/ 90 h 90"/>
                <a:gd name="T4" fmla="*/ 25 w 88"/>
                <a:gd name="T5" fmla="*/ 46 h 90"/>
                <a:gd name="T6" fmla="*/ 30 w 88"/>
                <a:gd name="T7" fmla="*/ 0 h 90"/>
                <a:gd name="T8" fmla="*/ 59 w 88"/>
                <a:gd name="T9" fmla="*/ 0 h 90"/>
                <a:gd name="T10" fmla="*/ 64 w 88"/>
                <a:gd name="T11" fmla="*/ 46 h 90"/>
                <a:gd name="T12" fmla="*/ 88 w 88"/>
                <a:gd name="T1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90">
                  <a:moveTo>
                    <a:pt x="88" y="9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20" y="70"/>
                    <a:pt x="25" y="46"/>
                  </a:cubicBezTo>
                  <a:cubicBezTo>
                    <a:pt x="28" y="25"/>
                    <a:pt x="30" y="0"/>
                    <a:pt x="30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60" y="25"/>
                    <a:pt x="64" y="46"/>
                  </a:cubicBezTo>
                  <a:cubicBezTo>
                    <a:pt x="68" y="70"/>
                    <a:pt x="88" y="90"/>
                    <a:pt x="88" y="90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10">
              <a:extLst>
                <a:ext uri="{FF2B5EF4-FFF2-40B4-BE49-F238E27FC236}">
                  <a16:creationId xmlns:a16="http://schemas.microsoft.com/office/drawing/2014/main" id="{7AB84554-AC9E-4AA9-A263-5779D87C3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3" y="-5"/>
              <a:ext cx="19" cy="19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5 h 8"/>
                <a:gd name="T4" fmla="*/ 6 w 8"/>
                <a:gd name="T5" fmla="*/ 0 h 8"/>
                <a:gd name="T6" fmla="*/ 8 w 8"/>
                <a:gd name="T7" fmla="*/ 4 h 8"/>
                <a:gd name="T8" fmla="*/ 2 w 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4" y="2"/>
                    <a:pt x="6" y="0"/>
                    <a:pt x="6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6" y="5"/>
                    <a:pt x="2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11">
              <a:extLst>
                <a:ext uri="{FF2B5EF4-FFF2-40B4-BE49-F238E27FC236}">
                  <a16:creationId xmlns:a16="http://schemas.microsoft.com/office/drawing/2014/main" id="{EF93F46F-DEA7-4E04-9BED-82EBC9DD2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2" y="31"/>
              <a:ext cx="3634" cy="1624"/>
            </a:xfrm>
            <a:custGeom>
              <a:avLst/>
              <a:gdLst>
                <a:gd name="T0" fmla="*/ 1155 w 1531"/>
                <a:gd name="T1" fmla="*/ 684 h 684"/>
                <a:gd name="T2" fmla="*/ 1091 w 1531"/>
                <a:gd name="T3" fmla="*/ 680 h 684"/>
                <a:gd name="T4" fmla="*/ 1202 w 1531"/>
                <a:gd name="T5" fmla="*/ 672 h 684"/>
                <a:gd name="T6" fmla="*/ 1076 w 1531"/>
                <a:gd name="T7" fmla="*/ 673 h 684"/>
                <a:gd name="T8" fmla="*/ 1218 w 1531"/>
                <a:gd name="T9" fmla="*/ 671 h 684"/>
                <a:gd name="T10" fmla="*/ 1246 w 1531"/>
                <a:gd name="T11" fmla="*/ 656 h 684"/>
                <a:gd name="T12" fmla="*/ 1002 w 1531"/>
                <a:gd name="T13" fmla="*/ 645 h 684"/>
                <a:gd name="T14" fmla="*/ 979 w 1531"/>
                <a:gd name="T15" fmla="*/ 622 h 684"/>
                <a:gd name="T16" fmla="*/ 1282 w 1531"/>
                <a:gd name="T17" fmla="*/ 623 h 684"/>
                <a:gd name="T18" fmla="*/ 965 w 1531"/>
                <a:gd name="T19" fmla="*/ 614 h 684"/>
                <a:gd name="T20" fmla="*/ 943 w 1531"/>
                <a:gd name="T21" fmla="*/ 591 h 684"/>
                <a:gd name="T22" fmla="*/ 1305 w 1531"/>
                <a:gd name="T23" fmla="*/ 581 h 684"/>
                <a:gd name="T24" fmla="*/ 917 w 1531"/>
                <a:gd name="T25" fmla="*/ 550 h 684"/>
                <a:gd name="T26" fmla="*/ 1328 w 1531"/>
                <a:gd name="T27" fmla="*/ 539 h 684"/>
                <a:gd name="T28" fmla="*/ 904 w 1531"/>
                <a:gd name="T29" fmla="*/ 539 h 684"/>
                <a:gd name="T30" fmla="*/ 887 w 1531"/>
                <a:gd name="T31" fmla="*/ 513 h 684"/>
                <a:gd name="T32" fmla="*/ 1338 w 1531"/>
                <a:gd name="T33" fmla="*/ 492 h 684"/>
                <a:gd name="T34" fmla="*/ 863 w 1531"/>
                <a:gd name="T35" fmla="*/ 470 h 684"/>
                <a:gd name="T36" fmla="*/ 1355 w 1531"/>
                <a:gd name="T37" fmla="*/ 446 h 684"/>
                <a:gd name="T38" fmla="*/ 851 w 1531"/>
                <a:gd name="T39" fmla="*/ 460 h 684"/>
                <a:gd name="T40" fmla="*/ 1359 w 1531"/>
                <a:gd name="T41" fmla="*/ 431 h 684"/>
                <a:gd name="T42" fmla="*/ 799 w 1531"/>
                <a:gd name="T43" fmla="*/ 399 h 684"/>
                <a:gd name="T44" fmla="*/ 1366 w 1531"/>
                <a:gd name="T45" fmla="*/ 383 h 684"/>
                <a:gd name="T46" fmla="*/ 210 w 1531"/>
                <a:gd name="T47" fmla="*/ 386 h 684"/>
                <a:gd name="T48" fmla="*/ 226 w 1531"/>
                <a:gd name="T49" fmla="*/ 390 h 684"/>
                <a:gd name="T50" fmla="*/ 178 w 1531"/>
                <a:gd name="T51" fmla="*/ 387 h 684"/>
                <a:gd name="T52" fmla="*/ 258 w 1531"/>
                <a:gd name="T53" fmla="*/ 381 h 684"/>
                <a:gd name="T54" fmla="*/ 133 w 1531"/>
                <a:gd name="T55" fmla="*/ 370 h 684"/>
                <a:gd name="T56" fmla="*/ 305 w 1531"/>
                <a:gd name="T57" fmla="*/ 372 h 684"/>
                <a:gd name="T58" fmla="*/ 1374 w 1531"/>
                <a:gd name="T59" fmla="*/ 368 h 684"/>
                <a:gd name="T60" fmla="*/ 117 w 1531"/>
                <a:gd name="T61" fmla="*/ 368 h 684"/>
                <a:gd name="T62" fmla="*/ 319 w 1531"/>
                <a:gd name="T63" fmla="*/ 363 h 684"/>
                <a:gd name="T64" fmla="*/ 364 w 1531"/>
                <a:gd name="T65" fmla="*/ 349 h 684"/>
                <a:gd name="T66" fmla="*/ 91 w 1531"/>
                <a:gd name="T67" fmla="*/ 348 h 684"/>
                <a:gd name="T68" fmla="*/ 736 w 1531"/>
                <a:gd name="T69" fmla="*/ 351 h 684"/>
                <a:gd name="T70" fmla="*/ 411 w 1531"/>
                <a:gd name="T71" fmla="*/ 338 h 684"/>
                <a:gd name="T72" fmla="*/ 1379 w 1531"/>
                <a:gd name="T73" fmla="*/ 336 h 684"/>
                <a:gd name="T74" fmla="*/ 693 w 1531"/>
                <a:gd name="T75" fmla="*/ 332 h 684"/>
                <a:gd name="T76" fmla="*/ 52 w 1531"/>
                <a:gd name="T77" fmla="*/ 320 h 684"/>
                <a:gd name="T78" fmla="*/ 457 w 1531"/>
                <a:gd name="T79" fmla="*/ 321 h 684"/>
                <a:gd name="T80" fmla="*/ 679 w 1531"/>
                <a:gd name="T81" fmla="*/ 323 h 684"/>
                <a:gd name="T82" fmla="*/ 473 w 1531"/>
                <a:gd name="T83" fmla="*/ 322 h 684"/>
                <a:gd name="T84" fmla="*/ 505 w 1531"/>
                <a:gd name="T85" fmla="*/ 316 h 684"/>
                <a:gd name="T86" fmla="*/ 600 w 1531"/>
                <a:gd name="T87" fmla="*/ 312 h 684"/>
                <a:gd name="T88" fmla="*/ 552 w 1531"/>
                <a:gd name="T89" fmla="*/ 307 h 684"/>
                <a:gd name="T90" fmla="*/ 568 w 1531"/>
                <a:gd name="T91" fmla="*/ 306 h 684"/>
                <a:gd name="T92" fmla="*/ 36 w 1531"/>
                <a:gd name="T93" fmla="*/ 292 h 684"/>
                <a:gd name="T94" fmla="*/ 1397 w 1531"/>
                <a:gd name="T95" fmla="*/ 292 h 684"/>
                <a:gd name="T96" fmla="*/ 24 w 1531"/>
                <a:gd name="T97" fmla="*/ 281 h 684"/>
                <a:gd name="T98" fmla="*/ 11 w 1531"/>
                <a:gd name="T99" fmla="*/ 251 h 684"/>
                <a:gd name="T100" fmla="*/ 1412 w 1531"/>
                <a:gd name="T101" fmla="*/ 246 h 684"/>
                <a:gd name="T102" fmla="*/ 1435 w 1531"/>
                <a:gd name="T103" fmla="*/ 204 h 684"/>
                <a:gd name="T104" fmla="*/ 5 w 1531"/>
                <a:gd name="T105" fmla="*/ 203 h 684"/>
                <a:gd name="T106" fmla="*/ 1455 w 1531"/>
                <a:gd name="T107" fmla="*/ 178 h 684"/>
                <a:gd name="T108" fmla="*/ 4 w 1531"/>
                <a:gd name="T109" fmla="*/ 172 h 684"/>
                <a:gd name="T110" fmla="*/ 1477 w 1531"/>
                <a:gd name="T111" fmla="*/ 155 h 684"/>
                <a:gd name="T112" fmla="*/ 6 w 1531"/>
                <a:gd name="T113" fmla="*/ 140 h 684"/>
                <a:gd name="T114" fmla="*/ 1491 w 1531"/>
                <a:gd name="T115" fmla="*/ 147 h 684"/>
                <a:gd name="T116" fmla="*/ 9 w 1531"/>
                <a:gd name="T117" fmla="*/ 124 h 684"/>
                <a:gd name="T118" fmla="*/ 13 w 1531"/>
                <a:gd name="T119" fmla="*/ 92 h 684"/>
                <a:gd name="T120" fmla="*/ 34 w 1531"/>
                <a:gd name="T121" fmla="*/ 49 h 684"/>
                <a:gd name="T122" fmla="*/ 56 w 1531"/>
                <a:gd name="T123" fmla="*/ 25 h 684"/>
                <a:gd name="T124" fmla="*/ 67 w 1531"/>
                <a:gd name="T125" fmla="*/ 14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1" h="684">
                  <a:moveTo>
                    <a:pt x="1139" y="684"/>
                  </a:moveTo>
                  <a:cubicBezTo>
                    <a:pt x="1134" y="684"/>
                    <a:pt x="1128" y="684"/>
                    <a:pt x="1123" y="684"/>
                  </a:cubicBezTo>
                  <a:cubicBezTo>
                    <a:pt x="1123" y="680"/>
                    <a:pt x="1123" y="680"/>
                    <a:pt x="1123" y="680"/>
                  </a:cubicBezTo>
                  <a:cubicBezTo>
                    <a:pt x="1128" y="680"/>
                    <a:pt x="1134" y="680"/>
                    <a:pt x="1139" y="680"/>
                  </a:cubicBezTo>
                  <a:lnTo>
                    <a:pt x="1139" y="684"/>
                  </a:lnTo>
                  <a:close/>
                  <a:moveTo>
                    <a:pt x="1155" y="684"/>
                  </a:moveTo>
                  <a:cubicBezTo>
                    <a:pt x="1155" y="680"/>
                    <a:pt x="1155" y="680"/>
                    <a:pt x="1155" y="680"/>
                  </a:cubicBezTo>
                  <a:cubicBezTo>
                    <a:pt x="1160" y="680"/>
                    <a:pt x="1166" y="679"/>
                    <a:pt x="1171" y="678"/>
                  </a:cubicBezTo>
                  <a:cubicBezTo>
                    <a:pt x="1171" y="682"/>
                    <a:pt x="1171" y="682"/>
                    <a:pt x="1171" y="682"/>
                  </a:cubicBezTo>
                  <a:cubicBezTo>
                    <a:pt x="1166" y="683"/>
                    <a:pt x="1161" y="683"/>
                    <a:pt x="1155" y="684"/>
                  </a:cubicBezTo>
                  <a:close/>
                  <a:moveTo>
                    <a:pt x="1107" y="682"/>
                  </a:moveTo>
                  <a:cubicBezTo>
                    <a:pt x="1102" y="682"/>
                    <a:pt x="1096" y="681"/>
                    <a:pt x="1091" y="680"/>
                  </a:cubicBezTo>
                  <a:cubicBezTo>
                    <a:pt x="1092" y="676"/>
                    <a:pt x="1092" y="676"/>
                    <a:pt x="1092" y="676"/>
                  </a:cubicBezTo>
                  <a:cubicBezTo>
                    <a:pt x="1097" y="677"/>
                    <a:pt x="1102" y="678"/>
                    <a:pt x="1108" y="678"/>
                  </a:cubicBezTo>
                  <a:lnTo>
                    <a:pt x="1107" y="682"/>
                  </a:lnTo>
                  <a:close/>
                  <a:moveTo>
                    <a:pt x="1187" y="680"/>
                  </a:moveTo>
                  <a:cubicBezTo>
                    <a:pt x="1186" y="676"/>
                    <a:pt x="1186" y="676"/>
                    <a:pt x="1186" y="676"/>
                  </a:cubicBezTo>
                  <a:cubicBezTo>
                    <a:pt x="1192" y="675"/>
                    <a:pt x="1197" y="674"/>
                    <a:pt x="1202" y="672"/>
                  </a:cubicBezTo>
                  <a:cubicBezTo>
                    <a:pt x="1203" y="676"/>
                    <a:pt x="1203" y="676"/>
                    <a:pt x="1203" y="676"/>
                  </a:cubicBezTo>
                  <a:cubicBezTo>
                    <a:pt x="1198" y="678"/>
                    <a:pt x="1192" y="679"/>
                    <a:pt x="1187" y="680"/>
                  </a:cubicBezTo>
                  <a:close/>
                  <a:moveTo>
                    <a:pt x="1075" y="677"/>
                  </a:moveTo>
                  <a:cubicBezTo>
                    <a:pt x="1070" y="675"/>
                    <a:pt x="1065" y="674"/>
                    <a:pt x="1060" y="672"/>
                  </a:cubicBezTo>
                  <a:cubicBezTo>
                    <a:pt x="1061" y="669"/>
                    <a:pt x="1061" y="669"/>
                    <a:pt x="1061" y="669"/>
                  </a:cubicBezTo>
                  <a:cubicBezTo>
                    <a:pt x="1066" y="670"/>
                    <a:pt x="1071" y="672"/>
                    <a:pt x="1076" y="673"/>
                  </a:cubicBezTo>
                  <a:lnTo>
                    <a:pt x="1075" y="677"/>
                  </a:lnTo>
                  <a:close/>
                  <a:moveTo>
                    <a:pt x="1218" y="671"/>
                  </a:moveTo>
                  <a:cubicBezTo>
                    <a:pt x="1216" y="667"/>
                    <a:pt x="1216" y="667"/>
                    <a:pt x="1216" y="667"/>
                  </a:cubicBezTo>
                  <a:cubicBezTo>
                    <a:pt x="1221" y="665"/>
                    <a:pt x="1226" y="663"/>
                    <a:pt x="1231" y="661"/>
                  </a:cubicBezTo>
                  <a:cubicBezTo>
                    <a:pt x="1233" y="664"/>
                    <a:pt x="1233" y="664"/>
                    <a:pt x="1233" y="664"/>
                  </a:cubicBezTo>
                  <a:cubicBezTo>
                    <a:pt x="1228" y="667"/>
                    <a:pt x="1223" y="669"/>
                    <a:pt x="1218" y="671"/>
                  </a:cubicBezTo>
                  <a:close/>
                  <a:moveTo>
                    <a:pt x="1045" y="667"/>
                  </a:moveTo>
                  <a:cubicBezTo>
                    <a:pt x="1040" y="665"/>
                    <a:pt x="1035" y="663"/>
                    <a:pt x="1030" y="661"/>
                  </a:cubicBezTo>
                  <a:cubicBezTo>
                    <a:pt x="1032" y="657"/>
                    <a:pt x="1032" y="657"/>
                    <a:pt x="1032" y="657"/>
                  </a:cubicBezTo>
                  <a:cubicBezTo>
                    <a:pt x="1036" y="659"/>
                    <a:pt x="1041" y="662"/>
                    <a:pt x="1046" y="663"/>
                  </a:cubicBezTo>
                  <a:lnTo>
                    <a:pt x="1045" y="667"/>
                  </a:lnTo>
                  <a:close/>
                  <a:moveTo>
                    <a:pt x="1246" y="656"/>
                  </a:moveTo>
                  <a:cubicBezTo>
                    <a:pt x="1244" y="653"/>
                    <a:pt x="1244" y="653"/>
                    <a:pt x="1244" y="653"/>
                  </a:cubicBezTo>
                  <a:cubicBezTo>
                    <a:pt x="1249" y="650"/>
                    <a:pt x="1253" y="646"/>
                    <a:pt x="1257" y="643"/>
                  </a:cubicBezTo>
                  <a:cubicBezTo>
                    <a:pt x="1259" y="646"/>
                    <a:pt x="1259" y="646"/>
                    <a:pt x="1259" y="646"/>
                  </a:cubicBezTo>
                  <a:cubicBezTo>
                    <a:pt x="1255" y="650"/>
                    <a:pt x="1251" y="653"/>
                    <a:pt x="1246" y="656"/>
                  </a:cubicBezTo>
                  <a:close/>
                  <a:moveTo>
                    <a:pt x="1016" y="653"/>
                  </a:moveTo>
                  <a:cubicBezTo>
                    <a:pt x="1011" y="651"/>
                    <a:pt x="1006" y="648"/>
                    <a:pt x="1002" y="645"/>
                  </a:cubicBezTo>
                  <a:cubicBezTo>
                    <a:pt x="1004" y="642"/>
                    <a:pt x="1004" y="642"/>
                    <a:pt x="1004" y="642"/>
                  </a:cubicBezTo>
                  <a:cubicBezTo>
                    <a:pt x="1009" y="644"/>
                    <a:pt x="1013" y="647"/>
                    <a:pt x="1018" y="650"/>
                  </a:cubicBezTo>
                  <a:lnTo>
                    <a:pt x="1016" y="653"/>
                  </a:lnTo>
                  <a:close/>
                  <a:moveTo>
                    <a:pt x="989" y="635"/>
                  </a:moveTo>
                  <a:cubicBezTo>
                    <a:pt x="985" y="632"/>
                    <a:pt x="980" y="629"/>
                    <a:pt x="976" y="625"/>
                  </a:cubicBezTo>
                  <a:cubicBezTo>
                    <a:pt x="979" y="622"/>
                    <a:pt x="979" y="622"/>
                    <a:pt x="979" y="622"/>
                  </a:cubicBezTo>
                  <a:cubicBezTo>
                    <a:pt x="983" y="626"/>
                    <a:pt x="987" y="629"/>
                    <a:pt x="991" y="632"/>
                  </a:cubicBezTo>
                  <a:lnTo>
                    <a:pt x="989" y="635"/>
                  </a:lnTo>
                  <a:close/>
                  <a:moveTo>
                    <a:pt x="1271" y="635"/>
                  </a:moveTo>
                  <a:cubicBezTo>
                    <a:pt x="1268" y="632"/>
                    <a:pt x="1268" y="632"/>
                    <a:pt x="1268" y="632"/>
                  </a:cubicBezTo>
                  <a:cubicBezTo>
                    <a:pt x="1272" y="629"/>
                    <a:pt x="1276" y="625"/>
                    <a:pt x="1279" y="621"/>
                  </a:cubicBezTo>
                  <a:cubicBezTo>
                    <a:pt x="1282" y="623"/>
                    <a:pt x="1282" y="623"/>
                    <a:pt x="1282" y="623"/>
                  </a:cubicBezTo>
                  <a:cubicBezTo>
                    <a:pt x="1279" y="627"/>
                    <a:pt x="1275" y="632"/>
                    <a:pt x="1271" y="635"/>
                  </a:cubicBezTo>
                  <a:close/>
                  <a:moveTo>
                    <a:pt x="965" y="614"/>
                  </a:moveTo>
                  <a:cubicBezTo>
                    <a:pt x="961" y="611"/>
                    <a:pt x="957" y="607"/>
                    <a:pt x="953" y="603"/>
                  </a:cubicBezTo>
                  <a:cubicBezTo>
                    <a:pt x="956" y="600"/>
                    <a:pt x="956" y="600"/>
                    <a:pt x="956" y="600"/>
                  </a:cubicBezTo>
                  <a:cubicBezTo>
                    <a:pt x="960" y="604"/>
                    <a:pt x="964" y="608"/>
                    <a:pt x="967" y="611"/>
                  </a:cubicBezTo>
                  <a:lnTo>
                    <a:pt x="965" y="614"/>
                  </a:lnTo>
                  <a:close/>
                  <a:moveTo>
                    <a:pt x="1292" y="610"/>
                  </a:moveTo>
                  <a:cubicBezTo>
                    <a:pt x="1288" y="608"/>
                    <a:pt x="1288" y="608"/>
                    <a:pt x="1288" y="608"/>
                  </a:cubicBezTo>
                  <a:cubicBezTo>
                    <a:pt x="1291" y="604"/>
                    <a:pt x="1294" y="599"/>
                    <a:pt x="1297" y="595"/>
                  </a:cubicBezTo>
                  <a:cubicBezTo>
                    <a:pt x="1301" y="597"/>
                    <a:pt x="1301" y="597"/>
                    <a:pt x="1301" y="597"/>
                  </a:cubicBezTo>
                  <a:cubicBezTo>
                    <a:pt x="1298" y="602"/>
                    <a:pt x="1295" y="606"/>
                    <a:pt x="1292" y="610"/>
                  </a:cubicBezTo>
                  <a:close/>
                  <a:moveTo>
                    <a:pt x="943" y="591"/>
                  </a:moveTo>
                  <a:cubicBezTo>
                    <a:pt x="939" y="587"/>
                    <a:pt x="936" y="583"/>
                    <a:pt x="933" y="578"/>
                  </a:cubicBezTo>
                  <a:cubicBezTo>
                    <a:pt x="936" y="576"/>
                    <a:pt x="936" y="576"/>
                    <a:pt x="936" y="576"/>
                  </a:cubicBezTo>
                  <a:cubicBezTo>
                    <a:pt x="939" y="580"/>
                    <a:pt x="943" y="584"/>
                    <a:pt x="946" y="588"/>
                  </a:cubicBezTo>
                  <a:lnTo>
                    <a:pt x="943" y="591"/>
                  </a:lnTo>
                  <a:close/>
                  <a:moveTo>
                    <a:pt x="1308" y="583"/>
                  </a:moveTo>
                  <a:cubicBezTo>
                    <a:pt x="1305" y="581"/>
                    <a:pt x="1305" y="581"/>
                    <a:pt x="1305" y="581"/>
                  </a:cubicBezTo>
                  <a:cubicBezTo>
                    <a:pt x="1307" y="576"/>
                    <a:pt x="1309" y="572"/>
                    <a:pt x="1312" y="567"/>
                  </a:cubicBezTo>
                  <a:cubicBezTo>
                    <a:pt x="1315" y="568"/>
                    <a:pt x="1315" y="568"/>
                    <a:pt x="1315" y="568"/>
                  </a:cubicBezTo>
                  <a:cubicBezTo>
                    <a:pt x="1313" y="573"/>
                    <a:pt x="1311" y="578"/>
                    <a:pt x="1308" y="583"/>
                  </a:cubicBezTo>
                  <a:close/>
                  <a:moveTo>
                    <a:pt x="923" y="565"/>
                  </a:moveTo>
                  <a:cubicBezTo>
                    <a:pt x="920" y="561"/>
                    <a:pt x="917" y="557"/>
                    <a:pt x="913" y="552"/>
                  </a:cubicBezTo>
                  <a:cubicBezTo>
                    <a:pt x="917" y="550"/>
                    <a:pt x="917" y="550"/>
                    <a:pt x="917" y="550"/>
                  </a:cubicBezTo>
                  <a:cubicBezTo>
                    <a:pt x="920" y="554"/>
                    <a:pt x="923" y="559"/>
                    <a:pt x="926" y="563"/>
                  </a:cubicBezTo>
                  <a:lnTo>
                    <a:pt x="923" y="565"/>
                  </a:lnTo>
                  <a:close/>
                  <a:moveTo>
                    <a:pt x="1322" y="554"/>
                  </a:moveTo>
                  <a:cubicBezTo>
                    <a:pt x="1318" y="552"/>
                    <a:pt x="1318" y="552"/>
                    <a:pt x="1318" y="552"/>
                  </a:cubicBezTo>
                  <a:cubicBezTo>
                    <a:pt x="1320" y="547"/>
                    <a:pt x="1322" y="542"/>
                    <a:pt x="1324" y="537"/>
                  </a:cubicBezTo>
                  <a:cubicBezTo>
                    <a:pt x="1328" y="539"/>
                    <a:pt x="1328" y="539"/>
                    <a:pt x="1328" y="539"/>
                  </a:cubicBezTo>
                  <a:cubicBezTo>
                    <a:pt x="1326" y="544"/>
                    <a:pt x="1324" y="549"/>
                    <a:pt x="1322" y="554"/>
                  </a:cubicBezTo>
                  <a:close/>
                  <a:moveTo>
                    <a:pt x="904" y="539"/>
                  </a:moveTo>
                  <a:cubicBezTo>
                    <a:pt x="901" y="535"/>
                    <a:pt x="898" y="530"/>
                    <a:pt x="895" y="526"/>
                  </a:cubicBezTo>
                  <a:cubicBezTo>
                    <a:pt x="899" y="524"/>
                    <a:pt x="899" y="524"/>
                    <a:pt x="899" y="524"/>
                  </a:cubicBezTo>
                  <a:cubicBezTo>
                    <a:pt x="902" y="528"/>
                    <a:pt x="905" y="533"/>
                    <a:pt x="908" y="537"/>
                  </a:cubicBezTo>
                  <a:lnTo>
                    <a:pt x="904" y="539"/>
                  </a:lnTo>
                  <a:close/>
                  <a:moveTo>
                    <a:pt x="1333" y="523"/>
                  </a:moveTo>
                  <a:cubicBezTo>
                    <a:pt x="1329" y="522"/>
                    <a:pt x="1329" y="522"/>
                    <a:pt x="1329" y="522"/>
                  </a:cubicBezTo>
                  <a:cubicBezTo>
                    <a:pt x="1331" y="517"/>
                    <a:pt x="1332" y="512"/>
                    <a:pt x="1334" y="507"/>
                  </a:cubicBezTo>
                  <a:cubicBezTo>
                    <a:pt x="1338" y="508"/>
                    <a:pt x="1338" y="508"/>
                    <a:pt x="1338" y="508"/>
                  </a:cubicBezTo>
                  <a:cubicBezTo>
                    <a:pt x="1336" y="513"/>
                    <a:pt x="1334" y="518"/>
                    <a:pt x="1333" y="523"/>
                  </a:cubicBezTo>
                  <a:close/>
                  <a:moveTo>
                    <a:pt x="887" y="513"/>
                  </a:moveTo>
                  <a:cubicBezTo>
                    <a:pt x="878" y="499"/>
                    <a:pt x="878" y="499"/>
                    <a:pt x="878" y="499"/>
                  </a:cubicBezTo>
                  <a:cubicBezTo>
                    <a:pt x="881" y="497"/>
                    <a:pt x="881" y="497"/>
                    <a:pt x="881" y="497"/>
                  </a:cubicBezTo>
                  <a:cubicBezTo>
                    <a:pt x="890" y="510"/>
                    <a:pt x="890" y="510"/>
                    <a:pt x="890" y="510"/>
                  </a:cubicBezTo>
                  <a:lnTo>
                    <a:pt x="887" y="513"/>
                  </a:lnTo>
                  <a:close/>
                  <a:moveTo>
                    <a:pt x="1342" y="493"/>
                  </a:moveTo>
                  <a:cubicBezTo>
                    <a:pt x="1338" y="492"/>
                    <a:pt x="1338" y="492"/>
                    <a:pt x="1338" y="492"/>
                  </a:cubicBezTo>
                  <a:cubicBezTo>
                    <a:pt x="1340" y="486"/>
                    <a:pt x="1341" y="481"/>
                    <a:pt x="1343" y="476"/>
                  </a:cubicBezTo>
                  <a:cubicBezTo>
                    <a:pt x="1347" y="477"/>
                    <a:pt x="1347" y="477"/>
                    <a:pt x="1347" y="477"/>
                  </a:cubicBezTo>
                  <a:cubicBezTo>
                    <a:pt x="1345" y="482"/>
                    <a:pt x="1344" y="488"/>
                    <a:pt x="1342" y="493"/>
                  </a:cubicBezTo>
                  <a:close/>
                  <a:moveTo>
                    <a:pt x="869" y="486"/>
                  </a:moveTo>
                  <a:cubicBezTo>
                    <a:pt x="866" y="482"/>
                    <a:pt x="863" y="477"/>
                    <a:pt x="860" y="473"/>
                  </a:cubicBezTo>
                  <a:cubicBezTo>
                    <a:pt x="863" y="470"/>
                    <a:pt x="863" y="470"/>
                    <a:pt x="863" y="470"/>
                  </a:cubicBezTo>
                  <a:cubicBezTo>
                    <a:pt x="866" y="475"/>
                    <a:pt x="869" y="479"/>
                    <a:pt x="872" y="484"/>
                  </a:cubicBezTo>
                  <a:lnTo>
                    <a:pt x="869" y="486"/>
                  </a:lnTo>
                  <a:close/>
                  <a:moveTo>
                    <a:pt x="1351" y="462"/>
                  </a:moveTo>
                  <a:cubicBezTo>
                    <a:pt x="1347" y="461"/>
                    <a:pt x="1347" y="461"/>
                    <a:pt x="1347" y="461"/>
                  </a:cubicBezTo>
                  <a:cubicBezTo>
                    <a:pt x="1348" y="456"/>
                    <a:pt x="1349" y="450"/>
                    <a:pt x="1351" y="445"/>
                  </a:cubicBezTo>
                  <a:cubicBezTo>
                    <a:pt x="1355" y="446"/>
                    <a:pt x="1355" y="446"/>
                    <a:pt x="1355" y="446"/>
                  </a:cubicBezTo>
                  <a:cubicBezTo>
                    <a:pt x="1353" y="451"/>
                    <a:pt x="1352" y="457"/>
                    <a:pt x="1351" y="462"/>
                  </a:cubicBezTo>
                  <a:close/>
                  <a:moveTo>
                    <a:pt x="851" y="460"/>
                  </a:moveTo>
                  <a:cubicBezTo>
                    <a:pt x="847" y="455"/>
                    <a:pt x="844" y="451"/>
                    <a:pt x="841" y="447"/>
                  </a:cubicBezTo>
                  <a:cubicBezTo>
                    <a:pt x="844" y="444"/>
                    <a:pt x="844" y="444"/>
                    <a:pt x="844" y="444"/>
                  </a:cubicBezTo>
                  <a:cubicBezTo>
                    <a:pt x="847" y="449"/>
                    <a:pt x="851" y="453"/>
                    <a:pt x="854" y="457"/>
                  </a:cubicBezTo>
                  <a:lnTo>
                    <a:pt x="851" y="460"/>
                  </a:lnTo>
                  <a:close/>
                  <a:moveTo>
                    <a:pt x="831" y="434"/>
                  </a:moveTo>
                  <a:cubicBezTo>
                    <a:pt x="828" y="430"/>
                    <a:pt x="824" y="426"/>
                    <a:pt x="821" y="422"/>
                  </a:cubicBezTo>
                  <a:cubicBezTo>
                    <a:pt x="824" y="419"/>
                    <a:pt x="824" y="419"/>
                    <a:pt x="824" y="419"/>
                  </a:cubicBezTo>
                  <a:cubicBezTo>
                    <a:pt x="828" y="423"/>
                    <a:pt x="831" y="427"/>
                    <a:pt x="834" y="432"/>
                  </a:cubicBezTo>
                  <a:lnTo>
                    <a:pt x="831" y="434"/>
                  </a:lnTo>
                  <a:close/>
                  <a:moveTo>
                    <a:pt x="1359" y="431"/>
                  </a:moveTo>
                  <a:cubicBezTo>
                    <a:pt x="1355" y="430"/>
                    <a:pt x="1355" y="430"/>
                    <a:pt x="1355" y="430"/>
                  </a:cubicBezTo>
                  <a:cubicBezTo>
                    <a:pt x="1358" y="414"/>
                    <a:pt x="1358" y="414"/>
                    <a:pt x="1358" y="414"/>
                  </a:cubicBezTo>
                  <a:cubicBezTo>
                    <a:pt x="1362" y="415"/>
                    <a:pt x="1362" y="415"/>
                    <a:pt x="1362" y="415"/>
                  </a:cubicBezTo>
                  <a:lnTo>
                    <a:pt x="1359" y="431"/>
                  </a:lnTo>
                  <a:close/>
                  <a:moveTo>
                    <a:pt x="810" y="410"/>
                  </a:moveTo>
                  <a:cubicBezTo>
                    <a:pt x="807" y="406"/>
                    <a:pt x="803" y="402"/>
                    <a:pt x="799" y="399"/>
                  </a:cubicBezTo>
                  <a:cubicBezTo>
                    <a:pt x="802" y="396"/>
                    <a:pt x="802" y="396"/>
                    <a:pt x="802" y="396"/>
                  </a:cubicBezTo>
                  <a:cubicBezTo>
                    <a:pt x="806" y="399"/>
                    <a:pt x="810" y="403"/>
                    <a:pt x="813" y="407"/>
                  </a:cubicBezTo>
                  <a:lnTo>
                    <a:pt x="810" y="410"/>
                  </a:lnTo>
                  <a:close/>
                  <a:moveTo>
                    <a:pt x="1366" y="400"/>
                  </a:moveTo>
                  <a:cubicBezTo>
                    <a:pt x="1362" y="399"/>
                    <a:pt x="1362" y="399"/>
                    <a:pt x="1362" y="399"/>
                  </a:cubicBezTo>
                  <a:cubicBezTo>
                    <a:pt x="1364" y="393"/>
                    <a:pt x="1365" y="388"/>
                    <a:pt x="1366" y="383"/>
                  </a:cubicBezTo>
                  <a:cubicBezTo>
                    <a:pt x="1370" y="384"/>
                    <a:pt x="1370" y="384"/>
                    <a:pt x="1370" y="384"/>
                  </a:cubicBezTo>
                  <a:cubicBezTo>
                    <a:pt x="1369" y="389"/>
                    <a:pt x="1367" y="394"/>
                    <a:pt x="1366" y="400"/>
                  </a:cubicBezTo>
                  <a:close/>
                  <a:moveTo>
                    <a:pt x="210" y="390"/>
                  </a:moveTo>
                  <a:cubicBezTo>
                    <a:pt x="205" y="390"/>
                    <a:pt x="200" y="389"/>
                    <a:pt x="194" y="389"/>
                  </a:cubicBezTo>
                  <a:cubicBezTo>
                    <a:pt x="195" y="385"/>
                    <a:pt x="195" y="385"/>
                    <a:pt x="195" y="385"/>
                  </a:cubicBezTo>
                  <a:cubicBezTo>
                    <a:pt x="200" y="385"/>
                    <a:pt x="205" y="386"/>
                    <a:pt x="210" y="386"/>
                  </a:cubicBezTo>
                  <a:lnTo>
                    <a:pt x="210" y="390"/>
                  </a:lnTo>
                  <a:close/>
                  <a:moveTo>
                    <a:pt x="226" y="390"/>
                  </a:moveTo>
                  <a:cubicBezTo>
                    <a:pt x="226" y="386"/>
                    <a:pt x="226" y="386"/>
                    <a:pt x="226" y="386"/>
                  </a:cubicBezTo>
                  <a:cubicBezTo>
                    <a:pt x="231" y="385"/>
                    <a:pt x="237" y="385"/>
                    <a:pt x="242" y="384"/>
                  </a:cubicBezTo>
                  <a:cubicBezTo>
                    <a:pt x="243" y="388"/>
                    <a:pt x="243" y="388"/>
                    <a:pt x="243" y="388"/>
                  </a:cubicBezTo>
                  <a:cubicBezTo>
                    <a:pt x="237" y="389"/>
                    <a:pt x="232" y="389"/>
                    <a:pt x="226" y="390"/>
                  </a:cubicBezTo>
                  <a:close/>
                  <a:moveTo>
                    <a:pt x="788" y="388"/>
                  </a:moveTo>
                  <a:cubicBezTo>
                    <a:pt x="784" y="384"/>
                    <a:pt x="780" y="381"/>
                    <a:pt x="776" y="377"/>
                  </a:cubicBezTo>
                  <a:cubicBezTo>
                    <a:pt x="778" y="374"/>
                    <a:pt x="778" y="374"/>
                    <a:pt x="778" y="374"/>
                  </a:cubicBezTo>
                  <a:cubicBezTo>
                    <a:pt x="782" y="378"/>
                    <a:pt x="786" y="381"/>
                    <a:pt x="790" y="385"/>
                  </a:cubicBezTo>
                  <a:lnTo>
                    <a:pt x="788" y="388"/>
                  </a:lnTo>
                  <a:close/>
                  <a:moveTo>
                    <a:pt x="178" y="387"/>
                  </a:moveTo>
                  <a:cubicBezTo>
                    <a:pt x="173" y="386"/>
                    <a:pt x="168" y="385"/>
                    <a:pt x="162" y="384"/>
                  </a:cubicBezTo>
                  <a:cubicBezTo>
                    <a:pt x="163" y="380"/>
                    <a:pt x="163" y="380"/>
                    <a:pt x="163" y="380"/>
                  </a:cubicBezTo>
                  <a:cubicBezTo>
                    <a:pt x="168" y="381"/>
                    <a:pt x="174" y="382"/>
                    <a:pt x="179" y="383"/>
                  </a:cubicBezTo>
                  <a:lnTo>
                    <a:pt x="178" y="387"/>
                  </a:lnTo>
                  <a:close/>
                  <a:moveTo>
                    <a:pt x="258" y="385"/>
                  </a:moveTo>
                  <a:cubicBezTo>
                    <a:pt x="258" y="381"/>
                    <a:pt x="258" y="381"/>
                    <a:pt x="258" y="381"/>
                  </a:cubicBezTo>
                  <a:cubicBezTo>
                    <a:pt x="263" y="380"/>
                    <a:pt x="268" y="379"/>
                    <a:pt x="273" y="378"/>
                  </a:cubicBezTo>
                  <a:cubicBezTo>
                    <a:pt x="274" y="382"/>
                    <a:pt x="274" y="382"/>
                    <a:pt x="274" y="382"/>
                  </a:cubicBezTo>
                  <a:cubicBezTo>
                    <a:pt x="269" y="383"/>
                    <a:pt x="264" y="384"/>
                    <a:pt x="258" y="385"/>
                  </a:cubicBezTo>
                  <a:close/>
                  <a:moveTo>
                    <a:pt x="147" y="380"/>
                  </a:moveTo>
                  <a:cubicBezTo>
                    <a:pt x="142" y="378"/>
                    <a:pt x="137" y="376"/>
                    <a:pt x="132" y="374"/>
                  </a:cubicBezTo>
                  <a:cubicBezTo>
                    <a:pt x="133" y="370"/>
                    <a:pt x="133" y="370"/>
                    <a:pt x="133" y="370"/>
                  </a:cubicBezTo>
                  <a:cubicBezTo>
                    <a:pt x="138" y="372"/>
                    <a:pt x="143" y="374"/>
                    <a:pt x="148" y="376"/>
                  </a:cubicBezTo>
                  <a:lnTo>
                    <a:pt x="147" y="380"/>
                  </a:lnTo>
                  <a:close/>
                  <a:moveTo>
                    <a:pt x="289" y="377"/>
                  </a:moveTo>
                  <a:cubicBezTo>
                    <a:pt x="288" y="373"/>
                    <a:pt x="288" y="373"/>
                    <a:pt x="288" y="373"/>
                  </a:cubicBezTo>
                  <a:cubicBezTo>
                    <a:pt x="293" y="371"/>
                    <a:pt x="299" y="370"/>
                    <a:pt x="304" y="368"/>
                  </a:cubicBezTo>
                  <a:cubicBezTo>
                    <a:pt x="305" y="372"/>
                    <a:pt x="305" y="372"/>
                    <a:pt x="305" y="372"/>
                  </a:cubicBezTo>
                  <a:cubicBezTo>
                    <a:pt x="300" y="374"/>
                    <a:pt x="295" y="375"/>
                    <a:pt x="289" y="377"/>
                  </a:cubicBezTo>
                  <a:close/>
                  <a:moveTo>
                    <a:pt x="1374" y="368"/>
                  </a:moveTo>
                  <a:cubicBezTo>
                    <a:pt x="1370" y="367"/>
                    <a:pt x="1370" y="367"/>
                    <a:pt x="1370" y="367"/>
                  </a:cubicBezTo>
                  <a:cubicBezTo>
                    <a:pt x="1372" y="362"/>
                    <a:pt x="1373" y="357"/>
                    <a:pt x="1374" y="352"/>
                  </a:cubicBezTo>
                  <a:cubicBezTo>
                    <a:pt x="1378" y="353"/>
                    <a:pt x="1378" y="353"/>
                    <a:pt x="1378" y="353"/>
                  </a:cubicBezTo>
                  <a:cubicBezTo>
                    <a:pt x="1377" y="358"/>
                    <a:pt x="1375" y="363"/>
                    <a:pt x="1374" y="368"/>
                  </a:cubicBezTo>
                  <a:close/>
                  <a:moveTo>
                    <a:pt x="763" y="368"/>
                  </a:moveTo>
                  <a:cubicBezTo>
                    <a:pt x="759" y="365"/>
                    <a:pt x="754" y="362"/>
                    <a:pt x="750" y="359"/>
                  </a:cubicBezTo>
                  <a:cubicBezTo>
                    <a:pt x="752" y="356"/>
                    <a:pt x="752" y="356"/>
                    <a:pt x="752" y="356"/>
                  </a:cubicBezTo>
                  <a:cubicBezTo>
                    <a:pt x="757" y="358"/>
                    <a:pt x="761" y="361"/>
                    <a:pt x="765" y="365"/>
                  </a:cubicBezTo>
                  <a:lnTo>
                    <a:pt x="763" y="368"/>
                  </a:lnTo>
                  <a:close/>
                  <a:moveTo>
                    <a:pt x="117" y="368"/>
                  </a:moveTo>
                  <a:cubicBezTo>
                    <a:pt x="112" y="365"/>
                    <a:pt x="107" y="363"/>
                    <a:pt x="102" y="360"/>
                  </a:cubicBezTo>
                  <a:cubicBezTo>
                    <a:pt x="104" y="357"/>
                    <a:pt x="104" y="357"/>
                    <a:pt x="104" y="357"/>
                  </a:cubicBezTo>
                  <a:cubicBezTo>
                    <a:pt x="109" y="359"/>
                    <a:pt x="114" y="362"/>
                    <a:pt x="118" y="364"/>
                  </a:cubicBezTo>
                  <a:lnTo>
                    <a:pt x="117" y="368"/>
                  </a:lnTo>
                  <a:close/>
                  <a:moveTo>
                    <a:pt x="320" y="367"/>
                  </a:moveTo>
                  <a:cubicBezTo>
                    <a:pt x="319" y="363"/>
                    <a:pt x="319" y="363"/>
                    <a:pt x="319" y="363"/>
                  </a:cubicBezTo>
                  <a:cubicBezTo>
                    <a:pt x="324" y="362"/>
                    <a:pt x="329" y="360"/>
                    <a:pt x="334" y="358"/>
                  </a:cubicBezTo>
                  <a:cubicBezTo>
                    <a:pt x="335" y="362"/>
                    <a:pt x="335" y="362"/>
                    <a:pt x="335" y="362"/>
                  </a:cubicBezTo>
                  <a:cubicBezTo>
                    <a:pt x="330" y="364"/>
                    <a:pt x="325" y="366"/>
                    <a:pt x="320" y="367"/>
                  </a:cubicBezTo>
                  <a:close/>
                  <a:moveTo>
                    <a:pt x="350" y="357"/>
                  </a:moveTo>
                  <a:cubicBezTo>
                    <a:pt x="349" y="353"/>
                    <a:pt x="349" y="353"/>
                    <a:pt x="349" y="353"/>
                  </a:cubicBezTo>
                  <a:cubicBezTo>
                    <a:pt x="364" y="349"/>
                    <a:pt x="364" y="349"/>
                    <a:pt x="364" y="349"/>
                  </a:cubicBezTo>
                  <a:cubicBezTo>
                    <a:pt x="366" y="352"/>
                    <a:pt x="366" y="352"/>
                    <a:pt x="366" y="352"/>
                  </a:cubicBezTo>
                  <a:lnTo>
                    <a:pt x="350" y="357"/>
                  </a:lnTo>
                  <a:close/>
                  <a:moveTo>
                    <a:pt x="89" y="352"/>
                  </a:moveTo>
                  <a:cubicBezTo>
                    <a:pt x="84" y="349"/>
                    <a:pt x="80" y="345"/>
                    <a:pt x="76" y="342"/>
                  </a:cubicBezTo>
                  <a:cubicBezTo>
                    <a:pt x="78" y="339"/>
                    <a:pt x="78" y="339"/>
                    <a:pt x="78" y="339"/>
                  </a:cubicBezTo>
                  <a:cubicBezTo>
                    <a:pt x="82" y="342"/>
                    <a:pt x="87" y="345"/>
                    <a:pt x="91" y="348"/>
                  </a:cubicBezTo>
                  <a:lnTo>
                    <a:pt x="89" y="352"/>
                  </a:lnTo>
                  <a:close/>
                  <a:moveTo>
                    <a:pt x="736" y="351"/>
                  </a:moveTo>
                  <a:cubicBezTo>
                    <a:pt x="732" y="348"/>
                    <a:pt x="727" y="346"/>
                    <a:pt x="722" y="344"/>
                  </a:cubicBezTo>
                  <a:cubicBezTo>
                    <a:pt x="724" y="340"/>
                    <a:pt x="724" y="340"/>
                    <a:pt x="724" y="340"/>
                  </a:cubicBezTo>
                  <a:cubicBezTo>
                    <a:pt x="729" y="342"/>
                    <a:pt x="734" y="345"/>
                    <a:pt x="738" y="347"/>
                  </a:cubicBezTo>
                  <a:lnTo>
                    <a:pt x="736" y="351"/>
                  </a:lnTo>
                  <a:close/>
                  <a:moveTo>
                    <a:pt x="381" y="347"/>
                  </a:moveTo>
                  <a:cubicBezTo>
                    <a:pt x="380" y="344"/>
                    <a:pt x="380" y="344"/>
                    <a:pt x="380" y="344"/>
                  </a:cubicBezTo>
                  <a:cubicBezTo>
                    <a:pt x="385" y="342"/>
                    <a:pt x="390" y="340"/>
                    <a:pt x="395" y="339"/>
                  </a:cubicBezTo>
                  <a:cubicBezTo>
                    <a:pt x="396" y="343"/>
                    <a:pt x="396" y="343"/>
                    <a:pt x="396" y="343"/>
                  </a:cubicBezTo>
                  <a:cubicBezTo>
                    <a:pt x="391" y="344"/>
                    <a:pt x="386" y="346"/>
                    <a:pt x="381" y="347"/>
                  </a:cubicBezTo>
                  <a:close/>
                  <a:moveTo>
                    <a:pt x="411" y="338"/>
                  </a:moveTo>
                  <a:cubicBezTo>
                    <a:pt x="410" y="334"/>
                    <a:pt x="410" y="334"/>
                    <a:pt x="410" y="334"/>
                  </a:cubicBezTo>
                  <a:cubicBezTo>
                    <a:pt x="415" y="333"/>
                    <a:pt x="421" y="331"/>
                    <a:pt x="426" y="330"/>
                  </a:cubicBezTo>
                  <a:cubicBezTo>
                    <a:pt x="427" y="334"/>
                    <a:pt x="427" y="334"/>
                    <a:pt x="427" y="334"/>
                  </a:cubicBezTo>
                  <a:cubicBezTo>
                    <a:pt x="422" y="335"/>
                    <a:pt x="417" y="336"/>
                    <a:pt x="411" y="338"/>
                  </a:cubicBezTo>
                  <a:close/>
                  <a:moveTo>
                    <a:pt x="1383" y="338"/>
                  </a:moveTo>
                  <a:cubicBezTo>
                    <a:pt x="1379" y="336"/>
                    <a:pt x="1379" y="336"/>
                    <a:pt x="1379" y="336"/>
                  </a:cubicBezTo>
                  <a:cubicBezTo>
                    <a:pt x="1380" y="331"/>
                    <a:pt x="1382" y="326"/>
                    <a:pt x="1383" y="321"/>
                  </a:cubicBezTo>
                  <a:cubicBezTo>
                    <a:pt x="1387" y="322"/>
                    <a:pt x="1387" y="322"/>
                    <a:pt x="1387" y="322"/>
                  </a:cubicBezTo>
                  <a:cubicBezTo>
                    <a:pt x="1386" y="327"/>
                    <a:pt x="1384" y="332"/>
                    <a:pt x="1383" y="338"/>
                  </a:cubicBezTo>
                  <a:close/>
                  <a:moveTo>
                    <a:pt x="708" y="337"/>
                  </a:moveTo>
                  <a:cubicBezTo>
                    <a:pt x="703" y="335"/>
                    <a:pt x="699" y="334"/>
                    <a:pt x="694" y="332"/>
                  </a:cubicBezTo>
                  <a:cubicBezTo>
                    <a:pt x="693" y="332"/>
                    <a:pt x="693" y="332"/>
                    <a:pt x="693" y="332"/>
                  </a:cubicBezTo>
                  <a:cubicBezTo>
                    <a:pt x="694" y="328"/>
                    <a:pt x="694" y="328"/>
                    <a:pt x="694" y="328"/>
                  </a:cubicBezTo>
                  <a:cubicBezTo>
                    <a:pt x="695" y="328"/>
                    <a:pt x="695" y="328"/>
                    <a:pt x="695" y="328"/>
                  </a:cubicBezTo>
                  <a:cubicBezTo>
                    <a:pt x="700" y="330"/>
                    <a:pt x="705" y="332"/>
                    <a:pt x="709" y="333"/>
                  </a:cubicBezTo>
                  <a:lnTo>
                    <a:pt x="708" y="337"/>
                  </a:lnTo>
                  <a:close/>
                  <a:moveTo>
                    <a:pt x="64" y="331"/>
                  </a:moveTo>
                  <a:cubicBezTo>
                    <a:pt x="60" y="328"/>
                    <a:pt x="56" y="324"/>
                    <a:pt x="52" y="320"/>
                  </a:cubicBezTo>
                  <a:cubicBezTo>
                    <a:pt x="55" y="317"/>
                    <a:pt x="55" y="317"/>
                    <a:pt x="55" y="317"/>
                  </a:cubicBezTo>
                  <a:cubicBezTo>
                    <a:pt x="59" y="321"/>
                    <a:pt x="62" y="325"/>
                    <a:pt x="66" y="329"/>
                  </a:cubicBezTo>
                  <a:lnTo>
                    <a:pt x="64" y="331"/>
                  </a:lnTo>
                  <a:close/>
                  <a:moveTo>
                    <a:pt x="442" y="329"/>
                  </a:moveTo>
                  <a:cubicBezTo>
                    <a:pt x="441" y="325"/>
                    <a:pt x="441" y="325"/>
                    <a:pt x="441" y="325"/>
                  </a:cubicBezTo>
                  <a:cubicBezTo>
                    <a:pt x="446" y="324"/>
                    <a:pt x="452" y="323"/>
                    <a:pt x="457" y="321"/>
                  </a:cubicBezTo>
                  <a:cubicBezTo>
                    <a:pt x="458" y="325"/>
                    <a:pt x="458" y="325"/>
                    <a:pt x="458" y="325"/>
                  </a:cubicBezTo>
                  <a:cubicBezTo>
                    <a:pt x="453" y="327"/>
                    <a:pt x="447" y="328"/>
                    <a:pt x="442" y="329"/>
                  </a:cubicBezTo>
                  <a:close/>
                  <a:moveTo>
                    <a:pt x="678" y="327"/>
                  </a:moveTo>
                  <a:cubicBezTo>
                    <a:pt x="673" y="325"/>
                    <a:pt x="667" y="324"/>
                    <a:pt x="662" y="322"/>
                  </a:cubicBezTo>
                  <a:cubicBezTo>
                    <a:pt x="663" y="318"/>
                    <a:pt x="663" y="318"/>
                    <a:pt x="663" y="318"/>
                  </a:cubicBezTo>
                  <a:cubicBezTo>
                    <a:pt x="669" y="320"/>
                    <a:pt x="674" y="321"/>
                    <a:pt x="679" y="323"/>
                  </a:cubicBezTo>
                  <a:lnTo>
                    <a:pt x="678" y="327"/>
                  </a:lnTo>
                  <a:close/>
                  <a:moveTo>
                    <a:pt x="473" y="322"/>
                  </a:moveTo>
                  <a:cubicBezTo>
                    <a:pt x="472" y="318"/>
                    <a:pt x="472" y="318"/>
                    <a:pt x="472" y="318"/>
                  </a:cubicBezTo>
                  <a:cubicBezTo>
                    <a:pt x="478" y="317"/>
                    <a:pt x="483" y="316"/>
                    <a:pt x="488" y="315"/>
                  </a:cubicBezTo>
                  <a:cubicBezTo>
                    <a:pt x="489" y="319"/>
                    <a:pt x="489" y="319"/>
                    <a:pt x="489" y="319"/>
                  </a:cubicBezTo>
                  <a:cubicBezTo>
                    <a:pt x="484" y="320"/>
                    <a:pt x="478" y="321"/>
                    <a:pt x="473" y="322"/>
                  </a:cubicBezTo>
                  <a:close/>
                  <a:moveTo>
                    <a:pt x="647" y="319"/>
                  </a:moveTo>
                  <a:cubicBezTo>
                    <a:pt x="642" y="318"/>
                    <a:pt x="636" y="317"/>
                    <a:pt x="631" y="316"/>
                  </a:cubicBezTo>
                  <a:cubicBezTo>
                    <a:pt x="632" y="312"/>
                    <a:pt x="632" y="312"/>
                    <a:pt x="632" y="312"/>
                  </a:cubicBezTo>
                  <a:cubicBezTo>
                    <a:pt x="637" y="313"/>
                    <a:pt x="643" y="314"/>
                    <a:pt x="648" y="315"/>
                  </a:cubicBezTo>
                  <a:lnTo>
                    <a:pt x="647" y="319"/>
                  </a:lnTo>
                  <a:close/>
                  <a:moveTo>
                    <a:pt x="505" y="316"/>
                  </a:moveTo>
                  <a:cubicBezTo>
                    <a:pt x="504" y="312"/>
                    <a:pt x="504" y="312"/>
                    <a:pt x="504" y="312"/>
                  </a:cubicBezTo>
                  <a:cubicBezTo>
                    <a:pt x="509" y="311"/>
                    <a:pt x="515" y="310"/>
                    <a:pt x="520" y="310"/>
                  </a:cubicBezTo>
                  <a:cubicBezTo>
                    <a:pt x="520" y="314"/>
                    <a:pt x="520" y="314"/>
                    <a:pt x="520" y="314"/>
                  </a:cubicBezTo>
                  <a:cubicBezTo>
                    <a:pt x="515" y="314"/>
                    <a:pt x="510" y="315"/>
                    <a:pt x="505" y="316"/>
                  </a:cubicBezTo>
                  <a:close/>
                  <a:moveTo>
                    <a:pt x="616" y="313"/>
                  </a:moveTo>
                  <a:cubicBezTo>
                    <a:pt x="610" y="313"/>
                    <a:pt x="605" y="312"/>
                    <a:pt x="600" y="312"/>
                  </a:cubicBezTo>
                  <a:cubicBezTo>
                    <a:pt x="600" y="308"/>
                    <a:pt x="600" y="308"/>
                    <a:pt x="600" y="308"/>
                  </a:cubicBezTo>
                  <a:cubicBezTo>
                    <a:pt x="605" y="308"/>
                    <a:pt x="611" y="309"/>
                    <a:pt x="616" y="309"/>
                  </a:cubicBezTo>
                  <a:lnTo>
                    <a:pt x="616" y="313"/>
                  </a:lnTo>
                  <a:close/>
                  <a:moveTo>
                    <a:pt x="536" y="312"/>
                  </a:moveTo>
                  <a:cubicBezTo>
                    <a:pt x="536" y="308"/>
                    <a:pt x="536" y="308"/>
                    <a:pt x="536" y="308"/>
                  </a:cubicBezTo>
                  <a:cubicBezTo>
                    <a:pt x="541" y="308"/>
                    <a:pt x="547" y="307"/>
                    <a:pt x="552" y="307"/>
                  </a:cubicBezTo>
                  <a:cubicBezTo>
                    <a:pt x="552" y="311"/>
                    <a:pt x="552" y="311"/>
                    <a:pt x="552" y="311"/>
                  </a:cubicBezTo>
                  <a:cubicBezTo>
                    <a:pt x="547" y="311"/>
                    <a:pt x="541" y="312"/>
                    <a:pt x="536" y="312"/>
                  </a:cubicBezTo>
                  <a:close/>
                  <a:moveTo>
                    <a:pt x="584" y="311"/>
                  </a:moveTo>
                  <a:cubicBezTo>
                    <a:pt x="579" y="311"/>
                    <a:pt x="575" y="310"/>
                    <a:pt x="570" y="310"/>
                  </a:cubicBezTo>
                  <a:cubicBezTo>
                    <a:pt x="568" y="310"/>
                    <a:pt x="568" y="310"/>
                    <a:pt x="568" y="310"/>
                  </a:cubicBezTo>
                  <a:cubicBezTo>
                    <a:pt x="568" y="306"/>
                    <a:pt x="568" y="306"/>
                    <a:pt x="568" y="306"/>
                  </a:cubicBezTo>
                  <a:cubicBezTo>
                    <a:pt x="570" y="306"/>
                    <a:pt x="570" y="306"/>
                    <a:pt x="570" y="306"/>
                  </a:cubicBezTo>
                  <a:cubicBezTo>
                    <a:pt x="575" y="306"/>
                    <a:pt x="579" y="307"/>
                    <a:pt x="584" y="307"/>
                  </a:cubicBezTo>
                  <a:lnTo>
                    <a:pt x="584" y="311"/>
                  </a:lnTo>
                  <a:close/>
                  <a:moveTo>
                    <a:pt x="42" y="308"/>
                  </a:moveTo>
                  <a:cubicBezTo>
                    <a:pt x="38" y="303"/>
                    <a:pt x="35" y="299"/>
                    <a:pt x="32" y="294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9" y="297"/>
                    <a:pt x="42" y="301"/>
                    <a:pt x="45" y="305"/>
                  </a:cubicBezTo>
                  <a:lnTo>
                    <a:pt x="42" y="308"/>
                  </a:lnTo>
                  <a:close/>
                  <a:moveTo>
                    <a:pt x="1392" y="307"/>
                  </a:moveTo>
                  <a:cubicBezTo>
                    <a:pt x="1388" y="306"/>
                    <a:pt x="1388" y="306"/>
                    <a:pt x="1388" y="306"/>
                  </a:cubicBezTo>
                  <a:cubicBezTo>
                    <a:pt x="1390" y="301"/>
                    <a:pt x="1392" y="296"/>
                    <a:pt x="1394" y="291"/>
                  </a:cubicBezTo>
                  <a:cubicBezTo>
                    <a:pt x="1397" y="292"/>
                    <a:pt x="1397" y="292"/>
                    <a:pt x="1397" y="292"/>
                  </a:cubicBezTo>
                  <a:cubicBezTo>
                    <a:pt x="1396" y="297"/>
                    <a:pt x="1394" y="302"/>
                    <a:pt x="1392" y="307"/>
                  </a:cubicBezTo>
                  <a:close/>
                  <a:moveTo>
                    <a:pt x="24" y="281"/>
                  </a:moveTo>
                  <a:cubicBezTo>
                    <a:pt x="22" y="276"/>
                    <a:pt x="19" y="271"/>
                    <a:pt x="17" y="266"/>
                  </a:cubicBezTo>
                  <a:cubicBezTo>
                    <a:pt x="21" y="264"/>
                    <a:pt x="21" y="264"/>
                    <a:pt x="21" y="264"/>
                  </a:cubicBezTo>
                  <a:cubicBezTo>
                    <a:pt x="23" y="269"/>
                    <a:pt x="25" y="274"/>
                    <a:pt x="28" y="279"/>
                  </a:cubicBezTo>
                  <a:lnTo>
                    <a:pt x="24" y="281"/>
                  </a:lnTo>
                  <a:close/>
                  <a:moveTo>
                    <a:pt x="1403" y="277"/>
                  </a:moveTo>
                  <a:cubicBezTo>
                    <a:pt x="1399" y="276"/>
                    <a:pt x="1399" y="276"/>
                    <a:pt x="1399" y="276"/>
                  </a:cubicBezTo>
                  <a:cubicBezTo>
                    <a:pt x="1401" y="271"/>
                    <a:pt x="1403" y="266"/>
                    <a:pt x="1405" y="261"/>
                  </a:cubicBezTo>
                  <a:cubicBezTo>
                    <a:pt x="1409" y="262"/>
                    <a:pt x="1409" y="262"/>
                    <a:pt x="1409" y="262"/>
                  </a:cubicBezTo>
                  <a:cubicBezTo>
                    <a:pt x="1407" y="267"/>
                    <a:pt x="1405" y="272"/>
                    <a:pt x="1403" y="277"/>
                  </a:cubicBezTo>
                  <a:close/>
                  <a:moveTo>
                    <a:pt x="11" y="251"/>
                  </a:moveTo>
                  <a:cubicBezTo>
                    <a:pt x="10" y="246"/>
                    <a:pt x="8" y="241"/>
                    <a:pt x="7" y="235"/>
                  </a:cubicBezTo>
                  <a:cubicBezTo>
                    <a:pt x="11" y="235"/>
                    <a:pt x="11" y="235"/>
                    <a:pt x="11" y="235"/>
                  </a:cubicBezTo>
                  <a:cubicBezTo>
                    <a:pt x="12" y="240"/>
                    <a:pt x="13" y="245"/>
                    <a:pt x="15" y="250"/>
                  </a:cubicBezTo>
                  <a:lnTo>
                    <a:pt x="11" y="251"/>
                  </a:lnTo>
                  <a:close/>
                  <a:moveTo>
                    <a:pt x="1416" y="248"/>
                  </a:moveTo>
                  <a:cubicBezTo>
                    <a:pt x="1412" y="246"/>
                    <a:pt x="1412" y="246"/>
                    <a:pt x="1412" y="246"/>
                  </a:cubicBezTo>
                  <a:cubicBezTo>
                    <a:pt x="1414" y="241"/>
                    <a:pt x="1417" y="236"/>
                    <a:pt x="1419" y="232"/>
                  </a:cubicBezTo>
                  <a:cubicBezTo>
                    <a:pt x="1423" y="234"/>
                    <a:pt x="1423" y="234"/>
                    <a:pt x="1423" y="234"/>
                  </a:cubicBezTo>
                  <a:cubicBezTo>
                    <a:pt x="1420" y="238"/>
                    <a:pt x="1418" y="243"/>
                    <a:pt x="1416" y="248"/>
                  </a:cubicBezTo>
                  <a:close/>
                  <a:moveTo>
                    <a:pt x="1430" y="220"/>
                  </a:moveTo>
                  <a:cubicBezTo>
                    <a:pt x="1427" y="218"/>
                    <a:pt x="1427" y="218"/>
                    <a:pt x="1427" y="218"/>
                  </a:cubicBezTo>
                  <a:cubicBezTo>
                    <a:pt x="1430" y="213"/>
                    <a:pt x="1433" y="208"/>
                    <a:pt x="1435" y="204"/>
                  </a:cubicBezTo>
                  <a:cubicBezTo>
                    <a:pt x="1439" y="206"/>
                    <a:pt x="1439" y="206"/>
                    <a:pt x="1439" y="206"/>
                  </a:cubicBezTo>
                  <a:cubicBezTo>
                    <a:pt x="1436" y="211"/>
                    <a:pt x="1433" y="215"/>
                    <a:pt x="1430" y="220"/>
                  </a:cubicBezTo>
                  <a:close/>
                  <a:moveTo>
                    <a:pt x="3" y="220"/>
                  </a:moveTo>
                  <a:cubicBezTo>
                    <a:pt x="3" y="217"/>
                    <a:pt x="2" y="214"/>
                    <a:pt x="2" y="211"/>
                  </a:cubicBezTo>
                  <a:cubicBezTo>
                    <a:pt x="2" y="209"/>
                    <a:pt x="2" y="206"/>
                    <a:pt x="1" y="204"/>
                  </a:cubicBezTo>
                  <a:cubicBezTo>
                    <a:pt x="5" y="203"/>
                    <a:pt x="5" y="203"/>
                    <a:pt x="5" y="203"/>
                  </a:cubicBezTo>
                  <a:cubicBezTo>
                    <a:pt x="6" y="206"/>
                    <a:pt x="6" y="208"/>
                    <a:pt x="6" y="211"/>
                  </a:cubicBezTo>
                  <a:cubicBezTo>
                    <a:pt x="6" y="213"/>
                    <a:pt x="7" y="216"/>
                    <a:pt x="7" y="219"/>
                  </a:cubicBezTo>
                  <a:lnTo>
                    <a:pt x="3" y="220"/>
                  </a:lnTo>
                  <a:close/>
                  <a:moveTo>
                    <a:pt x="1448" y="193"/>
                  </a:moveTo>
                  <a:cubicBezTo>
                    <a:pt x="1445" y="191"/>
                    <a:pt x="1445" y="191"/>
                    <a:pt x="1445" y="191"/>
                  </a:cubicBezTo>
                  <a:cubicBezTo>
                    <a:pt x="1448" y="186"/>
                    <a:pt x="1451" y="182"/>
                    <a:pt x="1455" y="178"/>
                  </a:cubicBezTo>
                  <a:cubicBezTo>
                    <a:pt x="1458" y="181"/>
                    <a:pt x="1458" y="181"/>
                    <a:pt x="1458" y="181"/>
                  </a:cubicBezTo>
                  <a:cubicBezTo>
                    <a:pt x="1454" y="185"/>
                    <a:pt x="1451" y="189"/>
                    <a:pt x="1448" y="193"/>
                  </a:cubicBezTo>
                  <a:close/>
                  <a:moveTo>
                    <a:pt x="0" y="188"/>
                  </a:moveTo>
                  <a:cubicBezTo>
                    <a:pt x="0" y="183"/>
                    <a:pt x="0" y="179"/>
                    <a:pt x="0" y="174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4" y="172"/>
                    <a:pt x="4" y="172"/>
                    <a:pt x="4" y="172"/>
                  </a:cubicBezTo>
                  <a:cubicBezTo>
                    <a:pt x="4" y="174"/>
                    <a:pt x="4" y="174"/>
                    <a:pt x="4" y="174"/>
                  </a:cubicBezTo>
                  <a:cubicBezTo>
                    <a:pt x="4" y="179"/>
                    <a:pt x="4" y="183"/>
                    <a:pt x="4" y="187"/>
                  </a:cubicBezTo>
                  <a:lnTo>
                    <a:pt x="0" y="188"/>
                  </a:lnTo>
                  <a:close/>
                  <a:moveTo>
                    <a:pt x="1468" y="169"/>
                  </a:moveTo>
                  <a:cubicBezTo>
                    <a:pt x="1465" y="166"/>
                    <a:pt x="1465" y="166"/>
                    <a:pt x="1465" y="166"/>
                  </a:cubicBezTo>
                  <a:cubicBezTo>
                    <a:pt x="1469" y="162"/>
                    <a:pt x="1473" y="158"/>
                    <a:pt x="1477" y="155"/>
                  </a:cubicBezTo>
                  <a:cubicBezTo>
                    <a:pt x="1479" y="158"/>
                    <a:pt x="1479" y="158"/>
                    <a:pt x="1479" y="158"/>
                  </a:cubicBezTo>
                  <a:cubicBezTo>
                    <a:pt x="1476" y="161"/>
                    <a:pt x="1472" y="165"/>
                    <a:pt x="1468" y="169"/>
                  </a:cubicBezTo>
                  <a:close/>
                  <a:moveTo>
                    <a:pt x="4" y="156"/>
                  </a:moveTo>
                  <a:cubicBezTo>
                    <a:pt x="0" y="155"/>
                    <a:pt x="0" y="155"/>
                    <a:pt x="0" y="155"/>
                  </a:cubicBezTo>
                  <a:cubicBezTo>
                    <a:pt x="1" y="150"/>
                    <a:pt x="1" y="145"/>
                    <a:pt x="2" y="139"/>
                  </a:cubicBezTo>
                  <a:cubicBezTo>
                    <a:pt x="6" y="140"/>
                    <a:pt x="6" y="140"/>
                    <a:pt x="6" y="140"/>
                  </a:cubicBezTo>
                  <a:cubicBezTo>
                    <a:pt x="5" y="145"/>
                    <a:pt x="5" y="150"/>
                    <a:pt x="4" y="156"/>
                  </a:cubicBezTo>
                  <a:close/>
                  <a:moveTo>
                    <a:pt x="1491" y="147"/>
                  </a:moveTo>
                  <a:cubicBezTo>
                    <a:pt x="1489" y="144"/>
                    <a:pt x="1489" y="144"/>
                    <a:pt x="1489" y="144"/>
                  </a:cubicBezTo>
                  <a:cubicBezTo>
                    <a:pt x="1493" y="141"/>
                    <a:pt x="1497" y="138"/>
                    <a:pt x="1502" y="135"/>
                  </a:cubicBezTo>
                  <a:cubicBezTo>
                    <a:pt x="1504" y="138"/>
                    <a:pt x="1504" y="138"/>
                    <a:pt x="1504" y="138"/>
                  </a:cubicBezTo>
                  <a:cubicBezTo>
                    <a:pt x="1500" y="141"/>
                    <a:pt x="1496" y="144"/>
                    <a:pt x="1491" y="147"/>
                  </a:cubicBezTo>
                  <a:close/>
                  <a:moveTo>
                    <a:pt x="1517" y="129"/>
                  </a:moveTo>
                  <a:cubicBezTo>
                    <a:pt x="1515" y="126"/>
                    <a:pt x="1515" y="126"/>
                    <a:pt x="1515" y="126"/>
                  </a:cubicBezTo>
                  <a:cubicBezTo>
                    <a:pt x="1520" y="123"/>
                    <a:pt x="1525" y="121"/>
                    <a:pt x="1530" y="118"/>
                  </a:cubicBezTo>
                  <a:cubicBezTo>
                    <a:pt x="1531" y="122"/>
                    <a:pt x="1531" y="122"/>
                    <a:pt x="1531" y="122"/>
                  </a:cubicBezTo>
                  <a:cubicBezTo>
                    <a:pt x="1527" y="124"/>
                    <a:pt x="1522" y="127"/>
                    <a:pt x="1517" y="129"/>
                  </a:cubicBezTo>
                  <a:close/>
                  <a:moveTo>
                    <a:pt x="9" y="124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6" y="118"/>
                    <a:pt x="7" y="113"/>
                    <a:pt x="8" y="108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1" y="114"/>
                    <a:pt x="10" y="119"/>
                    <a:pt x="9" y="124"/>
                  </a:cubicBezTo>
                  <a:close/>
                  <a:moveTo>
                    <a:pt x="17" y="94"/>
                  </a:moveTo>
                  <a:cubicBezTo>
                    <a:pt x="13" y="92"/>
                    <a:pt x="13" y="92"/>
                    <a:pt x="13" y="92"/>
                  </a:cubicBezTo>
                  <a:cubicBezTo>
                    <a:pt x="15" y="87"/>
                    <a:pt x="17" y="82"/>
                    <a:pt x="19" y="77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1" y="84"/>
                    <a:pt x="19" y="89"/>
                    <a:pt x="17" y="94"/>
                  </a:cubicBezTo>
                  <a:close/>
                  <a:moveTo>
                    <a:pt x="30" y="65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9" y="58"/>
                    <a:pt x="31" y="53"/>
                    <a:pt x="34" y="49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5" y="55"/>
                    <a:pt x="32" y="60"/>
                    <a:pt x="30" y="65"/>
                  </a:cubicBezTo>
                  <a:close/>
                  <a:moveTo>
                    <a:pt x="47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6" y="31"/>
                    <a:pt x="50" y="27"/>
                    <a:pt x="53" y="23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3" y="29"/>
                    <a:pt x="50" y="34"/>
                    <a:pt x="47" y="38"/>
                  </a:cubicBezTo>
                  <a:close/>
                  <a:moveTo>
                    <a:pt x="67" y="14"/>
                  </a:moveTo>
                  <a:cubicBezTo>
                    <a:pt x="64" y="11"/>
                    <a:pt x="64" y="11"/>
                    <a:pt x="64" y="11"/>
                  </a:cubicBezTo>
                  <a:cubicBezTo>
                    <a:pt x="68" y="7"/>
                    <a:pt x="72" y="3"/>
                    <a:pt x="76" y="0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5" y="6"/>
                    <a:pt x="71" y="10"/>
                    <a:pt x="67" y="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12">
              <a:extLst>
                <a:ext uri="{FF2B5EF4-FFF2-40B4-BE49-F238E27FC236}">
                  <a16:creationId xmlns:a16="http://schemas.microsoft.com/office/drawing/2014/main" id="{17F93D91-DB05-4283-8234-8914DBBA4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" y="287"/>
              <a:ext cx="21" cy="15"/>
            </a:xfrm>
            <a:custGeom>
              <a:avLst/>
              <a:gdLst>
                <a:gd name="T0" fmla="*/ 1 w 9"/>
                <a:gd name="T1" fmla="*/ 6 h 6"/>
                <a:gd name="T2" fmla="*/ 0 w 9"/>
                <a:gd name="T3" fmla="*/ 3 h 6"/>
                <a:gd name="T4" fmla="*/ 7 w 9"/>
                <a:gd name="T5" fmla="*/ 0 h 6"/>
                <a:gd name="T6" fmla="*/ 9 w 9"/>
                <a:gd name="T7" fmla="*/ 4 h 6"/>
                <a:gd name="T8" fmla="*/ 1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1" y="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5" y="1"/>
                    <a:pt x="7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4" y="5"/>
                    <a:pt x="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Oval 113">
              <a:extLst>
                <a:ext uri="{FF2B5EF4-FFF2-40B4-BE49-F238E27FC236}">
                  <a16:creationId xmlns:a16="http://schemas.microsoft.com/office/drawing/2014/main" id="{B5B1C2A6-9312-4FF5-8F81-1DC97AFF6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3" y="-78"/>
              <a:ext cx="155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114">
              <a:extLst>
                <a:ext uri="{FF2B5EF4-FFF2-40B4-BE49-F238E27FC236}">
                  <a16:creationId xmlns:a16="http://schemas.microsoft.com/office/drawing/2014/main" id="{A90DF5F8-C1C8-458C-9F67-956EA7BF2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9" y="712"/>
              <a:ext cx="154" cy="1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115">
              <a:extLst>
                <a:ext uri="{FF2B5EF4-FFF2-40B4-BE49-F238E27FC236}">
                  <a16:creationId xmlns:a16="http://schemas.microsoft.com/office/drawing/2014/main" id="{DFDF2449-13DF-4AAC-A360-AEA8EEF42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5" y="214"/>
              <a:ext cx="154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116">
              <a:extLst>
                <a:ext uri="{FF2B5EF4-FFF2-40B4-BE49-F238E27FC236}">
                  <a16:creationId xmlns:a16="http://schemas.microsoft.com/office/drawing/2014/main" id="{08354E40-DBE8-43CE-A18E-F7CB6235C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7" y="1589"/>
              <a:ext cx="154" cy="1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17">
              <a:extLst>
                <a:ext uri="{FF2B5EF4-FFF2-40B4-BE49-F238E27FC236}">
                  <a16:creationId xmlns:a16="http://schemas.microsoft.com/office/drawing/2014/main" id="{5FE6415A-F652-4B77-8639-129851C65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3" y="2567"/>
              <a:ext cx="415" cy="586"/>
            </a:xfrm>
            <a:custGeom>
              <a:avLst/>
              <a:gdLst>
                <a:gd name="T0" fmla="*/ 171 w 175"/>
                <a:gd name="T1" fmla="*/ 106 h 247"/>
                <a:gd name="T2" fmla="*/ 168 w 175"/>
                <a:gd name="T3" fmla="*/ 176 h 247"/>
                <a:gd name="T4" fmla="*/ 157 w 175"/>
                <a:gd name="T5" fmla="*/ 207 h 247"/>
                <a:gd name="T6" fmla="*/ 147 w 175"/>
                <a:gd name="T7" fmla="*/ 246 h 247"/>
                <a:gd name="T8" fmla="*/ 144 w 175"/>
                <a:gd name="T9" fmla="*/ 246 h 247"/>
                <a:gd name="T10" fmla="*/ 29 w 175"/>
                <a:gd name="T11" fmla="*/ 186 h 247"/>
                <a:gd name="T12" fmla="*/ 5 w 175"/>
                <a:gd name="T13" fmla="*/ 127 h 247"/>
                <a:gd name="T14" fmla="*/ 6 w 175"/>
                <a:gd name="T15" fmla="*/ 56 h 247"/>
                <a:gd name="T16" fmla="*/ 40 w 175"/>
                <a:gd name="T17" fmla="*/ 9 h 247"/>
                <a:gd name="T18" fmla="*/ 103 w 175"/>
                <a:gd name="T19" fmla="*/ 7 h 247"/>
                <a:gd name="T20" fmla="*/ 171 w 175"/>
                <a:gd name="T21" fmla="*/ 10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" h="247">
                  <a:moveTo>
                    <a:pt x="171" y="106"/>
                  </a:moveTo>
                  <a:cubicBezTo>
                    <a:pt x="175" y="129"/>
                    <a:pt x="174" y="153"/>
                    <a:pt x="168" y="176"/>
                  </a:cubicBezTo>
                  <a:cubicBezTo>
                    <a:pt x="165" y="187"/>
                    <a:pt x="161" y="197"/>
                    <a:pt x="157" y="207"/>
                  </a:cubicBezTo>
                  <a:cubicBezTo>
                    <a:pt x="151" y="220"/>
                    <a:pt x="146" y="232"/>
                    <a:pt x="147" y="246"/>
                  </a:cubicBezTo>
                  <a:cubicBezTo>
                    <a:pt x="148" y="247"/>
                    <a:pt x="144" y="247"/>
                    <a:pt x="144" y="246"/>
                  </a:cubicBezTo>
                  <a:cubicBezTo>
                    <a:pt x="106" y="224"/>
                    <a:pt x="58" y="221"/>
                    <a:pt x="29" y="186"/>
                  </a:cubicBezTo>
                  <a:cubicBezTo>
                    <a:pt x="15" y="169"/>
                    <a:pt x="8" y="148"/>
                    <a:pt x="5" y="127"/>
                  </a:cubicBezTo>
                  <a:cubicBezTo>
                    <a:pt x="1" y="104"/>
                    <a:pt x="0" y="79"/>
                    <a:pt x="6" y="56"/>
                  </a:cubicBezTo>
                  <a:cubicBezTo>
                    <a:pt x="11" y="37"/>
                    <a:pt x="22" y="19"/>
                    <a:pt x="40" y="9"/>
                  </a:cubicBezTo>
                  <a:cubicBezTo>
                    <a:pt x="59" y="0"/>
                    <a:pt x="83" y="1"/>
                    <a:pt x="103" y="7"/>
                  </a:cubicBezTo>
                  <a:cubicBezTo>
                    <a:pt x="145" y="20"/>
                    <a:pt x="165" y="65"/>
                    <a:pt x="171" y="106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18">
              <a:extLst>
                <a:ext uri="{FF2B5EF4-FFF2-40B4-BE49-F238E27FC236}">
                  <a16:creationId xmlns:a16="http://schemas.microsoft.com/office/drawing/2014/main" id="{55297D15-1D57-4409-B22E-2C9CE093B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" y="2669"/>
              <a:ext cx="409" cy="928"/>
            </a:xfrm>
            <a:custGeom>
              <a:avLst/>
              <a:gdLst>
                <a:gd name="T0" fmla="*/ 158 w 172"/>
                <a:gd name="T1" fmla="*/ 341 h 391"/>
                <a:gd name="T2" fmla="*/ 142 w 172"/>
                <a:gd name="T3" fmla="*/ 290 h 391"/>
                <a:gd name="T4" fmla="*/ 109 w 172"/>
                <a:gd name="T5" fmla="*/ 190 h 391"/>
                <a:gd name="T6" fmla="*/ 87 w 172"/>
                <a:gd name="T7" fmla="*/ 132 h 391"/>
                <a:gd name="T8" fmla="*/ 91 w 172"/>
                <a:gd name="T9" fmla="*/ 95 h 391"/>
                <a:gd name="T10" fmla="*/ 103 w 172"/>
                <a:gd name="T11" fmla="*/ 52 h 391"/>
                <a:gd name="T12" fmla="*/ 102 w 172"/>
                <a:gd name="T13" fmla="*/ 52 h 391"/>
                <a:gd name="T14" fmla="*/ 82 w 172"/>
                <a:gd name="T15" fmla="*/ 120 h 391"/>
                <a:gd name="T16" fmla="*/ 52 w 172"/>
                <a:gd name="T17" fmla="*/ 55 h 391"/>
                <a:gd name="T18" fmla="*/ 54 w 172"/>
                <a:gd name="T19" fmla="*/ 1 h 391"/>
                <a:gd name="T20" fmla="*/ 53 w 172"/>
                <a:gd name="T21" fmla="*/ 1 h 391"/>
                <a:gd name="T22" fmla="*/ 49 w 172"/>
                <a:gd name="T23" fmla="*/ 49 h 391"/>
                <a:gd name="T24" fmla="*/ 23 w 172"/>
                <a:gd name="T25" fmla="*/ 1 h 391"/>
                <a:gd name="T26" fmla="*/ 21 w 172"/>
                <a:gd name="T27" fmla="*/ 3 h 391"/>
                <a:gd name="T28" fmla="*/ 61 w 172"/>
                <a:gd name="T29" fmla="*/ 86 h 391"/>
                <a:gd name="T30" fmla="*/ 2 w 172"/>
                <a:gd name="T31" fmla="*/ 52 h 391"/>
                <a:gd name="T32" fmla="*/ 1 w 172"/>
                <a:gd name="T33" fmla="*/ 53 h 391"/>
                <a:gd name="T34" fmla="*/ 65 w 172"/>
                <a:gd name="T35" fmla="*/ 95 h 391"/>
                <a:gd name="T36" fmla="*/ 90 w 172"/>
                <a:gd name="T37" fmla="*/ 158 h 391"/>
                <a:gd name="T38" fmla="*/ 3 w 172"/>
                <a:gd name="T39" fmla="*/ 111 h 391"/>
                <a:gd name="T40" fmla="*/ 3 w 172"/>
                <a:gd name="T41" fmla="*/ 113 h 391"/>
                <a:gd name="T42" fmla="*/ 95 w 172"/>
                <a:gd name="T43" fmla="*/ 169 h 391"/>
                <a:gd name="T44" fmla="*/ 104 w 172"/>
                <a:gd name="T45" fmla="*/ 194 h 391"/>
                <a:gd name="T46" fmla="*/ 137 w 172"/>
                <a:gd name="T47" fmla="*/ 292 h 391"/>
                <a:gd name="T48" fmla="*/ 152 w 172"/>
                <a:gd name="T49" fmla="*/ 338 h 391"/>
                <a:gd name="T50" fmla="*/ 168 w 172"/>
                <a:gd name="T51" fmla="*/ 389 h 391"/>
                <a:gd name="T52" fmla="*/ 171 w 172"/>
                <a:gd name="T53" fmla="*/ 389 h 391"/>
                <a:gd name="T54" fmla="*/ 158 w 172"/>
                <a:gd name="T55" fmla="*/ 34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2" h="391">
                  <a:moveTo>
                    <a:pt x="158" y="341"/>
                  </a:moveTo>
                  <a:cubicBezTo>
                    <a:pt x="153" y="324"/>
                    <a:pt x="147" y="307"/>
                    <a:pt x="142" y="290"/>
                  </a:cubicBezTo>
                  <a:cubicBezTo>
                    <a:pt x="132" y="256"/>
                    <a:pt x="121" y="223"/>
                    <a:pt x="109" y="190"/>
                  </a:cubicBezTo>
                  <a:cubicBezTo>
                    <a:pt x="102" y="170"/>
                    <a:pt x="95" y="151"/>
                    <a:pt x="87" y="132"/>
                  </a:cubicBezTo>
                  <a:cubicBezTo>
                    <a:pt x="88" y="119"/>
                    <a:pt x="89" y="107"/>
                    <a:pt x="91" y="95"/>
                  </a:cubicBezTo>
                  <a:cubicBezTo>
                    <a:pt x="94" y="81"/>
                    <a:pt x="99" y="67"/>
                    <a:pt x="103" y="52"/>
                  </a:cubicBezTo>
                  <a:cubicBezTo>
                    <a:pt x="103" y="51"/>
                    <a:pt x="102" y="51"/>
                    <a:pt x="102" y="52"/>
                  </a:cubicBezTo>
                  <a:cubicBezTo>
                    <a:pt x="93" y="71"/>
                    <a:pt x="82" y="97"/>
                    <a:pt x="82" y="120"/>
                  </a:cubicBezTo>
                  <a:cubicBezTo>
                    <a:pt x="73" y="98"/>
                    <a:pt x="63" y="76"/>
                    <a:pt x="52" y="55"/>
                  </a:cubicBezTo>
                  <a:cubicBezTo>
                    <a:pt x="52" y="37"/>
                    <a:pt x="51" y="19"/>
                    <a:pt x="54" y="1"/>
                  </a:cubicBezTo>
                  <a:cubicBezTo>
                    <a:pt x="54" y="0"/>
                    <a:pt x="53" y="0"/>
                    <a:pt x="53" y="1"/>
                  </a:cubicBezTo>
                  <a:cubicBezTo>
                    <a:pt x="50" y="16"/>
                    <a:pt x="48" y="33"/>
                    <a:pt x="49" y="49"/>
                  </a:cubicBezTo>
                  <a:cubicBezTo>
                    <a:pt x="41" y="33"/>
                    <a:pt x="33" y="17"/>
                    <a:pt x="23" y="1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36" y="30"/>
                    <a:pt x="49" y="58"/>
                    <a:pt x="61" y="86"/>
                  </a:cubicBezTo>
                  <a:cubicBezTo>
                    <a:pt x="44" y="71"/>
                    <a:pt x="23" y="59"/>
                    <a:pt x="2" y="52"/>
                  </a:cubicBezTo>
                  <a:cubicBezTo>
                    <a:pt x="1" y="51"/>
                    <a:pt x="0" y="53"/>
                    <a:pt x="1" y="53"/>
                  </a:cubicBezTo>
                  <a:cubicBezTo>
                    <a:pt x="26" y="63"/>
                    <a:pt x="46" y="78"/>
                    <a:pt x="65" y="95"/>
                  </a:cubicBezTo>
                  <a:cubicBezTo>
                    <a:pt x="74" y="116"/>
                    <a:pt x="82" y="137"/>
                    <a:pt x="90" y="158"/>
                  </a:cubicBezTo>
                  <a:cubicBezTo>
                    <a:pt x="67" y="135"/>
                    <a:pt x="35" y="119"/>
                    <a:pt x="3" y="111"/>
                  </a:cubicBezTo>
                  <a:cubicBezTo>
                    <a:pt x="2" y="111"/>
                    <a:pt x="2" y="113"/>
                    <a:pt x="3" y="113"/>
                  </a:cubicBezTo>
                  <a:cubicBezTo>
                    <a:pt x="39" y="124"/>
                    <a:pt x="67" y="144"/>
                    <a:pt x="95" y="169"/>
                  </a:cubicBezTo>
                  <a:cubicBezTo>
                    <a:pt x="98" y="177"/>
                    <a:pt x="101" y="186"/>
                    <a:pt x="104" y="194"/>
                  </a:cubicBezTo>
                  <a:cubicBezTo>
                    <a:pt x="116" y="226"/>
                    <a:pt x="127" y="259"/>
                    <a:pt x="137" y="292"/>
                  </a:cubicBezTo>
                  <a:cubicBezTo>
                    <a:pt x="142" y="307"/>
                    <a:pt x="147" y="323"/>
                    <a:pt x="152" y="338"/>
                  </a:cubicBezTo>
                  <a:cubicBezTo>
                    <a:pt x="157" y="355"/>
                    <a:pt x="161" y="373"/>
                    <a:pt x="168" y="389"/>
                  </a:cubicBezTo>
                  <a:cubicBezTo>
                    <a:pt x="169" y="391"/>
                    <a:pt x="172" y="391"/>
                    <a:pt x="171" y="389"/>
                  </a:cubicBezTo>
                  <a:cubicBezTo>
                    <a:pt x="168" y="373"/>
                    <a:pt x="162" y="357"/>
                    <a:pt x="158" y="34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19">
              <a:extLst>
                <a:ext uri="{FF2B5EF4-FFF2-40B4-BE49-F238E27FC236}">
                  <a16:creationId xmlns:a16="http://schemas.microsoft.com/office/drawing/2014/main" id="{9E7C15BC-2559-4C54-9490-1C2254230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2738"/>
              <a:ext cx="38" cy="83"/>
            </a:xfrm>
            <a:custGeom>
              <a:avLst/>
              <a:gdLst>
                <a:gd name="T0" fmla="*/ 13 w 16"/>
                <a:gd name="T1" fmla="*/ 1 h 35"/>
                <a:gd name="T2" fmla="*/ 0 w 16"/>
                <a:gd name="T3" fmla="*/ 34 h 35"/>
                <a:gd name="T4" fmla="*/ 0 w 16"/>
                <a:gd name="T5" fmla="*/ 35 h 35"/>
                <a:gd name="T6" fmla="*/ 15 w 16"/>
                <a:gd name="T7" fmla="*/ 2 h 35"/>
                <a:gd name="T8" fmla="*/ 13 w 16"/>
                <a:gd name="T9" fmla="*/ 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5">
                  <a:moveTo>
                    <a:pt x="13" y="1"/>
                  </a:moveTo>
                  <a:cubicBezTo>
                    <a:pt x="7" y="11"/>
                    <a:pt x="2" y="22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5" y="23"/>
                    <a:pt x="9" y="12"/>
                    <a:pt x="15" y="2"/>
                  </a:cubicBezTo>
                  <a:cubicBezTo>
                    <a:pt x="16" y="0"/>
                    <a:pt x="14" y="0"/>
                    <a:pt x="1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20">
              <a:extLst>
                <a:ext uri="{FF2B5EF4-FFF2-40B4-BE49-F238E27FC236}">
                  <a16:creationId xmlns:a16="http://schemas.microsoft.com/office/drawing/2014/main" id="{D4FDA7FC-C57C-43A8-A1F1-8E181FCDA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2899"/>
              <a:ext cx="83" cy="31"/>
            </a:xfrm>
            <a:custGeom>
              <a:avLst/>
              <a:gdLst>
                <a:gd name="T0" fmla="*/ 34 w 35"/>
                <a:gd name="T1" fmla="*/ 11 h 13"/>
                <a:gd name="T2" fmla="*/ 1 w 35"/>
                <a:gd name="T3" fmla="*/ 0 h 13"/>
                <a:gd name="T4" fmla="*/ 0 w 35"/>
                <a:gd name="T5" fmla="*/ 0 h 13"/>
                <a:gd name="T6" fmla="*/ 17 w 35"/>
                <a:gd name="T7" fmla="*/ 6 h 13"/>
                <a:gd name="T8" fmla="*/ 33 w 35"/>
                <a:gd name="T9" fmla="*/ 13 h 13"/>
                <a:gd name="T10" fmla="*/ 34 w 35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3">
                  <a:moveTo>
                    <a:pt x="34" y="11"/>
                  </a:moveTo>
                  <a:cubicBezTo>
                    <a:pt x="25" y="6"/>
                    <a:pt x="12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1" y="4"/>
                    <a:pt x="17" y="6"/>
                  </a:cubicBezTo>
                  <a:cubicBezTo>
                    <a:pt x="22" y="8"/>
                    <a:pt x="28" y="11"/>
                    <a:pt x="33" y="13"/>
                  </a:cubicBezTo>
                  <a:cubicBezTo>
                    <a:pt x="35" y="13"/>
                    <a:pt x="35" y="12"/>
                    <a:pt x="34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21">
              <a:extLst>
                <a:ext uri="{FF2B5EF4-FFF2-40B4-BE49-F238E27FC236}">
                  <a16:creationId xmlns:a16="http://schemas.microsoft.com/office/drawing/2014/main" id="{FC1D904C-3CD0-41DE-9DD5-F3AE08E78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4" y="2686"/>
              <a:ext cx="31" cy="19"/>
            </a:xfrm>
            <a:custGeom>
              <a:avLst/>
              <a:gdLst>
                <a:gd name="T0" fmla="*/ 12 w 13"/>
                <a:gd name="T1" fmla="*/ 7 h 8"/>
                <a:gd name="T2" fmla="*/ 1 w 13"/>
                <a:gd name="T3" fmla="*/ 0 h 8"/>
                <a:gd name="T4" fmla="*/ 1 w 13"/>
                <a:gd name="T5" fmla="*/ 1 h 8"/>
                <a:gd name="T6" fmla="*/ 12 w 13"/>
                <a:gd name="T7" fmla="*/ 8 h 8"/>
                <a:gd name="T8" fmla="*/ 12 w 13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7"/>
                  </a:moveTo>
                  <a:cubicBezTo>
                    <a:pt x="9" y="5"/>
                    <a:pt x="5" y="2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4" y="4"/>
                    <a:pt x="8" y="6"/>
                    <a:pt x="12" y="8"/>
                  </a:cubicBezTo>
                  <a:cubicBezTo>
                    <a:pt x="12" y="8"/>
                    <a:pt x="13" y="7"/>
                    <a:pt x="12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22">
              <a:extLst>
                <a:ext uri="{FF2B5EF4-FFF2-40B4-BE49-F238E27FC236}">
                  <a16:creationId xmlns:a16="http://schemas.microsoft.com/office/drawing/2014/main" id="{1DFD1AEC-519B-4DC6-BC01-CC1AC291C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2626"/>
              <a:ext cx="515" cy="551"/>
            </a:xfrm>
            <a:custGeom>
              <a:avLst/>
              <a:gdLst>
                <a:gd name="T0" fmla="*/ 129 w 217"/>
                <a:gd name="T1" fmla="*/ 208 h 232"/>
                <a:gd name="T2" fmla="*/ 48 w 217"/>
                <a:gd name="T3" fmla="*/ 232 h 232"/>
                <a:gd name="T4" fmla="*/ 16 w 217"/>
                <a:gd name="T5" fmla="*/ 100 h 232"/>
                <a:gd name="T6" fmla="*/ 108 w 217"/>
                <a:gd name="T7" fmla="*/ 12 h 232"/>
                <a:gd name="T8" fmla="*/ 172 w 217"/>
                <a:gd name="T9" fmla="*/ 5 h 232"/>
                <a:gd name="T10" fmla="*/ 209 w 217"/>
                <a:gd name="T11" fmla="*/ 41 h 232"/>
                <a:gd name="T12" fmla="*/ 210 w 217"/>
                <a:gd name="T13" fmla="*/ 115 h 232"/>
                <a:gd name="T14" fmla="*/ 183 w 217"/>
                <a:gd name="T15" fmla="*/ 176 h 232"/>
                <a:gd name="T16" fmla="*/ 129 w 217"/>
                <a:gd name="T17" fmla="*/ 20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232">
                  <a:moveTo>
                    <a:pt x="129" y="208"/>
                  </a:moveTo>
                  <a:cubicBezTo>
                    <a:pt x="102" y="216"/>
                    <a:pt x="75" y="224"/>
                    <a:pt x="48" y="232"/>
                  </a:cubicBezTo>
                  <a:cubicBezTo>
                    <a:pt x="45" y="232"/>
                    <a:pt x="0" y="145"/>
                    <a:pt x="16" y="100"/>
                  </a:cubicBezTo>
                  <a:cubicBezTo>
                    <a:pt x="31" y="58"/>
                    <a:pt x="66" y="26"/>
                    <a:pt x="108" y="12"/>
                  </a:cubicBezTo>
                  <a:cubicBezTo>
                    <a:pt x="128" y="6"/>
                    <a:pt x="151" y="0"/>
                    <a:pt x="172" y="5"/>
                  </a:cubicBezTo>
                  <a:cubicBezTo>
                    <a:pt x="190" y="9"/>
                    <a:pt x="203" y="24"/>
                    <a:pt x="209" y="41"/>
                  </a:cubicBezTo>
                  <a:cubicBezTo>
                    <a:pt x="217" y="64"/>
                    <a:pt x="214" y="91"/>
                    <a:pt x="210" y="115"/>
                  </a:cubicBezTo>
                  <a:cubicBezTo>
                    <a:pt x="206" y="137"/>
                    <a:pt x="198" y="159"/>
                    <a:pt x="183" y="176"/>
                  </a:cubicBezTo>
                  <a:cubicBezTo>
                    <a:pt x="169" y="193"/>
                    <a:pt x="150" y="202"/>
                    <a:pt x="129" y="208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23">
              <a:extLst>
                <a:ext uri="{FF2B5EF4-FFF2-40B4-BE49-F238E27FC236}">
                  <a16:creationId xmlns:a16="http://schemas.microsoft.com/office/drawing/2014/main" id="{CD61C44F-C5DF-4E67-9B88-A357E8200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3" y="2759"/>
              <a:ext cx="385" cy="864"/>
            </a:xfrm>
            <a:custGeom>
              <a:avLst/>
              <a:gdLst>
                <a:gd name="T0" fmla="*/ 160 w 162"/>
                <a:gd name="T1" fmla="*/ 69 h 364"/>
                <a:gd name="T2" fmla="*/ 107 w 162"/>
                <a:gd name="T3" fmla="*/ 90 h 364"/>
                <a:gd name="T4" fmla="*/ 72 w 162"/>
                <a:gd name="T5" fmla="*/ 103 h 364"/>
                <a:gd name="T6" fmla="*/ 109 w 162"/>
                <a:gd name="T7" fmla="*/ 28 h 364"/>
                <a:gd name="T8" fmla="*/ 158 w 162"/>
                <a:gd name="T9" fmla="*/ 2 h 364"/>
                <a:gd name="T10" fmla="*/ 157 w 162"/>
                <a:gd name="T11" fmla="*/ 1 h 364"/>
                <a:gd name="T12" fmla="*/ 111 w 162"/>
                <a:gd name="T13" fmla="*/ 24 h 364"/>
                <a:gd name="T14" fmla="*/ 122 w 162"/>
                <a:gd name="T15" fmla="*/ 4 h 364"/>
                <a:gd name="T16" fmla="*/ 119 w 162"/>
                <a:gd name="T17" fmla="*/ 2 h 364"/>
                <a:gd name="T18" fmla="*/ 81 w 162"/>
                <a:gd name="T19" fmla="*/ 67 h 364"/>
                <a:gd name="T20" fmla="*/ 78 w 162"/>
                <a:gd name="T21" fmla="*/ 8 h 364"/>
                <a:gd name="T22" fmla="*/ 77 w 162"/>
                <a:gd name="T23" fmla="*/ 8 h 364"/>
                <a:gd name="T24" fmla="*/ 78 w 162"/>
                <a:gd name="T25" fmla="*/ 73 h 364"/>
                <a:gd name="T26" fmla="*/ 52 w 162"/>
                <a:gd name="T27" fmla="*/ 131 h 364"/>
                <a:gd name="T28" fmla="*/ 42 w 162"/>
                <a:gd name="T29" fmla="*/ 96 h 364"/>
                <a:gd name="T30" fmla="*/ 38 w 162"/>
                <a:gd name="T31" fmla="*/ 43 h 364"/>
                <a:gd name="T32" fmla="*/ 37 w 162"/>
                <a:gd name="T33" fmla="*/ 43 h 364"/>
                <a:gd name="T34" fmla="*/ 49 w 162"/>
                <a:gd name="T35" fmla="*/ 139 h 364"/>
                <a:gd name="T36" fmla="*/ 36 w 162"/>
                <a:gd name="T37" fmla="*/ 175 h 364"/>
                <a:gd name="T38" fmla="*/ 0 w 162"/>
                <a:gd name="T39" fmla="*/ 363 h 364"/>
                <a:gd name="T40" fmla="*/ 2 w 162"/>
                <a:gd name="T41" fmla="*/ 363 h 364"/>
                <a:gd name="T42" fmla="*/ 43 w 162"/>
                <a:gd name="T43" fmla="*/ 177 h 364"/>
                <a:gd name="T44" fmla="*/ 69 w 162"/>
                <a:gd name="T45" fmla="*/ 108 h 364"/>
                <a:gd name="T46" fmla="*/ 117 w 162"/>
                <a:gd name="T47" fmla="*/ 91 h 364"/>
                <a:gd name="T48" fmla="*/ 161 w 162"/>
                <a:gd name="T49" fmla="*/ 70 h 364"/>
                <a:gd name="T50" fmla="*/ 160 w 162"/>
                <a:gd name="T51" fmla="*/ 6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2" h="364">
                  <a:moveTo>
                    <a:pt x="160" y="69"/>
                  </a:moveTo>
                  <a:cubicBezTo>
                    <a:pt x="143" y="78"/>
                    <a:pt x="126" y="84"/>
                    <a:pt x="107" y="90"/>
                  </a:cubicBezTo>
                  <a:cubicBezTo>
                    <a:pt x="96" y="94"/>
                    <a:pt x="83" y="97"/>
                    <a:pt x="72" y="103"/>
                  </a:cubicBezTo>
                  <a:cubicBezTo>
                    <a:pt x="83" y="77"/>
                    <a:pt x="96" y="52"/>
                    <a:pt x="109" y="28"/>
                  </a:cubicBezTo>
                  <a:cubicBezTo>
                    <a:pt x="127" y="22"/>
                    <a:pt x="145" y="15"/>
                    <a:pt x="158" y="2"/>
                  </a:cubicBezTo>
                  <a:cubicBezTo>
                    <a:pt x="159" y="1"/>
                    <a:pt x="158" y="0"/>
                    <a:pt x="157" y="1"/>
                  </a:cubicBezTo>
                  <a:cubicBezTo>
                    <a:pt x="143" y="11"/>
                    <a:pt x="127" y="17"/>
                    <a:pt x="111" y="24"/>
                  </a:cubicBezTo>
                  <a:cubicBezTo>
                    <a:pt x="115" y="18"/>
                    <a:pt x="118" y="11"/>
                    <a:pt x="122" y="4"/>
                  </a:cubicBezTo>
                  <a:cubicBezTo>
                    <a:pt x="123" y="2"/>
                    <a:pt x="120" y="1"/>
                    <a:pt x="119" y="2"/>
                  </a:cubicBezTo>
                  <a:cubicBezTo>
                    <a:pt x="105" y="23"/>
                    <a:pt x="92" y="45"/>
                    <a:pt x="81" y="67"/>
                  </a:cubicBezTo>
                  <a:cubicBezTo>
                    <a:pt x="78" y="47"/>
                    <a:pt x="77" y="28"/>
                    <a:pt x="78" y="8"/>
                  </a:cubicBezTo>
                  <a:cubicBezTo>
                    <a:pt x="78" y="7"/>
                    <a:pt x="77" y="7"/>
                    <a:pt x="77" y="8"/>
                  </a:cubicBezTo>
                  <a:cubicBezTo>
                    <a:pt x="74" y="29"/>
                    <a:pt x="74" y="52"/>
                    <a:pt x="78" y="73"/>
                  </a:cubicBezTo>
                  <a:cubicBezTo>
                    <a:pt x="68" y="92"/>
                    <a:pt x="60" y="111"/>
                    <a:pt x="52" y="131"/>
                  </a:cubicBezTo>
                  <a:cubicBezTo>
                    <a:pt x="49" y="119"/>
                    <a:pt x="45" y="107"/>
                    <a:pt x="42" y="96"/>
                  </a:cubicBezTo>
                  <a:cubicBezTo>
                    <a:pt x="38" y="78"/>
                    <a:pt x="36" y="61"/>
                    <a:pt x="38" y="43"/>
                  </a:cubicBezTo>
                  <a:cubicBezTo>
                    <a:pt x="38" y="43"/>
                    <a:pt x="37" y="43"/>
                    <a:pt x="37" y="43"/>
                  </a:cubicBezTo>
                  <a:cubicBezTo>
                    <a:pt x="32" y="74"/>
                    <a:pt x="37" y="109"/>
                    <a:pt x="49" y="139"/>
                  </a:cubicBezTo>
                  <a:cubicBezTo>
                    <a:pt x="44" y="151"/>
                    <a:pt x="40" y="163"/>
                    <a:pt x="36" y="175"/>
                  </a:cubicBezTo>
                  <a:cubicBezTo>
                    <a:pt x="16" y="236"/>
                    <a:pt x="3" y="298"/>
                    <a:pt x="0" y="363"/>
                  </a:cubicBezTo>
                  <a:cubicBezTo>
                    <a:pt x="0" y="364"/>
                    <a:pt x="2" y="364"/>
                    <a:pt x="2" y="363"/>
                  </a:cubicBezTo>
                  <a:cubicBezTo>
                    <a:pt x="10" y="300"/>
                    <a:pt x="23" y="237"/>
                    <a:pt x="43" y="177"/>
                  </a:cubicBezTo>
                  <a:cubicBezTo>
                    <a:pt x="51" y="153"/>
                    <a:pt x="60" y="130"/>
                    <a:pt x="69" y="108"/>
                  </a:cubicBezTo>
                  <a:cubicBezTo>
                    <a:pt x="85" y="103"/>
                    <a:pt x="101" y="97"/>
                    <a:pt x="117" y="91"/>
                  </a:cubicBezTo>
                  <a:cubicBezTo>
                    <a:pt x="132" y="86"/>
                    <a:pt x="148" y="80"/>
                    <a:pt x="161" y="70"/>
                  </a:cubicBezTo>
                  <a:cubicBezTo>
                    <a:pt x="162" y="69"/>
                    <a:pt x="161" y="69"/>
                    <a:pt x="160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24">
              <a:extLst>
                <a:ext uri="{FF2B5EF4-FFF2-40B4-BE49-F238E27FC236}">
                  <a16:creationId xmlns:a16="http://schemas.microsoft.com/office/drawing/2014/main" id="{90CD9AD1-77DB-438A-ABBF-351472CC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" y="2861"/>
              <a:ext cx="121" cy="52"/>
            </a:xfrm>
            <a:custGeom>
              <a:avLst/>
              <a:gdLst>
                <a:gd name="T0" fmla="*/ 50 w 51"/>
                <a:gd name="T1" fmla="*/ 0 h 22"/>
                <a:gd name="T2" fmla="*/ 1 w 51"/>
                <a:gd name="T3" fmla="*/ 21 h 22"/>
                <a:gd name="T4" fmla="*/ 1 w 51"/>
                <a:gd name="T5" fmla="*/ 22 h 22"/>
                <a:gd name="T6" fmla="*/ 50 w 51"/>
                <a:gd name="T7" fmla="*/ 1 h 22"/>
                <a:gd name="T8" fmla="*/ 50 w 5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0" y="0"/>
                  </a:moveTo>
                  <a:cubicBezTo>
                    <a:pt x="33" y="6"/>
                    <a:pt x="17" y="15"/>
                    <a:pt x="1" y="21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19" y="18"/>
                    <a:pt x="36" y="13"/>
                    <a:pt x="50" y="1"/>
                  </a:cubicBezTo>
                  <a:cubicBezTo>
                    <a:pt x="51" y="1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25">
              <a:extLst>
                <a:ext uri="{FF2B5EF4-FFF2-40B4-BE49-F238E27FC236}">
                  <a16:creationId xmlns:a16="http://schemas.microsoft.com/office/drawing/2014/main" id="{9AA384EB-2512-4073-A8CA-1E4127215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" y="2773"/>
              <a:ext cx="24" cy="117"/>
            </a:xfrm>
            <a:custGeom>
              <a:avLst/>
              <a:gdLst>
                <a:gd name="T0" fmla="*/ 9 w 10"/>
                <a:gd name="T1" fmla="*/ 2 h 49"/>
                <a:gd name="T2" fmla="*/ 8 w 10"/>
                <a:gd name="T3" fmla="*/ 1 h 49"/>
                <a:gd name="T4" fmla="*/ 5 w 10"/>
                <a:gd name="T5" fmla="*/ 48 h 49"/>
                <a:gd name="T6" fmla="*/ 6 w 10"/>
                <a:gd name="T7" fmla="*/ 48 h 49"/>
                <a:gd name="T8" fmla="*/ 9 w 10"/>
                <a:gd name="T9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9">
                  <a:moveTo>
                    <a:pt x="9" y="2"/>
                  </a:moveTo>
                  <a:cubicBezTo>
                    <a:pt x="10" y="1"/>
                    <a:pt x="8" y="0"/>
                    <a:pt x="8" y="1"/>
                  </a:cubicBezTo>
                  <a:cubicBezTo>
                    <a:pt x="4" y="17"/>
                    <a:pt x="0" y="33"/>
                    <a:pt x="5" y="48"/>
                  </a:cubicBezTo>
                  <a:cubicBezTo>
                    <a:pt x="5" y="49"/>
                    <a:pt x="6" y="49"/>
                    <a:pt x="6" y="48"/>
                  </a:cubicBezTo>
                  <a:cubicBezTo>
                    <a:pt x="7" y="33"/>
                    <a:pt x="6" y="17"/>
                    <a:pt x="9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26">
              <a:extLst>
                <a:ext uri="{FF2B5EF4-FFF2-40B4-BE49-F238E27FC236}">
                  <a16:creationId xmlns:a16="http://schemas.microsoft.com/office/drawing/2014/main" id="{0E56CD10-A6C7-43DB-AB99-00E25E182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2690"/>
              <a:ext cx="23" cy="67"/>
            </a:xfrm>
            <a:custGeom>
              <a:avLst/>
              <a:gdLst>
                <a:gd name="T0" fmla="*/ 8 w 10"/>
                <a:gd name="T1" fmla="*/ 1 h 28"/>
                <a:gd name="T2" fmla="*/ 1 w 10"/>
                <a:gd name="T3" fmla="*/ 27 h 28"/>
                <a:gd name="T4" fmla="*/ 2 w 10"/>
                <a:gd name="T5" fmla="*/ 28 h 28"/>
                <a:gd name="T6" fmla="*/ 10 w 10"/>
                <a:gd name="T7" fmla="*/ 2 h 28"/>
                <a:gd name="T8" fmla="*/ 8 w 10"/>
                <a:gd name="T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8">
                  <a:moveTo>
                    <a:pt x="8" y="1"/>
                  </a:moveTo>
                  <a:cubicBezTo>
                    <a:pt x="2" y="9"/>
                    <a:pt x="0" y="19"/>
                    <a:pt x="1" y="27"/>
                  </a:cubicBezTo>
                  <a:cubicBezTo>
                    <a:pt x="1" y="28"/>
                    <a:pt x="2" y="28"/>
                    <a:pt x="2" y="28"/>
                  </a:cubicBezTo>
                  <a:cubicBezTo>
                    <a:pt x="4" y="19"/>
                    <a:pt x="7" y="11"/>
                    <a:pt x="10" y="2"/>
                  </a:cubicBezTo>
                  <a:cubicBezTo>
                    <a:pt x="10" y="1"/>
                    <a:pt x="9" y="0"/>
                    <a:pt x="8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27">
              <a:extLst>
                <a:ext uri="{FF2B5EF4-FFF2-40B4-BE49-F238E27FC236}">
                  <a16:creationId xmlns:a16="http://schemas.microsoft.com/office/drawing/2014/main" id="{E7F6ED53-77C6-4CE1-96FA-D76C7A276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" y="3082"/>
              <a:ext cx="442" cy="276"/>
            </a:xfrm>
            <a:custGeom>
              <a:avLst/>
              <a:gdLst>
                <a:gd name="T0" fmla="*/ 7 w 186"/>
                <a:gd name="T1" fmla="*/ 55 h 116"/>
                <a:gd name="T2" fmla="*/ 64 w 186"/>
                <a:gd name="T3" fmla="*/ 115 h 116"/>
                <a:gd name="T4" fmla="*/ 122 w 186"/>
                <a:gd name="T5" fmla="*/ 113 h 116"/>
                <a:gd name="T6" fmla="*/ 184 w 186"/>
                <a:gd name="T7" fmla="*/ 114 h 116"/>
                <a:gd name="T8" fmla="*/ 132 w 186"/>
                <a:gd name="T9" fmla="*/ 21 h 116"/>
                <a:gd name="T10" fmla="*/ 85 w 186"/>
                <a:gd name="T11" fmla="*/ 7 h 116"/>
                <a:gd name="T12" fmla="*/ 29 w 186"/>
                <a:gd name="T13" fmla="*/ 1 h 116"/>
                <a:gd name="T14" fmla="*/ 4 w 186"/>
                <a:gd name="T15" fmla="*/ 16 h 116"/>
                <a:gd name="T16" fmla="*/ 7 w 186"/>
                <a:gd name="T17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116">
                  <a:moveTo>
                    <a:pt x="7" y="55"/>
                  </a:moveTo>
                  <a:cubicBezTo>
                    <a:pt x="15" y="80"/>
                    <a:pt x="34" y="115"/>
                    <a:pt x="64" y="115"/>
                  </a:cubicBezTo>
                  <a:cubicBezTo>
                    <a:pt x="83" y="116"/>
                    <a:pt x="103" y="113"/>
                    <a:pt x="122" y="113"/>
                  </a:cubicBezTo>
                  <a:cubicBezTo>
                    <a:pt x="143" y="113"/>
                    <a:pt x="164" y="113"/>
                    <a:pt x="184" y="114"/>
                  </a:cubicBezTo>
                  <a:cubicBezTo>
                    <a:pt x="186" y="114"/>
                    <a:pt x="182" y="52"/>
                    <a:pt x="132" y="21"/>
                  </a:cubicBezTo>
                  <a:cubicBezTo>
                    <a:pt x="118" y="13"/>
                    <a:pt x="101" y="10"/>
                    <a:pt x="85" y="7"/>
                  </a:cubicBezTo>
                  <a:cubicBezTo>
                    <a:pt x="67" y="3"/>
                    <a:pt x="48" y="0"/>
                    <a:pt x="29" y="1"/>
                  </a:cubicBezTo>
                  <a:cubicBezTo>
                    <a:pt x="18" y="1"/>
                    <a:pt x="8" y="4"/>
                    <a:pt x="4" y="16"/>
                  </a:cubicBezTo>
                  <a:cubicBezTo>
                    <a:pt x="0" y="28"/>
                    <a:pt x="3" y="43"/>
                    <a:pt x="7" y="55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28">
              <a:extLst>
                <a:ext uri="{FF2B5EF4-FFF2-40B4-BE49-F238E27FC236}">
                  <a16:creationId xmlns:a16="http://schemas.microsoft.com/office/drawing/2014/main" id="{73D37F14-A199-44D2-A6BA-3D4E63EF1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3108"/>
              <a:ext cx="494" cy="534"/>
            </a:xfrm>
            <a:custGeom>
              <a:avLst/>
              <a:gdLst>
                <a:gd name="T0" fmla="*/ 3 w 208"/>
                <a:gd name="T1" fmla="*/ 12 h 225"/>
                <a:gd name="T2" fmla="*/ 39 w 208"/>
                <a:gd name="T3" fmla="*/ 23 h 225"/>
                <a:gd name="T4" fmla="*/ 29 w 208"/>
                <a:gd name="T5" fmla="*/ 13 h 225"/>
                <a:gd name="T6" fmla="*/ 12 w 208"/>
                <a:gd name="T7" fmla="*/ 2 h 225"/>
                <a:gd name="T8" fmla="*/ 13 w 208"/>
                <a:gd name="T9" fmla="*/ 1 h 225"/>
                <a:gd name="T10" fmla="*/ 42 w 208"/>
                <a:gd name="T11" fmla="*/ 24 h 225"/>
                <a:gd name="T12" fmla="*/ 87 w 208"/>
                <a:gd name="T13" fmla="*/ 40 h 225"/>
                <a:gd name="T14" fmla="*/ 116 w 208"/>
                <a:gd name="T15" fmla="*/ 55 h 225"/>
                <a:gd name="T16" fmla="*/ 105 w 208"/>
                <a:gd name="T17" fmla="*/ 37 h 225"/>
                <a:gd name="T18" fmla="*/ 81 w 208"/>
                <a:gd name="T19" fmla="*/ 18 h 225"/>
                <a:gd name="T20" fmla="*/ 82 w 208"/>
                <a:gd name="T21" fmla="*/ 17 h 225"/>
                <a:gd name="T22" fmla="*/ 121 w 208"/>
                <a:gd name="T23" fmla="*/ 59 h 225"/>
                <a:gd name="T24" fmla="*/ 149 w 208"/>
                <a:gd name="T25" fmla="*/ 85 h 225"/>
                <a:gd name="T26" fmla="*/ 208 w 208"/>
                <a:gd name="T27" fmla="*/ 223 h 225"/>
                <a:gd name="T28" fmla="*/ 206 w 208"/>
                <a:gd name="T29" fmla="*/ 223 h 225"/>
                <a:gd name="T30" fmla="*/ 143 w 208"/>
                <a:gd name="T31" fmla="*/ 88 h 225"/>
                <a:gd name="T32" fmla="*/ 136 w 208"/>
                <a:gd name="T33" fmla="*/ 80 h 225"/>
                <a:gd name="T34" fmla="*/ 108 w 208"/>
                <a:gd name="T35" fmla="*/ 78 h 225"/>
                <a:gd name="T36" fmla="*/ 77 w 208"/>
                <a:gd name="T37" fmla="*/ 80 h 225"/>
                <a:gd name="T38" fmla="*/ 24 w 208"/>
                <a:gd name="T39" fmla="*/ 73 h 225"/>
                <a:gd name="T40" fmla="*/ 25 w 208"/>
                <a:gd name="T41" fmla="*/ 72 h 225"/>
                <a:gd name="T42" fmla="*/ 132 w 208"/>
                <a:gd name="T43" fmla="*/ 76 h 225"/>
                <a:gd name="T44" fmla="*/ 80 w 208"/>
                <a:gd name="T45" fmla="*/ 43 h 225"/>
                <a:gd name="T46" fmla="*/ 77 w 208"/>
                <a:gd name="T47" fmla="*/ 41 h 225"/>
                <a:gd name="T48" fmla="*/ 9 w 208"/>
                <a:gd name="T49" fmla="*/ 43 h 225"/>
                <a:gd name="T50" fmla="*/ 9 w 208"/>
                <a:gd name="T51" fmla="*/ 42 h 225"/>
                <a:gd name="T52" fmla="*/ 71 w 208"/>
                <a:gd name="T53" fmla="*/ 39 h 225"/>
                <a:gd name="T54" fmla="*/ 2 w 208"/>
                <a:gd name="T55" fmla="*/ 14 h 225"/>
                <a:gd name="T56" fmla="*/ 3 w 208"/>
                <a:gd name="T57" fmla="*/ 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8" h="225">
                  <a:moveTo>
                    <a:pt x="3" y="12"/>
                  </a:moveTo>
                  <a:cubicBezTo>
                    <a:pt x="15" y="16"/>
                    <a:pt x="27" y="19"/>
                    <a:pt x="39" y="23"/>
                  </a:cubicBezTo>
                  <a:cubicBezTo>
                    <a:pt x="36" y="20"/>
                    <a:pt x="33" y="16"/>
                    <a:pt x="29" y="13"/>
                  </a:cubicBezTo>
                  <a:cubicBezTo>
                    <a:pt x="24" y="9"/>
                    <a:pt x="18" y="5"/>
                    <a:pt x="12" y="2"/>
                  </a:cubicBezTo>
                  <a:cubicBezTo>
                    <a:pt x="12" y="1"/>
                    <a:pt x="12" y="0"/>
                    <a:pt x="13" y="1"/>
                  </a:cubicBezTo>
                  <a:cubicBezTo>
                    <a:pt x="24" y="5"/>
                    <a:pt x="35" y="14"/>
                    <a:pt x="42" y="24"/>
                  </a:cubicBezTo>
                  <a:cubicBezTo>
                    <a:pt x="58" y="29"/>
                    <a:pt x="73" y="34"/>
                    <a:pt x="87" y="40"/>
                  </a:cubicBezTo>
                  <a:cubicBezTo>
                    <a:pt x="97" y="45"/>
                    <a:pt x="107" y="50"/>
                    <a:pt x="116" y="55"/>
                  </a:cubicBezTo>
                  <a:cubicBezTo>
                    <a:pt x="112" y="49"/>
                    <a:pt x="110" y="43"/>
                    <a:pt x="105" y="37"/>
                  </a:cubicBezTo>
                  <a:cubicBezTo>
                    <a:pt x="99" y="29"/>
                    <a:pt x="90" y="24"/>
                    <a:pt x="81" y="18"/>
                  </a:cubicBezTo>
                  <a:cubicBezTo>
                    <a:pt x="80" y="17"/>
                    <a:pt x="81" y="16"/>
                    <a:pt x="82" y="17"/>
                  </a:cubicBezTo>
                  <a:cubicBezTo>
                    <a:pt x="101" y="25"/>
                    <a:pt x="113" y="39"/>
                    <a:pt x="121" y="59"/>
                  </a:cubicBezTo>
                  <a:cubicBezTo>
                    <a:pt x="131" y="66"/>
                    <a:pt x="140" y="75"/>
                    <a:pt x="149" y="85"/>
                  </a:cubicBezTo>
                  <a:cubicBezTo>
                    <a:pt x="182" y="122"/>
                    <a:pt x="208" y="172"/>
                    <a:pt x="208" y="223"/>
                  </a:cubicBezTo>
                  <a:cubicBezTo>
                    <a:pt x="208" y="224"/>
                    <a:pt x="206" y="225"/>
                    <a:pt x="206" y="223"/>
                  </a:cubicBezTo>
                  <a:cubicBezTo>
                    <a:pt x="197" y="173"/>
                    <a:pt x="177" y="127"/>
                    <a:pt x="143" y="88"/>
                  </a:cubicBezTo>
                  <a:cubicBezTo>
                    <a:pt x="141" y="85"/>
                    <a:pt x="138" y="83"/>
                    <a:pt x="136" y="80"/>
                  </a:cubicBezTo>
                  <a:cubicBezTo>
                    <a:pt x="127" y="79"/>
                    <a:pt x="118" y="78"/>
                    <a:pt x="108" y="78"/>
                  </a:cubicBezTo>
                  <a:cubicBezTo>
                    <a:pt x="98" y="78"/>
                    <a:pt x="87" y="80"/>
                    <a:pt x="77" y="80"/>
                  </a:cubicBezTo>
                  <a:cubicBezTo>
                    <a:pt x="59" y="82"/>
                    <a:pt x="40" y="82"/>
                    <a:pt x="24" y="73"/>
                  </a:cubicBezTo>
                  <a:cubicBezTo>
                    <a:pt x="24" y="73"/>
                    <a:pt x="24" y="72"/>
                    <a:pt x="25" y="72"/>
                  </a:cubicBezTo>
                  <a:cubicBezTo>
                    <a:pt x="60" y="85"/>
                    <a:pt x="97" y="68"/>
                    <a:pt x="132" y="76"/>
                  </a:cubicBezTo>
                  <a:cubicBezTo>
                    <a:pt x="117" y="62"/>
                    <a:pt x="100" y="51"/>
                    <a:pt x="80" y="43"/>
                  </a:cubicBezTo>
                  <a:cubicBezTo>
                    <a:pt x="79" y="42"/>
                    <a:pt x="78" y="42"/>
                    <a:pt x="77" y="41"/>
                  </a:cubicBezTo>
                  <a:cubicBezTo>
                    <a:pt x="54" y="44"/>
                    <a:pt x="30" y="50"/>
                    <a:pt x="9" y="43"/>
                  </a:cubicBezTo>
                  <a:cubicBezTo>
                    <a:pt x="8" y="42"/>
                    <a:pt x="8" y="41"/>
                    <a:pt x="9" y="42"/>
                  </a:cubicBezTo>
                  <a:cubicBezTo>
                    <a:pt x="30" y="47"/>
                    <a:pt x="50" y="40"/>
                    <a:pt x="71" y="39"/>
                  </a:cubicBezTo>
                  <a:cubicBezTo>
                    <a:pt x="48" y="30"/>
                    <a:pt x="25" y="23"/>
                    <a:pt x="2" y="14"/>
                  </a:cubicBezTo>
                  <a:cubicBezTo>
                    <a:pt x="1" y="14"/>
                    <a:pt x="0" y="12"/>
                    <a:pt x="3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29">
              <a:extLst>
                <a:ext uri="{FF2B5EF4-FFF2-40B4-BE49-F238E27FC236}">
                  <a16:creationId xmlns:a16="http://schemas.microsoft.com/office/drawing/2014/main" id="{DC80925C-99E8-4C31-80C9-A093E7AF1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3191"/>
              <a:ext cx="78" cy="12"/>
            </a:xfrm>
            <a:custGeom>
              <a:avLst/>
              <a:gdLst>
                <a:gd name="T0" fmla="*/ 1 w 33"/>
                <a:gd name="T1" fmla="*/ 0 h 5"/>
                <a:gd name="T2" fmla="*/ 33 w 33"/>
                <a:gd name="T3" fmla="*/ 2 h 5"/>
                <a:gd name="T4" fmla="*/ 33 w 33"/>
                <a:gd name="T5" fmla="*/ 3 h 5"/>
                <a:gd name="T6" fmla="*/ 0 w 33"/>
                <a:gd name="T7" fmla="*/ 0 h 5"/>
                <a:gd name="T8" fmla="*/ 1 w 3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5">
                  <a:moveTo>
                    <a:pt x="1" y="0"/>
                  </a:moveTo>
                  <a:cubicBezTo>
                    <a:pt x="12" y="1"/>
                    <a:pt x="22" y="2"/>
                    <a:pt x="33" y="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3" y="5"/>
                    <a:pt x="11" y="4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30">
              <a:extLst>
                <a:ext uri="{FF2B5EF4-FFF2-40B4-BE49-F238E27FC236}">
                  <a16:creationId xmlns:a16="http://schemas.microsoft.com/office/drawing/2014/main" id="{BD34B84C-3068-47B5-8157-2A618E504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3139"/>
              <a:ext cx="43" cy="31"/>
            </a:xfrm>
            <a:custGeom>
              <a:avLst/>
              <a:gdLst>
                <a:gd name="T0" fmla="*/ 2 w 18"/>
                <a:gd name="T1" fmla="*/ 0 h 13"/>
                <a:gd name="T2" fmla="*/ 18 w 18"/>
                <a:gd name="T3" fmla="*/ 11 h 13"/>
                <a:gd name="T4" fmla="*/ 17 w 18"/>
                <a:gd name="T5" fmla="*/ 12 h 13"/>
                <a:gd name="T6" fmla="*/ 9 w 18"/>
                <a:gd name="T7" fmla="*/ 7 h 13"/>
                <a:gd name="T8" fmla="*/ 1 w 18"/>
                <a:gd name="T9" fmla="*/ 2 h 13"/>
                <a:gd name="T10" fmla="*/ 2 w 1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2" y="0"/>
                  </a:moveTo>
                  <a:cubicBezTo>
                    <a:pt x="8" y="2"/>
                    <a:pt x="13" y="7"/>
                    <a:pt x="18" y="11"/>
                  </a:cubicBezTo>
                  <a:cubicBezTo>
                    <a:pt x="18" y="12"/>
                    <a:pt x="18" y="13"/>
                    <a:pt x="17" y="12"/>
                  </a:cubicBezTo>
                  <a:cubicBezTo>
                    <a:pt x="14" y="10"/>
                    <a:pt x="11" y="9"/>
                    <a:pt x="9" y="7"/>
                  </a:cubicBezTo>
                  <a:cubicBezTo>
                    <a:pt x="6" y="5"/>
                    <a:pt x="3" y="4"/>
                    <a:pt x="1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31">
              <a:extLst>
                <a:ext uri="{FF2B5EF4-FFF2-40B4-BE49-F238E27FC236}">
                  <a16:creationId xmlns:a16="http://schemas.microsoft.com/office/drawing/2014/main" id="{8A7769BE-8121-4C24-A084-4CD4C2445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" y="3115"/>
              <a:ext cx="347" cy="250"/>
            </a:xfrm>
            <a:custGeom>
              <a:avLst/>
              <a:gdLst>
                <a:gd name="T0" fmla="*/ 0 w 146"/>
                <a:gd name="T1" fmla="*/ 91 h 105"/>
                <a:gd name="T2" fmla="*/ 1 w 146"/>
                <a:gd name="T3" fmla="*/ 92 h 105"/>
                <a:gd name="T4" fmla="*/ 1 w 146"/>
                <a:gd name="T5" fmla="*/ 92 h 105"/>
                <a:gd name="T6" fmla="*/ 2 w 146"/>
                <a:gd name="T7" fmla="*/ 92 h 105"/>
                <a:gd name="T8" fmla="*/ 63 w 146"/>
                <a:gd name="T9" fmla="*/ 103 h 105"/>
                <a:gd name="T10" fmla="*/ 113 w 146"/>
                <a:gd name="T11" fmla="*/ 96 h 105"/>
                <a:gd name="T12" fmla="*/ 135 w 146"/>
                <a:gd name="T13" fmla="*/ 26 h 105"/>
                <a:gd name="T14" fmla="*/ 66 w 146"/>
                <a:gd name="T15" fmla="*/ 23 h 105"/>
                <a:gd name="T16" fmla="*/ 0 w 146"/>
                <a:gd name="T17" fmla="*/ 9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105">
                  <a:moveTo>
                    <a:pt x="0" y="91"/>
                  </a:moveTo>
                  <a:cubicBezTo>
                    <a:pt x="0" y="92"/>
                    <a:pt x="1" y="93"/>
                    <a:pt x="1" y="92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22" y="97"/>
                    <a:pt x="43" y="101"/>
                    <a:pt x="63" y="103"/>
                  </a:cubicBezTo>
                  <a:cubicBezTo>
                    <a:pt x="80" y="104"/>
                    <a:pt x="99" y="105"/>
                    <a:pt x="113" y="96"/>
                  </a:cubicBezTo>
                  <a:cubicBezTo>
                    <a:pt x="133" y="83"/>
                    <a:pt x="146" y="48"/>
                    <a:pt x="135" y="26"/>
                  </a:cubicBezTo>
                  <a:cubicBezTo>
                    <a:pt x="123" y="0"/>
                    <a:pt x="85" y="14"/>
                    <a:pt x="66" y="23"/>
                  </a:cubicBezTo>
                  <a:cubicBezTo>
                    <a:pt x="37" y="38"/>
                    <a:pt x="13" y="62"/>
                    <a:pt x="0" y="91"/>
                  </a:cubicBezTo>
                  <a:close/>
                </a:path>
              </a:pathLst>
            </a:custGeom>
            <a:solidFill>
              <a:srgbClr val="81E3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32">
              <a:extLst>
                <a:ext uri="{FF2B5EF4-FFF2-40B4-BE49-F238E27FC236}">
                  <a16:creationId xmlns:a16="http://schemas.microsoft.com/office/drawing/2014/main" id="{E764422E-2BFF-4D2D-87FD-BAD957B9A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3177"/>
              <a:ext cx="455" cy="480"/>
            </a:xfrm>
            <a:custGeom>
              <a:avLst/>
              <a:gdLst>
                <a:gd name="T0" fmla="*/ 61 w 192"/>
                <a:gd name="T1" fmla="*/ 77 h 202"/>
                <a:gd name="T2" fmla="*/ 98 w 192"/>
                <a:gd name="T3" fmla="*/ 50 h 202"/>
                <a:gd name="T4" fmla="*/ 135 w 192"/>
                <a:gd name="T5" fmla="*/ 12 h 202"/>
                <a:gd name="T6" fmla="*/ 135 w 192"/>
                <a:gd name="T7" fmla="*/ 13 h 202"/>
                <a:gd name="T8" fmla="*/ 104 w 192"/>
                <a:gd name="T9" fmla="*/ 46 h 202"/>
                <a:gd name="T10" fmla="*/ 150 w 192"/>
                <a:gd name="T11" fmla="*/ 25 h 202"/>
                <a:gd name="T12" fmla="*/ 175 w 192"/>
                <a:gd name="T13" fmla="*/ 0 h 202"/>
                <a:gd name="T14" fmla="*/ 175 w 192"/>
                <a:gd name="T15" fmla="*/ 1 h 202"/>
                <a:gd name="T16" fmla="*/ 153 w 192"/>
                <a:gd name="T17" fmla="*/ 24 h 202"/>
                <a:gd name="T18" fmla="*/ 181 w 192"/>
                <a:gd name="T19" fmla="*/ 14 h 202"/>
                <a:gd name="T20" fmla="*/ 181 w 192"/>
                <a:gd name="T21" fmla="*/ 15 h 202"/>
                <a:gd name="T22" fmla="*/ 131 w 192"/>
                <a:gd name="T23" fmla="*/ 37 h 202"/>
                <a:gd name="T24" fmla="*/ 192 w 192"/>
                <a:gd name="T25" fmla="*/ 37 h 202"/>
                <a:gd name="T26" fmla="*/ 192 w 192"/>
                <a:gd name="T27" fmla="*/ 38 h 202"/>
                <a:gd name="T28" fmla="*/ 127 w 192"/>
                <a:gd name="T29" fmla="*/ 38 h 202"/>
                <a:gd name="T30" fmla="*/ 97 w 192"/>
                <a:gd name="T31" fmla="*/ 56 h 202"/>
                <a:gd name="T32" fmla="*/ 121 w 192"/>
                <a:gd name="T33" fmla="*/ 58 h 202"/>
                <a:gd name="T34" fmla="*/ 165 w 192"/>
                <a:gd name="T35" fmla="*/ 63 h 202"/>
                <a:gd name="T36" fmla="*/ 165 w 192"/>
                <a:gd name="T37" fmla="*/ 64 h 202"/>
                <a:gd name="T38" fmla="*/ 91 w 192"/>
                <a:gd name="T39" fmla="*/ 59 h 202"/>
                <a:gd name="T40" fmla="*/ 65 w 192"/>
                <a:gd name="T41" fmla="*/ 81 h 202"/>
                <a:gd name="T42" fmla="*/ 27 w 192"/>
                <a:gd name="T43" fmla="*/ 134 h 202"/>
                <a:gd name="T44" fmla="*/ 2 w 192"/>
                <a:gd name="T45" fmla="*/ 201 h 202"/>
                <a:gd name="T46" fmla="*/ 0 w 192"/>
                <a:gd name="T47" fmla="*/ 200 h 202"/>
                <a:gd name="T48" fmla="*/ 61 w 192"/>
                <a:gd name="T49" fmla="*/ 7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2" h="202">
                  <a:moveTo>
                    <a:pt x="61" y="77"/>
                  </a:moveTo>
                  <a:cubicBezTo>
                    <a:pt x="72" y="66"/>
                    <a:pt x="85" y="57"/>
                    <a:pt x="98" y="50"/>
                  </a:cubicBezTo>
                  <a:cubicBezTo>
                    <a:pt x="107" y="34"/>
                    <a:pt x="120" y="22"/>
                    <a:pt x="135" y="12"/>
                  </a:cubicBezTo>
                  <a:cubicBezTo>
                    <a:pt x="135" y="11"/>
                    <a:pt x="136" y="13"/>
                    <a:pt x="135" y="13"/>
                  </a:cubicBezTo>
                  <a:cubicBezTo>
                    <a:pt x="123" y="23"/>
                    <a:pt x="113" y="34"/>
                    <a:pt x="104" y="46"/>
                  </a:cubicBezTo>
                  <a:cubicBezTo>
                    <a:pt x="119" y="38"/>
                    <a:pt x="134" y="31"/>
                    <a:pt x="150" y="25"/>
                  </a:cubicBezTo>
                  <a:cubicBezTo>
                    <a:pt x="156" y="15"/>
                    <a:pt x="164" y="6"/>
                    <a:pt x="175" y="0"/>
                  </a:cubicBezTo>
                  <a:cubicBezTo>
                    <a:pt x="175" y="1"/>
                    <a:pt x="175" y="1"/>
                    <a:pt x="175" y="1"/>
                  </a:cubicBezTo>
                  <a:cubicBezTo>
                    <a:pt x="166" y="8"/>
                    <a:pt x="159" y="15"/>
                    <a:pt x="153" y="24"/>
                  </a:cubicBezTo>
                  <a:cubicBezTo>
                    <a:pt x="162" y="21"/>
                    <a:pt x="171" y="17"/>
                    <a:pt x="181" y="14"/>
                  </a:cubicBezTo>
                  <a:cubicBezTo>
                    <a:pt x="182" y="14"/>
                    <a:pt x="182" y="15"/>
                    <a:pt x="181" y="15"/>
                  </a:cubicBezTo>
                  <a:cubicBezTo>
                    <a:pt x="164" y="22"/>
                    <a:pt x="147" y="29"/>
                    <a:pt x="131" y="37"/>
                  </a:cubicBezTo>
                  <a:cubicBezTo>
                    <a:pt x="152" y="40"/>
                    <a:pt x="170" y="40"/>
                    <a:pt x="192" y="37"/>
                  </a:cubicBezTo>
                  <a:cubicBezTo>
                    <a:pt x="192" y="37"/>
                    <a:pt x="192" y="37"/>
                    <a:pt x="192" y="38"/>
                  </a:cubicBezTo>
                  <a:cubicBezTo>
                    <a:pt x="171" y="43"/>
                    <a:pt x="148" y="44"/>
                    <a:pt x="127" y="38"/>
                  </a:cubicBezTo>
                  <a:cubicBezTo>
                    <a:pt x="117" y="44"/>
                    <a:pt x="106" y="49"/>
                    <a:pt x="97" y="56"/>
                  </a:cubicBezTo>
                  <a:cubicBezTo>
                    <a:pt x="105" y="55"/>
                    <a:pt x="113" y="56"/>
                    <a:pt x="121" y="58"/>
                  </a:cubicBezTo>
                  <a:cubicBezTo>
                    <a:pt x="136" y="61"/>
                    <a:pt x="150" y="63"/>
                    <a:pt x="165" y="63"/>
                  </a:cubicBezTo>
                  <a:cubicBezTo>
                    <a:pt x="166" y="63"/>
                    <a:pt x="166" y="64"/>
                    <a:pt x="165" y="64"/>
                  </a:cubicBezTo>
                  <a:cubicBezTo>
                    <a:pt x="140" y="68"/>
                    <a:pt x="116" y="56"/>
                    <a:pt x="91" y="59"/>
                  </a:cubicBezTo>
                  <a:cubicBezTo>
                    <a:pt x="82" y="66"/>
                    <a:pt x="73" y="73"/>
                    <a:pt x="65" y="81"/>
                  </a:cubicBezTo>
                  <a:cubicBezTo>
                    <a:pt x="49" y="96"/>
                    <a:pt x="37" y="115"/>
                    <a:pt x="27" y="134"/>
                  </a:cubicBezTo>
                  <a:cubicBezTo>
                    <a:pt x="16" y="156"/>
                    <a:pt x="11" y="179"/>
                    <a:pt x="2" y="201"/>
                  </a:cubicBezTo>
                  <a:cubicBezTo>
                    <a:pt x="2" y="202"/>
                    <a:pt x="0" y="201"/>
                    <a:pt x="0" y="200"/>
                  </a:cubicBezTo>
                  <a:cubicBezTo>
                    <a:pt x="8" y="157"/>
                    <a:pt x="30" y="108"/>
                    <a:pt x="61" y="7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33">
              <a:extLst>
                <a:ext uri="{FF2B5EF4-FFF2-40B4-BE49-F238E27FC236}">
                  <a16:creationId xmlns:a16="http://schemas.microsoft.com/office/drawing/2014/main" id="{3784B09E-3121-4AC1-805F-C539D3931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" y="3187"/>
              <a:ext cx="35" cy="33"/>
            </a:xfrm>
            <a:custGeom>
              <a:avLst/>
              <a:gdLst>
                <a:gd name="T0" fmla="*/ 1 w 15"/>
                <a:gd name="T1" fmla="*/ 13 h 14"/>
                <a:gd name="T2" fmla="*/ 7 w 15"/>
                <a:gd name="T3" fmla="*/ 6 h 14"/>
                <a:gd name="T4" fmla="*/ 14 w 15"/>
                <a:gd name="T5" fmla="*/ 0 h 14"/>
                <a:gd name="T6" fmla="*/ 15 w 15"/>
                <a:gd name="T7" fmla="*/ 0 h 14"/>
                <a:gd name="T8" fmla="*/ 8 w 15"/>
                <a:gd name="T9" fmla="*/ 7 h 14"/>
                <a:gd name="T10" fmla="*/ 1 w 15"/>
                <a:gd name="T11" fmla="*/ 14 h 14"/>
                <a:gd name="T12" fmla="*/ 1 w 15"/>
                <a:gd name="T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4">
                  <a:moveTo>
                    <a:pt x="1" y="13"/>
                  </a:moveTo>
                  <a:cubicBezTo>
                    <a:pt x="2" y="10"/>
                    <a:pt x="5" y="8"/>
                    <a:pt x="7" y="6"/>
                  </a:cubicBezTo>
                  <a:cubicBezTo>
                    <a:pt x="9" y="4"/>
                    <a:pt x="12" y="1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3"/>
                    <a:pt x="10" y="4"/>
                    <a:pt x="8" y="7"/>
                  </a:cubicBezTo>
                  <a:cubicBezTo>
                    <a:pt x="5" y="9"/>
                    <a:pt x="3" y="12"/>
                    <a:pt x="1" y="14"/>
                  </a:cubicBezTo>
                  <a:cubicBezTo>
                    <a:pt x="1" y="14"/>
                    <a:pt x="0" y="14"/>
                    <a:pt x="1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34">
              <a:extLst>
                <a:ext uri="{FF2B5EF4-FFF2-40B4-BE49-F238E27FC236}">
                  <a16:creationId xmlns:a16="http://schemas.microsoft.com/office/drawing/2014/main" id="{807150E6-00DE-4C3B-AD5C-464C833C3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" y="3239"/>
              <a:ext cx="56" cy="19"/>
            </a:xfrm>
            <a:custGeom>
              <a:avLst/>
              <a:gdLst>
                <a:gd name="T0" fmla="*/ 0 w 24"/>
                <a:gd name="T1" fmla="*/ 5 h 8"/>
                <a:gd name="T2" fmla="*/ 12 w 24"/>
                <a:gd name="T3" fmla="*/ 3 h 8"/>
                <a:gd name="T4" fmla="*/ 23 w 24"/>
                <a:gd name="T5" fmla="*/ 0 h 8"/>
                <a:gd name="T6" fmla="*/ 23 w 24"/>
                <a:gd name="T7" fmla="*/ 1 h 8"/>
                <a:gd name="T8" fmla="*/ 0 w 24"/>
                <a:gd name="T9" fmla="*/ 6 h 8"/>
                <a:gd name="T10" fmla="*/ 0 w 24"/>
                <a:gd name="T1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8">
                  <a:moveTo>
                    <a:pt x="0" y="5"/>
                  </a:moveTo>
                  <a:cubicBezTo>
                    <a:pt x="4" y="4"/>
                    <a:pt x="8" y="4"/>
                    <a:pt x="12" y="3"/>
                  </a:cubicBezTo>
                  <a:cubicBezTo>
                    <a:pt x="16" y="2"/>
                    <a:pt x="19" y="1"/>
                    <a:pt x="23" y="0"/>
                  </a:cubicBezTo>
                  <a:cubicBezTo>
                    <a:pt x="23" y="0"/>
                    <a:pt x="24" y="0"/>
                    <a:pt x="23" y="1"/>
                  </a:cubicBezTo>
                  <a:cubicBezTo>
                    <a:pt x="17" y="4"/>
                    <a:pt x="7" y="8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35">
              <a:extLst>
                <a:ext uri="{FF2B5EF4-FFF2-40B4-BE49-F238E27FC236}">
                  <a16:creationId xmlns:a16="http://schemas.microsoft.com/office/drawing/2014/main" id="{E688B7B4-7C43-4D67-ADFB-C666000A2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524"/>
              <a:ext cx="316" cy="392"/>
            </a:xfrm>
            <a:custGeom>
              <a:avLst/>
              <a:gdLst>
                <a:gd name="T0" fmla="*/ 0 w 316"/>
                <a:gd name="T1" fmla="*/ 0 h 392"/>
                <a:gd name="T2" fmla="*/ 10 w 316"/>
                <a:gd name="T3" fmla="*/ 90 h 392"/>
                <a:gd name="T4" fmla="*/ 36 w 316"/>
                <a:gd name="T5" fmla="*/ 392 h 392"/>
                <a:gd name="T6" fmla="*/ 271 w 316"/>
                <a:gd name="T7" fmla="*/ 392 h 392"/>
                <a:gd name="T8" fmla="*/ 304 w 316"/>
                <a:gd name="T9" fmla="*/ 90 h 392"/>
                <a:gd name="T10" fmla="*/ 316 w 316"/>
                <a:gd name="T11" fmla="*/ 0 h 392"/>
                <a:gd name="T12" fmla="*/ 0 w 316"/>
                <a:gd name="T13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392">
                  <a:moveTo>
                    <a:pt x="0" y="0"/>
                  </a:moveTo>
                  <a:lnTo>
                    <a:pt x="10" y="90"/>
                  </a:lnTo>
                  <a:lnTo>
                    <a:pt x="36" y="392"/>
                  </a:lnTo>
                  <a:lnTo>
                    <a:pt x="271" y="392"/>
                  </a:lnTo>
                  <a:lnTo>
                    <a:pt x="304" y="90"/>
                  </a:lnTo>
                  <a:lnTo>
                    <a:pt x="3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36">
              <a:extLst>
                <a:ext uri="{FF2B5EF4-FFF2-40B4-BE49-F238E27FC236}">
                  <a16:creationId xmlns:a16="http://schemas.microsoft.com/office/drawing/2014/main" id="{1142B125-12E5-4013-9A26-C383A44C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524"/>
              <a:ext cx="316" cy="90"/>
            </a:xfrm>
            <a:custGeom>
              <a:avLst/>
              <a:gdLst>
                <a:gd name="T0" fmla="*/ 0 w 316"/>
                <a:gd name="T1" fmla="*/ 0 h 90"/>
                <a:gd name="T2" fmla="*/ 10 w 316"/>
                <a:gd name="T3" fmla="*/ 90 h 90"/>
                <a:gd name="T4" fmla="*/ 304 w 316"/>
                <a:gd name="T5" fmla="*/ 90 h 90"/>
                <a:gd name="T6" fmla="*/ 316 w 316"/>
                <a:gd name="T7" fmla="*/ 0 h 90"/>
                <a:gd name="T8" fmla="*/ 0 w 316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90">
                  <a:moveTo>
                    <a:pt x="0" y="0"/>
                  </a:moveTo>
                  <a:lnTo>
                    <a:pt x="10" y="90"/>
                  </a:lnTo>
                  <a:lnTo>
                    <a:pt x="304" y="90"/>
                  </a:lnTo>
                  <a:lnTo>
                    <a:pt x="3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137">
              <a:extLst>
                <a:ext uri="{FF2B5EF4-FFF2-40B4-BE49-F238E27FC236}">
                  <a16:creationId xmlns:a16="http://schemas.microsoft.com/office/drawing/2014/main" id="{2C42346B-382B-4443-AB66-30AE283E5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2" y="3500"/>
              <a:ext cx="361" cy="74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38">
              <a:extLst>
                <a:ext uri="{FF2B5EF4-FFF2-40B4-BE49-F238E27FC236}">
                  <a16:creationId xmlns:a16="http://schemas.microsoft.com/office/drawing/2014/main" id="{F7533422-73A6-4FF7-836D-32501A30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362"/>
              <a:ext cx="618" cy="556"/>
            </a:xfrm>
            <a:custGeom>
              <a:avLst/>
              <a:gdLst>
                <a:gd name="T0" fmla="*/ 8 w 260"/>
                <a:gd name="T1" fmla="*/ 231 h 234"/>
                <a:gd name="T2" fmla="*/ 254 w 260"/>
                <a:gd name="T3" fmla="*/ 225 h 234"/>
                <a:gd name="T4" fmla="*/ 259 w 260"/>
                <a:gd name="T5" fmla="*/ 149 h 234"/>
                <a:gd name="T6" fmla="*/ 259 w 260"/>
                <a:gd name="T7" fmla="*/ 148 h 234"/>
                <a:gd name="T8" fmla="*/ 260 w 260"/>
                <a:gd name="T9" fmla="*/ 122 h 234"/>
                <a:gd name="T10" fmla="*/ 260 w 260"/>
                <a:gd name="T11" fmla="*/ 119 h 234"/>
                <a:gd name="T12" fmla="*/ 249 w 260"/>
                <a:gd name="T13" fmla="*/ 0 h 234"/>
                <a:gd name="T14" fmla="*/ 95 w 260"/>
                <a:gd name="T15" fmla="*/ 2 h 234"/>
                <a:gd name="T16" fmla="*/ 110 w 260"/>
                <a:gd name="T17" fmla="*/ 119 h 234"/>
                <a:gd name="T18" fmla="*/ 111 w 260"/>
                <a:gd name="T19" fmla="*/ 124 h 234"/>
                <a:gd name="T20" fmla="*/ 112 w 260"/>
                <a:gd name="T21" fmla="*/ 148 h 234"/>
                <a:gd name="T22" fmla="*/ 112 w 260"/>
                <a:gd name="T23" fmla="*/ 151 h 234"/>
                <a:gd name="T24" fmla="*/ 16 w 260"/>
                <a:gd name="T25" fmla="*/ 198 h 234"/>
                <a:gd name="T26" fmla="*/ 8 w 260"/>
                <a:gd name="T27" fmla="*/ 23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0" h="234">
                  <a:moveTo>
                    <a:pt x="8" y="231"/>
                  </a:moveTo>
                  <a:cubicBezTo>
                    <a:pt x="16" y="234"/>
                    <a:pt x="245" y="231"/>
                    <a:pt x="254" y="225"/>
                  </a:cubicBezTo>
                  <a:cubicBezTo>
                    <a:pt x="257" y="223"/>
                    <a:pt x="259" y="190"/>
                    <a:pt x="259" y="149"/>
                  </a:cubicBezTo>
                  <a:cubicBezTo>
                    <a:pt x="259" y="149"/>
                    <a:pt x="259" y="148"/>
                    <a:pt x="259" y="148"/>
                  </a:cubicBezTo>
                  <a:cubicBezTo>
                    <a:pt x="259" y="140"/>
                    <a:pt x="260" y="131"/>
                    <a:pt x="260" y="122"/>
                  </a:cubicBezTo>
                  <a:cubicBezTo>
                    <a:pt x="260" y="121"/>
                    <a:pt x="260" y="120"/>
                    <a:pt x="260" y="119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2" y="148"/>
                    <a:pt x="112" y="148"/>
                    <a:pt x="112" y="148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12" y="151"/>
                    <a:pt x="24" y="191"/>
                    <a:pt x="16" y="198"/>
                  </a:cubicBezTo>
                  <a:cubicBezTo>
                    <a:pt x="7" y="206"/>
                    <a:pt x="0" y="229"/>
                    <a:pt x="8" y="231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39">
              <a:extLst>
                <a:ext uri="{FF2B5EF4-FFF2-40B4-BE49-F238E27FC236}">
                  <a16:creationId xmlns:a16="http://schemas.microsoft.com/office/drawing/2014/main" id="{FB270EA9-F953-49A3-8146-DDF9454CE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645"/>
              <a:ext cx="618" cy="273"/>
            </a:xfrm>
            <a:custGeom>
              <a:avLst/>
              <a:gdLst>
                <a:gd name="T0" fmla="*/ 8 w 260"/>
                <a:gd name="T1" fmla="*/ 112 h 115"/>
                <a:gd name="T2" fmla="*/ 254 w 260"/>
                <a:gd name="T3" fmla="*/ 106 h 115"/>
                <a:gd name="T4" fmla="*/ 259 w 260"/>
                <a:gd name="T5" fmla="*/ 30 h 115"/>
                <a:gd name="T6" fmla="*/ 259 w 260"/>
                <a:gd name="T7" fmla="*/ 29 h 115"/>
                <a:gd name="T8" fmla="*/ 260 w 260"/>
                <a:gd name="T9" fmla="*/ 3 h 115"/>
                <a:gd name="T10" fmla="*/ 260 w 260"/>
                <a:gd name="T11" fmla="*/ 0 h 115"/>
                <a:gd name="T12" fmla="*/ 110 w 260"/>
                <a:gd name="T13" fmla="*/ 0 h 115"/>
                <a:gd name="T14" fmla="*/ 111 w 260"/>
                <a:gd name="T15" fmla="*/ 5 h 115"/>
                <a:gd name="T16" fmla="*/ 112 w 260"/>
                <a:gd name="T17" fmla="*/ 29 h 115"/>
                <a:gd name="T18" fmla="*/ 112 w 260"/>
                <a:gd name="T19" fmla="*/ 32 h 115"/>
                <a:gd name="T20" fmla="*/ 16 w 260"/>
                <a:gd name="T21" fmla="*/ 79 h 115"/>
                <a:gd name="T22" fmla="*/ 8 w 260"/>
                <a:gd name="T23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0" h="115">
                  <a:moveTo>
                    <a:pt x="8" y="112"/>
                  </a:moveTo>
                  <a:cubicBezTo>
                    <a:pt x="16" y="115"/>
                    <a:pt x="245" y="112"/>
                    <a:pt x="254" y="106"/>
                  </a:cubicBezTo>
                  <a:cubicBezTo>
                    <a:pt x="257" y="104"/>
                    <a:pt x="259" y="71"/>
                    <a:pt x="259" y="30"/>
                  </a:cubicBezTo>
                  <a:cubicBezTo>
                    <a:pt x="259" y="30"/>
                    <a:pt x="259" y="29"/>
                    <a:pt x="259" y="29"/>
                  </a:cubicBezTo>
                  <a:cubicBezTo>
                    <a:pt x="259" y="21"/>
                    <a:pt x="260" y="12"/>
                    <a:pt x="260" y="3"/>
                  </a:cubicBezTo>
                  <a:cubicBezTo>
                    <a:pt x="260" y="2"/>
                    <a:pt x="260" y="1"/>
                    <a:pt x="26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24" y="72"/>
                    <a:pt x="16" y="79"/>
                  </a:cubicBezTo>
                  <a:cubicBezTo>
                    <a:pt x="7" y="87"/>
                    <a:pt x="0" y="110"/>
                    <a:pt x="8" y="112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40">
              <a:extLst>
                <a:ext uri="{FF2B5EF4-FFF2-40B4-BE49-F238E27FC236}">
                  <a16:creationId xmlns:a16="http://schemas.microsoft.com/office/drawing/2014/main" id="{CE7FD553-0A61-4FCD-B270-FEBB25B9F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" y="3714"/>
              <a:ext cx="615" cy="202"/>
            </a:xfrm>
            <a:custGeom>
              <a:avLst/>
              <a:gdLst>
                <a:gd name="T0" fmla="*/ 8 w 259"/>
                <a:gd name="T1" fmla="*/ 83 h 85"/>
                <a:gd name="T2" fmla="*/ 135 w 259"/>
                <a:gd name="T3" fmla="*/ 83 h 85"/>
                <a:gd name="T4" fmla="*/ 171 w 259"/>
                <a:gd name="T5" fmla="*/ 82 h 85"/>
                <a:gd name="T6" fmla="*/ 254 w 259"/>
                <a:gd name="T7" fmla="*/ 77 h 85"/>
                <a:gd name="T8" fmla="*/ 259 w 259"/>
                <a:gd name="T9" fmla="*/ 3 h 85"/>
                <a:gd name="T10" fmla="*/ 259 w 259"/>
                <a:gd name="T11" fmla="*/ 1 h 85"/>
                <a:gd name="T12" fmla="*/ 259 w 259"/>
                <a:gd name="T13" fmla="*/ 0 h 85"/>
                <a:gd name="T14" fmla="*/ 259 w 259"/>
                <a:gd name="T15" fmla="*/ 0 h 85"/>
                <a:gd name="T16" fmla="*/ 112 w 259"/>
                <a:gd name="T17" fmla="*/ 0 h 85"/>
                <a:gd name="T18" fmla="*/ 112 w 259"/>
                <a:gd name="T19" fmla="*/ 3 h 85"/>
                <a:gd name="T20" fmla="*/ 16 w 259"/>
                <a:gd name="T21" fmla="*/ 50 h 85"/>
                <a:gd name="T22" fmla="*/ 8 w 259"/>
                <a:gd name="T23" fmla="*/ 8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85">
                  <a:moveTo>
                    <a:pt x="8" y="83"/>
                  </a:moveTo>
                  <a:cubicBezTo>
                    <a:pt x="12" y="85"/>
                    <a:pt x="74" y="84"/>
                    <a:pt x="135" y="83"/>
                  </a:cubicBezTo>
                  <a:cubicBezTo>
                    <a:pt x="147" y="83"/>
                    <a:pt x="160" y="83"/>
                    <a:pt x="171" y="82"/>
                  </a:cubicBezTo>
                  <a:cubicBezTo>
                    <a:pt x="215" y="81"/>
                    <a:pt x="250" y="79"/>
                    <a:pt x="254" y="77"/>
                  </a:cubicBezTo>
                  <a:cubicBezTo>
                    <a:pt x="257" y="75"/>
                    <a:pt x="259" y="43"/>
                    <a:pt x="259" y="3"/>
                  </a:cubicBezTo>
                  <a:cubicBezTo>
                    <a:pt x="259" y="2"/>
                    <a:pt x="259" y="2"/>
                    <a:pt x="259" y="1"/>
                  </a:cubicBezTo>
                  <a:cubicBezTo>
                    <a:pt x="259" y="1"/>
                    <a:pt x="259" y="0"/>
                    <a:pt x="259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3"/>
                    <a:pt x="24" y="43"/>
                    <a:pt x="16" y="50"/>
                  </a:cubicBezTo>
                  <a:cubicBezTo>
                    <a:pt x="7" y="58"/>
                    <a:pt x="0" y="81"/>
                    <a:pt x="8" y="83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41">
              <a:extLst>
                <a:ext uri="{FF2B5EF4-FFF2-40B4-BE49-F238E27FC236}">
                  <a16:creationId xmlns:a16="http://schemas.microsoft.com/office/drawing/2014/main" id="{BC0EA1F7-3941-4B2D-88FE-7A4E8CF1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" y="3882"/>
              <a:ext cx="553" cy="12"/>
            </a:xfrm>
            <a:custGeom>
              <a:avLst/>
              <a:gdLst>
                <a:gd name="T0" fmla="*/ 1 w 233"/>
                <a:gd name="T1" fmla="*/ 3 h 5"/>
                <a:gd name="T2" fmla="*/ 233 w 233"/>
                <a:gd name="T3" fmla="*/ 1 h 5"/>
                <a:gd name="T4" fmla="*/ 233 w 233"/>
                <a:gd name="T5" fmla="*/ 1 h 5"/>
                <a:gd name="T6" fmla="*/ 1 w 233"/>
                <a:gd name="T7" fmla="*/ 4 h 5"/>
                <a:gd name="T8" fmla="*/ 1 w 23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5">
                  <a:moveTo>
                    <a:pt x="1" y="3"/>
                  </a:moveTo>
                  <a:cubicBezTo>
                    <a:pt x="39" y="2"/>
                    <a:pt x="195" y="0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195" y="4"/>
                    <a:pt x="39" y="5"/>
                    <a:pt x="1" y="4"/>
                  </a:cubicBezTo>
                  <a:cubicBezTo>
                    <a:pt x="0" y="4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42">
              <a:extLst>
                <a:ext uri="{FF2B5EF4-FFF2-40B4-BE49-F238E27FC236}">
                  <a16:creationId xmlns:a16="http://schemas.microsoft.com/office/drawing/2014/main" id="{E27A1807-825E-4474-9668-9AB953131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6" y="3709"/>
              <a:ext cx="112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6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143">
              <a:extLst>
                <a:ext uri="{FF2B5EF4-FFF2-40B4-BE49-F238E27FC236}">
                  <a16:creationId xmlns:a16="http://schemas.microsoft.com/office/drawing/2014/main" id="{ABAC40CF-F23C-41C2-BA78-9AEE57721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" y="3726"/>
              <a:ext cx="112" cy="30"/>
            </a:xfrm>
            <a:custGeom>
              <a:avLst/>
              <a:gdLst>
                <a:gd name="T0" fmla="*/ 1 w 47"/>
                <a:gd name="T1" fmla="*/ 3 h 13"/>
                <a:gd name="T2" fmla="*/ 47 w 47"/>
                <a:gd name="T3" fmla="*/ 12 h 13"/>
                <a:gd name="T4" fmla="*/ 46 w 47"/>
                <a:gd name="T5" fmla="*/ 13 h 13"/>
                <a:gd name="T6" fmla="*/ 1 w 47"/>
                <a:gd name="T7" fmla="*/ 5 h 13"/>
                <a:gd name="T8" fmla="*/ 1 w 47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3">
                  <a:moveTo>
                    <a:pt x="1" y="3"/>
                  </a:moveTo>
                  <a:cubicBezTo>
                    <a:pt x="16" y="0"/>
                    <a:pt x="35" y="2"/>
                    <a:pt x="47" y="12"/>
                  </a:cubicBezTo>
                  <a:cubicBezTo>
                    <a:pt x="47" y="13"/>
                    <a:pt x="47" y="13"/>
                    <a:pt x="46" y="13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144">
              <a:extLst>
                <a:ext uri="{FF2B5EF4-FFF2-40B4-BE49-F238E27FC236}">
                  <a16:creationId xmlns:a16="http://schemas.microsoft.com/office/drawing/2014/main" id="{1BDD6912-562F-49AB-B2F6-3FB0A7044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4" y="3740"/>
              <a:ext cx="112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3"/>
                    <a:pt x="47" y="13"/>
                  </a:cubicBezTo>
                  <a:cubicBezTo>
                    <a:pt x="47" y="14"/>
                    <a:pt x="47" y="14"/>
                    <a:pt x="46" y="14"/>
                  </a:cubicBezTo>
                  <a:cubicBezTo>
                    <a:pt x="31" y="10"/>
                    <a:pt x="17" y="7"/>
                    <a:pt x="1" y="5"/>
                  </a:cubicBezTo>
                  <a:cubicBezTo>
                    <a:pt x="0" y="5"/>
                    <a:pt x="0" y="4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145">
              <a:extLst>
                <a:ext uri="{FF2B5EF4-FFF2-40B4-BE49-F238E27FC236}">
                  <a16:creationId xmlns:a16="http://schemas.microsoft.com/office/drawing/2014/main" id="{DF108D33-D4FC-4FBB-A1B0-AFF041487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" y="3714"/>
              <a:ext cx="294" cy="197"/>
            </a:xfrm>
            <a:custGeom>
              <a:avLst/>
              <a:gdLst>
                <a:gd name="T0" fmla="*/ 0 w 124"/>
                <a:gd name="T1" fmla="*/ 83 h 83"/>
                <a:gd name="T2" fmla="*/ 36 w 124"/>
                <a:gd name="T3" fmla="*/ 82 h 83"/>
                <a:gd name="T4" fmla="*/ 119 w 124"/>
                <a:gd name="T5" fmla="*/ 77 h 83"/>
                <a:gd name="T6" fmla="*/ 124 w 124"/>
                <a:gd name="T7" fmla="*/ 3 h 83"/>
                <a:gd name="T8" fmla="*/ 124 w 124"/>
                <a:gd name="T9" fmla="*/ 1 h 83"/>
                <a:gd name="T10" fmla="*/ 124 w 124"/>
                <a:gd name="T11" fmla="*/ 0 h 83"/>
                <a:gd name="T12" fmla="*/ 124 w 124"/>
                <a:gd name="T13" fmla="*/ 0 h 83"/>
                <a:gd name="T14" fmla="*/ 0 w 124"/>
                <a:gd name="T1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83">
                  <a:moveTo>
                    <a:pt x="0" y="83"/>
                  </a:moveTo>
                  <a:cubicBezTo>
                    <a:pt x="12" y="83"/>
                    <a:pt x="25" y="83"/>
                    <a:pt x="36" y="82"/>
                  </a:cubicBezTo>
                  <a:cubicBezTo>
                    <a:pt x="80" y="81"/>
                    <a:pt x="115" y="79"/>
                    <a:pt x="119" y="77"/>
                  </a:cubicBezTo>
                  <a:cubicBezTo>
                    <a:pt x="122" y="75"/>
                    <a:pt x="124" y="43"/>
                    <a:pt x="124" y="3"/>
                  </a:cubicBezTo>
                  <a:cubicBezTo>
                    <a:pt x="124" y="2"/>
                    <a:pt x="124" y="2"/>
                    <a:pt x="124" y="1"/>
                  </a:cubicBezTo>
                  <a:cubicBezTo>
                    <a:pt x="124" y="1"/>
                    <a:pt x="124" y="0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04" y="14"/>
                    <a:pt x="33" y="62"/>
                    <a:pt x="0" y="8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146">
              <a:extLst>
                <a:ext uri="{FF2B5EF4-FFF2-40B4-BE49-F238E27FC236}">
                  <a16:creationId xmlns:a16="http://schemas.microsoft.com/office/drawing/2014/main" id="{E021CB3E-BE5E-4136-B215-960A437C9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" y="1795"/>
              <a:ext cx="632" cy="1921"/>
            </a:xfrm>
            <a:custGeom>
              <a:avLst/>
              <a:gdLst>
                <a:gd name="T0" fmla="*/ 26 w 266"/>
                <a:gd name="T1" fmla="*/ 809 h 809"/>
                <a:gd name="T2" fmla="*/ 191 w 266"/>
                <a:gd name="T3" fmla="*/ 809 h 809"/>
                <a:gd name="T4" fmla="*/ 160 w 266"/>
                <a:gd name="T5" fmla="*/ 417 h 809"/>
                <a:gd name="T6" fmla="*/ 184 w 266"/>
                <a:gd name="T7" fmla="*/ 318 h 809"/>
                <a:gd name="T8" fmla="*/ 197 w 266"/>
                <a:gd name="T9" fmla="*/ 268 h 809"/>
                <a:gd name="T10" fmla="*/ 235 w 266"/>
                <a:gd name="T11" fmla="*/ 122 h 809"/>
                <a:gd name="T12" fmla="*/ 266 w 266"/>
                <a:gd name="T13" fmla="*/ 0 h 809"/>
                <a:gd name="T14" fmla="*/ 126 w 266"/>
                <a:gd name="T15" fmla="*/ 0 h 809"/>
                <a:gd name="T16" fmla="*/ 89 w 266"/>
                <a:gd name="T17" fmla="*/ 119 h 809"/>
                <a:gd name="T18" fmla="*/ 7 w 266"/>
                <a:gd name="T19" fmla="*/ 415 h 809"/>
                <a:gd name="T20" fmla="*/ 26 w 266"/>
                <a:gd name="T21" fmla="*/ 809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6" h="809">
                  <a:moveTo>
                    <a:pt x="26" y="809"/>
                  </a:moveTo>
                  <a:cubicBezTo>
                    <a:pt x="191" y="809"/>
                    <a:pt x="191" y="809"/>
                    <a:pt x="191" y="809"/>
                  </a:cubicBezTo>
                  <a:cubicBezTo>
                    <a:pt x="191" y="809"/>
                    <a:pt x="158" y="424"/>
                    <a:pt x="160" y="417"/>
                  </a:cubicBezTo>
                  <a:cubicBezTo>
                    <a:pt x="161" y="408"/>
                    <a:pt x="171" y="369"/>
                    <a:pt x="184" y="318"/>
                  </a:cubicBezTo>
                  <a:cubicBezTo>
                    <a:pt x="188" y="302"/>
                    <a:pt x="192" y="285"/>
                    <a:pt x="197" y="268"/>
                  </a:cubicBezTo>
                  <a:cubicBezTo>
                    <a:pt x="209" y="220"/>
                    <a:pt x="223" y="167"/>
                    <a:pt x="235" y="122"/>
                  </a:cubicBezTo>
                  <a:cubicBezTo>
                    <a:pt x="252" y="53"/>
                    <a:pt x="266" y="0"/>
                    <a:pt x="26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10" y="52"/>
                    <a:pt x="89" y="119"/>
                  </a:cubicBezTo>
                  <a:cubicBezTo>
                    <a:pt x="56" y="228"/>
                    <a:pt x="11" y="379"/>
                    <a:pt x="7" y="415"/>
                  </a:cubicBezTo>
                  <a:cubicBezTo>
                    <a:pt x="0" y="474"/>
                    <a:pt x="26" y="809"/>
                    <a:pt x="26" y="809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147">
              <a:extLst>
                <a:ext uri="{FF2B5EF4-FFF2-40B4-BE49-F238E27FC236}">
                  <a16:creationId xmlns:a16="http://schemas.microsoft.com/office/drawing/2014/main" id="{748A5D2B-9046-41D7-B03E-1E30DE16C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" y="3645"/>
              <a:ext cx="353" cy="9"/>
            </a:xfrm>
            <a:custGeom>
              <a:avLst/>
              <a:gdLst>
                <a:gd name="T0" fmla="*/ 1 w 149"/>
                <a:gd name="T1" fmla="*/ 2 h 4"/>
                <a:gd name="T2" fmla="*/ 44 w 149"/>
                <a:gd name="T3" fmla="*/ 1 h 4"/>
                <a:gd name="T4" fmla="*/ 149 w 149"/>
                <a:gd name="T5" fmla="*/ 2 h 4"/>
                <a:gd name="T6" fmla="*/ 149 w 149"/>
                <a:gd name="T7" fmla="*/ 2 h 4"/>
                <a:gd name="T8" fmla="*/ 44 w 149"/>
                <a:gd name="T9" fmla="*/ 3 h 4"/>
                <a:gd name="T10" fmla="*/ 1 w 149"/>
                <a:gd name="T11" fmla="*/ 2 h 4"/>
                <a:gd name="T12" fmla="*/ 1 w 149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">
                  <a:moveTo>
                    <a:pt x="1" y="2"/>
                  </a:moveTo>
                  <a:cubicBezTo>
                    <a:pt x="26" y="1"/>
                    <a:pt x="19" y="1"/>
                    <a:pt x="44" y="1"/>
                  </a:cubicBezTo>
                  <a:cubicBezTo>
                    <a:pt x="56" y="1"/>
                    <a:pt x="137" y="0"/>
                    <a:pt x="149" y="2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37" y="4"/>
                    <a:pt x="56" y="3"/>
                    <a:pt x="44" y="3"/>
                  </a:cubicBezTo>
                  <a:cubicBezTo>
                    <a:pt x="19" y="3"/>
                    <a:pt x="26" y="3"/>
                    <a:pt x="1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148">
              <a:extLst>
                <a:ext uri="{FF2B5EF4-FFF2-40B4-BE49-F238E27FC236}">
                  <a16:creationId xmlns:a16="http://schemas.microsoft.com/office/drawing/2014/main" id="{709A2590-3598-4C09-8BED-824A534CF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" y="1873"/>
              <a:ext cx="270" cy="1739"/>
            </a:xfrm>
            <a:custGeom>
              <a:avLst/>
              <a:gdLst>
                <a:gd name="T0" fmla="*/ 4 w 114"/>
                <a:gd name="T1" fmla="*/ 360 h 732"/>
                <a:gd name="T2" fmla="*/ 25 w 114"/>
                <a:gd name="T3" fmla="*/ 290 h 732"/>
                <a:gd name="T4" fmla="*/ 68 w 114"/>
                <a:gd name="T5" fmla="*/ 147 h 732"/>
                <a:gd name="T6" fmla="*/ 90 w 114"/>
                <a:gd name="T7" fmla="*/ 76 h 732"/>
                <a:gd name="T8" fmla="*/ 101 w 114"/>
                <a:gd name="T9" fmla="*/ 40 h 732"/>
                <a:gd name="T10" fmla="*/ 112 w 114"/>
                <a:gd name="T11" fmla="*/ 5 h 732"/>
                <a:gd name="T12" fmla="*/ 113 w 114"/>
                <a:gd name="T13" fmla="*/ 9 h 732"/>
                <a:gd name="T14" fmla="*/ 102 w 114"/>
                <a:gd name="T15" fmla="*/ 46 h 732"/>
                <a:gd name="T16" fmla="*/ 81 w 114"/>
                <a:gd name="T17" fmla="*/ 118 h 732"/>
                <a:gd name="T18" fmla="*/ 37 w 114"/>
                <a:gd name="T19" fmla="*/ 263 h 732"/>
                <a:gd name="T20" fmla="*/ 15 w 114"/>
                <a:gd name="T21" fmla="*/ 336 h 732"/>
                <a:gd name="T22" fmla="*/ 7 w 114"/>
                <a:gd name="T23" fmla="*/ 371 h 732"/>
                <a:gd name="T24" fmla="*/ 5 w 114"/>
                <a:gd name="T25" fmla="*/ 409 h 732"/>
                <a:gd name="T26" fmla="*/ 12 w 114"/>
                <a:gd name="T27" fmla="*/ 484 h 732"/>
                <a:gd name="T28" fmla="*/ 19 w 114"/>
                <a:gd name="T29" fmla="*/ 560 h 732"/>
                <a:gd name="T30" fmla="*/ 33 w 114"/>
                <a:gd name="T31" fmla="*/ 711 h 732"/>
                <a:gd name="T32" fmla="*/ 34 w 114"/>
                <a:gd name="T33" fmla="*/ 730 h 732"/>
                <a:gd name="T34" fmla="*/ 31 w 114"/>
                <a:gd name="T35" fmla="*/ 730 h 732"/>
                <a:gd name="T36" fmla="*/ 17 w 114"/>
                <a:gd name="T37" fmla="*/ 580 h 732"/>
                <a:gd name="T38" fmla="*/ 3 w 114"/>
                <a:gd name="T39" fmla="*/ 432 h 732"/>
                <a:gd name="T40" fmla="*/ 0 w 114"/>
                <a:gd name="T41" fmla="*/ 395 h 732"/>
                <a:gd name="T42" fmla="*/ 4 w 114"/>
                <a:gd name="T43" fmla="*/ 36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732">
                  <a:moveTo>
                    <a:pt x="4" y="360"/>
                  </a:moveTo>
                  <a:cubicBezTo>
                    <a:pt x="10" y="336"/>
                    <a:pt x="18" y="313"/>
                    <a:pt x="25" y="290"/>
                  </a:cubicBezTo>
                  <a:cubicBezTo>
                    <a:pt x="39" y="242"/>
                    <a:pt x="54" y="195"/>
                    <a:pt x="68" y="147"/>
                  </a:cubicBezTo>
                  <a:cubicBezTo>
                    <a:pt x="75" y="123"/>
                    <a:pt x="83" y="100"/>
                    <a:pt x="90" y="76"/>
                  </a:cubicBezTo>
                  <a:cubicBezTo>
                    <a:pt x="94" y="64"/>
                    <a:pt x="97" y="52"/>
                    <a:pt x="101" y="40"/>
                  </a:cubicBezTo>
                  <a:cubicBezTo>
                    <a:pt x="105" y="28"/>
                    <a:pt x="109" y="17"/>
                    <a:pt x="112" y="5"/>
                  </a:cubicBezTo>
                  <a:cubicBezTo>
                    <a:pt x="114" y="0"/>
                    <a:pt x="114" y="3"/>
                    <a:pt x="113" y="9"/>
                  </a:cubicBezTo>
                  <a:cubicBezTo>
                    <a:pt x="109" y="21"/>
                    <a:pt x="106" y="33"/>
                    <a:pt x="102" y="46"/>
                  </a:cubicBezTo>
                  <a:cubicBezTo>
                    <a:pt x="95" y="70"/>
                    <a:pt x="88" y="94"/>
                    <a:pt x="81" y="118"/>
                  </a:cubicBezTo>
                  <a:cubicBezTo>
                    <a:pt x="66" y="167"/>
                    <a:pt x="52" y="215"/>
                    <a:pt x="37" y="263"/>
                  </a:cubicBezTo>
                  <a:cubicBezTo>
                    <a:pt x="30" y="288"/>
                    <a:pt x="23" y="312"/>
                    <a:pt x="15" y="336"/>
                  </a:cubicBezTo>
                  <a:cubicBezTo>
                    <a:pt x="12" y="347"/>
                    <a:pt x="9" y="359"/>
                    <a:pt x="7" y="371"/>
                  </a:cubicBezTo>
                  <a:cubicBezTo>
                    <a:pt x="4" y="383"/>
                    <a:pt x="4" y="396"/>
                    <a:pt x="5" y="409"/>
                  </a:cubicBezTo>
                  <a:cubicBezTo>
                    <a:pt x="7" y="434"/>
                    <a:pt x="10" y="459"/>
                    <a:pt x="12" y="484"/>
                  </a:cubicBezTo>
                  <a:cubicBezTo>
                    <a:pt x="14" y="509"/>
                    <a:pt x="17" y="535"/>
                    <a:pt x="19" y="560"/>
                  </a:cubicBezTo>
                  <a:cubicBezTo>
                    <a:pt x="24" y="610"/>
                    <a:pt x="28" y="660"/>
                    <a:pt x="33" y="711"/>
                  </a:cubicBezTo>
                  <a:cubicBezTo>
                    <a:pt x="33" y="717"/>
                    <a:pt x="34" y="723"/>
                    <a:pt x="34" y="730"/>
                  </a:cubicBezTo>
                  <a:cubicBezTo>
                    <a:pt x="35" y="732"/>
                    <a:pt x="31" y="732"/>
                    <a:pt x="31" y="730"/>
                  </a:cubicBezTo>
                  <a:cubicBezTo>
                    <a:pt x="26" y="680"/>
                    <a:pt x="22" y="630"/>
                    <a:pt x="17" y="580"/>
                  </a:cubicBezTo>
                  <a:cubicBezTo>
                    <a:pt x="12" y="531"/>
                    <a:pt x="8" y="481"/>
                    <a:pt x="3" y="432"/>
                  </a:cubicBezTo>
                  <a:cubicBezTo>
                    <a:pt x="2" y="420"/>
                    <a:pt x="0" y="407"/>
                    <a:pt x="0" y="395"/>
                  </a:cubicBezTo>
                  <a:cubicBezTo>
                    <a:pt x="0" y="383"/>
                    <a:pt x="2" y="372"/>
                    <a:pt x="4" y="36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149">
              <a:extLst>
                <a:ext uri="{FF2B5EF4-FFF2-40B4-BE49-F238E27FC236}">
                  <a16:creationId xmlns:a16="http://schemas.microsoft.com/office/drawing/2014/main" id="{83122B47-D397-4790-AA14-9E1675FA1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1795"/>
              <a:ext cx="295" cy="755"/>
            </a:xfrm>
            <a:custGeom>
              <a:avLst/>
              <a:gdLst>
                <a:gd name="T0" fmla="*/ 0 w 124"/>
                <a:gd name="T1" fmla="*/ 0 h 318"/>
                <a:gd name="T2" fmla="*/ 42 w 124"/>
                <a:gd name="T3" fmla="*/ 318 h 318"/>
                <a:gd name="T4" fmla="*/ 124 w 124"/>
                <a:gd name="T5" fmla="*/ 0 h 318"/>
                <a:gd name="T6" fmla="*/ 0 w 124"/>
                <a:gd name="T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4" h="318">
                  <a:moveTo>
                    <a:pt x="0" y="0"/>
                  </a:moveTo>
                  <a:cubicBezTo>
                    <a:pt x="10" y="75"/>
                    <a:pt x="28" y="216"/>
                    <a:pt x="42" y="318"/>
                  </a:cubicBezTo>
                  <a:cubicBezTo>
                    <a:pt x="73" y="195"/>
                    <a:pt x="124" y="0"/>
                    <a:pt x="12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50">
              <a:extLst>
                <a:ext uri="{FF2B5EF4-FFF2-40B4-BE49-F238E27FC236}">
                  <a16:creationId xmlns:a16="http://schemas.microsoft.com/office/drawing/2014/main" id="{B2445590-2D1C-4761-9612-7CA87AC0A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369"/>
              <a:ext cx="617" cy="554"/>
            </a:xfrm>
            <a:custGeom>
              <a:avLst/>
              <a:gdLst>
                <a:gd name="T0" fmla="*/ 8 w 260"/>
                <a:gd name="T1" fmla="*/ 230 h 233"/>
                <a:gd name="T2" fmla="*/ 254 w 260"/>
                <a:gd name="T3" fmla="*/ 225 h 233"/>
                <a:gd name="T4" fmla="*/ 259 w 260"/>
                <a:gd name="T5" fmla="*/ 149 h 233"/>
                <a:gd name="T6" fmla="*/ 259 w 260"/>
                <a:gd name="T7" fmla="*/ 148 h 233"/>
                <a:gd name="T8" fmla="*/ 260 w 260"/>
                <a:gd name="T9" fmla="*/ 123 h 233"/>
                <a:gd name="T10" fmla="*/ 260 w 260"/>
                <a:gd name="T11" fmla="*/ 119 h 233"/>
                <a:gd name="T12" fmla="*/ 256 w 260"/>
                <a:gd name="T13" fmla="*/ 0 h 233"/>
                <a:gd name="T14" fmla="*/ 106 w 260"/>
                <a:gd name="T15" fmla="*/ 1 h 233"/>
                <a:gd name="T16" fmla="*/ 111 w 260"/>
                <a:gd name="T17" fmla="*/ 119 h 233"/>
                <a:gd name="T18" fmla="*/ 111 w 260"/>
                <a:gd name="T19" fmla="*/ 124 h 233"/>
                <a:gd name="T20" fmla="*/ 112 w 260"/>
                <a:gd name="T21" fmla="*/ 148 h 233"/>
                <a:gd name="T22" fmla="*/ 112 w 260"/>
                <a:gd name="T23" fmla="*/ 150 h 233"/>
                <a:gd name="T24" fmla="*/ 15 w 260"/>
                <a:gd name="T25" fmla="*/ 198 h 233"/>
                <a:gd name="T26" fmla="*/ 8 w 260"/>
                <a:gd name="T27" fmla="*/ 23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0" h="233">
                  <a:moveTo>
                    <a:pt x="8" y="230"/>
                  </a:moveTo>
                  <a:cubicBezTo>
                    <a:pt x="16" y="233"/>
                    <a:pt x="245" y="231"/>
                    <a:pt x="254" y="225"/>
                  </a:cubicBezTo>
                  <a:cubicBezTo>
                    <a:pt x="257" y="223"/>
                    <a:pt x="259" y="190"/>
                    <a:pt x="259" y="149"/>
                  </a:cubicBezTo>
                  <a:cubicBezTo>
                    <a:pt x="259" y="149"/>
                    <a:pt x="259" y="149"/>
                    <a:pt x="259" y="148"/>
                  </a:cubicBezTo>
                  <a:cubicBezTo>
                    <a:pt x="260" y="140"/>
                    <a:pt x="260" y="131"/>
                    <a:pt x="260" y="123"/>
                  </a:cubicBezTo>
                  <a:cubicBezTo>
                    <a:pt x="260" y="121"/>
                    <a:pt x="260" y="120"/>
                    <a:pt x="260" y="119"/>
                  </a:cubicBezTo>
                  <a:cubicBezTo>
                    <a:pt x="260" y="61"/>
                    <a:pt x="256" y="0"/>
                    <a:pt x="256" y="0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2" y="148"/>
                    <a:pt x="112" y="148"/>
                    <a:pt x="112" y="148"/>
                  </a:cubicBezTo>
                  <a:cubicBezTo>
                    <a:pt x="112" y="150"/>
                    <a:pt x="112" y="150"/>
                    <a:pt x="112" y="150"/>
                  </a:cubicBezTo>
                  <a:cubicBezTo>
                    <a:pt x="112" y="150"/>
                    <a:pt x="24" y="190"/>
                    <a:pt x="15" y="198"/>
                  </a:cubicBezTo>
                  <a:cubicBezTo>
                    <a:pt x="7" y="205"/>
                    <a:pt x="0" y="228"/>
                    <a:pt x="8" y="230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51">
              <a:extLst>
                <a:ext uri="{FF2B5EF4-FFF2-40B4-BE49-F238E27FC236}">
                  <a16:creationId xmlns:a16="http://schemas.microsoft.com/office/drawing/2014/main" id="{5C3F4E53-6849-455E-934F-77A4F5D11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652"/>
              <a:ext cx="617" cy="271"/>
            </a:xfrm>
            <a:custGeom>
              <a:avLst/>
              <a:gdLst>
                <a:gd name="T0" fmla="*/ 8 w 260"/>
                <a:gd name="T1" fmla="*/ 111 h 114"/>
                <a:gd name="T2" fmla="*/ 254 w 260"/>
                <a:gd name="T3" fmla="*/ 106 h 114"/>
                <a:gd name="T4" fmla="*/ 259 w 260"/>
                <a:gd name="T5" fmla="*/ 30 h 114"/>
                <a:gd name="T6" fmla="*/ 259 w 260"/>
                <a:gd name="T7" fmla="*/ 29 h 114"/>
                <a:gd name="T8" fmla="*/ 260 w 260"/>
                <a:gd name="T9" fmla="*/ 4 h 114"/>
                <a:gd name="T10" fmla="*/ 260 w 260"/>
                <a:gd name="T11" fmla="*/ 0 h 114"/>
                <a:gd name="T12" fmla="*/ 111 w 260"/>
                <a:gd name="T13" fmla="*/ 0 h 114"/>
                <a:gd name="T14" fmla="*/ 111 w 260"/>
                <a:gd name="T15" fmla="*/ 5 h 114"/>
                <a:gd name="T16" fmla="*/ 112 w 260"/>
                <a:gd name="T17" fmla="*/ 29 h 114"/>
                <a:gd name="T18" fmla="*/ 112 w 260"/>
                <a:gd name="T19" fmla="*/ 31 h 114"/>
                <a:gd name="T20" fmla="*/ 15 w 260"/>
                <a:gd name="T21" fmla="*/ 79 h 114"/>
                <a:gd name="T22" fmla="*/ 8 w 260"/>
                <a:gd name="T23" fmla="*/ 11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0" h="114">
                  <a:moveTo>
                    <a:pt x="8" y="111"/>
                  </a:moveTo>
                  <a:cubicBezTo>
                    <a:pt x="16" y="114"/>
                    <a:pt x="245" y="112"/>
                    <a:pt x="254" y="106"/>
                  </a:cubicBezTo>
                  <a:cubicBezTo>
                    <a:pt x="257" y="104"/>
                    <a:pt x="259" y="71"/>
                    <a:pt x="259" y="30"/>
                  </a:cubicBezTo>
                  <a:cubicBezTo>
                    <a:pt x="259" y="30"/>
                    <a:pt x="259" y="30"/>
                    <a:pt x="259" y="29"/>
                  </a:cubicBezTo>
                  <a:cubicBezTo>
                    <a:pt x="260" y="21"/>
                    <a:pt x="260" y="12"/>
                    <a:pt x="260" y="4"/>
                  </a:cubicBezTo>
                  <a:cubicBezTo>
                    <a:pt x="260" y="2"/>
                    <a:pt x="260" y="1"/>
                    <a:pt x="26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2" y="29"/>
                    <a:pt x="112" y="29"/>
                    <a:pt x="112" y="29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2" y="31"/>
                    <a:pt x="24" y="71"/>
                    <a:pt x="15" y="79"/>
                  </a:cubicBezTo>
                  <a:cubicBezTo>
                    <a:pt x="7" y="86"/>
                    <a:pt x="0" y="109"/>
                    <a:pt x="8" y="111"/>
                  </a:cubicBez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52">
              <a:extLst>
                <a:ext uri="{FF2B5EF4-FFF2-40B4-BE49-F238E27FC236}">
                  <a16:creationId xmlns:a16="http://schemas.microsoft.com/office/drawing/2014/main" id="{0BC1C9CA-913F-453E-8A38-E0253C538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3721"/>
              <a:ext cx="615" cy="202"/>
            </a:xfrm>
            <a:custGeom>
              <a:avLst/>
              <a:gdLst>
                <a:gd name="T0" fmla="*/ 8 w 259"/>
                <a:gd name="T1" fmla="*/ 82 h 85"/>
                <a:gd name="T2" fmla="*/ 254 w 259"/>
                <a:gd name="T3" fmla="*/ 77 h 85"/>
                <a:gd name="T4" fmla="*/ 259 w 259"/>
                <a:gd name="T5" fmla="*/ 1 h 85"/>
                <a:gd name="T6" fmla="*/ 259 w 259"/>
                <a:gd name="T7" fmla="*/ 0 h 85"/>
                <a:gd name="T8" fmla="*/ 112 w 259"/>
                <a:gd name="T9" fmla="*/ 0 h 85"/>
                <a:gd name="T10" fmla="*/ 112 w 259"/>
                <a:gd name="T11" fmla="*/ 2 h 85"/>
                <a:gd name="T12" fmla="*/ 15 w 259"/>
                <a:gd name="T13" fmla="*/ 50 h 85"/>
                <a:gd name="T14" fmla="*/ 8 w 259"/>
                <a:gd name="T15" fmla="*/ 8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9" h="85">
                  <a:moveTo>
                    <a:pt x="8" y="82"/>
                  </a:moveTo>
                  <a:cubicBezTo>
                    <a:pt x="16" y="85"/>
                    <a:pt x="245" y="83"/>
                    <a:pt x="254" y="77"/>
                  </a:cubicBezTo>
                  <a:cubicBezTo>
                    <a:pt x="257" y="75"/>
                    <a:pt x="259" y="42"/>
                    <a:pt x="259" y="1"/>
                  </a:cubicBezTo>
                  <a:cubicBezTo>
                    <a:pt x="259" y="1"/>
                    <a:pt x="259" y="1"/>
                    <a:pt x="25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24" y="42"/>
                    <a:pt x="15" y="50"/>
                  </a:cubicBezTo>
                  <a:cubicBezTo>
                    <a:pt x="7" y="57"/>
                    <a:pt x="0" y="80"/>
                    <a:pt x="8" y="82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53">
              <a:extLst>
                <a:ext uri="{FF2B5EF4-FFF2-40B4-BE49-F238E27FC236}">
                  <a16:creationId xmlns:a16="http://schemas.microsoft.com/office/drawing/2014/main" id="{12D4AE3C-B4F4-4AAB-8CE9-3D38EE34B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2" y="3889"/>
              <a:ext cx="554" cy="10"/>
            </a:xfrm>
            <a:custGeom>
              <a:avLst/>
              <a:gdLst>
                <a:gd name="T0" fmla="*/ 0 w 233"/>
                <a:gd name="T1" fmla="*/ 3 h 4"/>
                <a:gd name="T2" fmla="*/ 233 w 233"/>
                <a:gd name="T3" fmla="*/ 1 h 4"/>
                <a:gd name="T4" fmla="*/ 233 w 233"/>
                <a:gd name="T5" fmla="*/ 1 h 4"/>
                <a:gd name="T6" fmla="*/ 0 w 233"/>
                <a:gd name="T7" fmla="*/ 3 h 4"/>
                <a:gd name="T8" fmla="*/ 0 w 233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4">
                  <a:moveTo>
                    <a:pt x="0" y="3"/>
                  </a:moveTo>
                  <a:cubicBezTo>
                    <a:pt x="39" y="1"/>
                    <a:pt x="195" y="0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195" y="4"/>
                    <a:pt x="39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54">
              <a:extLst>
                <a:ext uri="{FF2B5EF4-FFF2-40B4-BE49-F238E27FC236}">
                  <a16:creationId xmlns:a16="http://schemas.microsoft.com/office/drawing/2014/main" id="{26591AE2-3C32-417B-ADF5-580906ED6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" y="3714"/>
              <a:ext cx="111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3"/>
                    <a:pt x="47" y="13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31" y="10"/>
                    <a:pt x="17" y="7"/>
                    <a:pt x="1" y="5"/>
                  </a:cubicBezTo>
                  <a:cubicBezTo>
                    <a:pt x="0" y="5"/>
                    <a:pt x="0" y="4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55">
              <a:extLst>
                <a:ext uri="{FF2B5EF4-FFF2-40B4-BE49-F238E27FC236}">
                  <a16:creationId xmlns:a16="http://schemas.microsoft.com/office/drawing/2014/main" id="{B7706376-0077-44B8-8AFF-56525CE91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6" y="3730"/>
              <a:ext cx="111" cy="34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7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56">
              <a:extLst>
                <a:ext uri="{FF2B5EF4-FFF2-40B4-BE49-F238E27FC236}">
                  <a16:creationId xmlns:a16="http://schemas.microsoft.com/office/drawing/2014/main" id="{FDF708DE-E593-4332-8CF4-9FC1B1C97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" y="3747"/>
              <a:ext cx="111" cy="33"/>
            </a:xfrm>
            <a:custGeom>
              <a:avLst/>
              <a:gdLst>
                <a:gd name="T0" fmla="*/ 1 w 47"/>
                <a:gd name="T1" fmla="*/ 3 h 14"/>
                <a:gd name="T2" fmla="*/ 47 w 47"/>
                <a:gd name="T3" fmla="*/ 13 h 14"/>
                <a:gd name="T4" fmla="*/ 46 w 47"/>
                <a:gd name="T5" fmla="*/ 14 h 14"/>
                <a:gd name="T6" fmla="*/ 1 w 47"/>
                <a:gd name="T7" fmla="*/ 5 h 14"/>
                <a:gd name="T8" fmla="*/ 1 w 47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4">
                  <a:moveTo>
                    <a:pt x="1" y="3"/>
                  </a:moveTo>
                  <a:cubicBezTo>
                    <a:pt x="16" y="0"/>
                    <a:pt x="35" y="2"/>
                    <a:pt x="47" y="13"/>
                  </a:cubicBezTo>
                  <a:cubicBezTo>
                    <a:pt x="47" y="13"/>
                    <a:pt x="47" y="14"/>
                    <a:pt x="46" y="14"/>
                  </a:cubicBezTo>
                  <a:cubicBezTo>
                    <a:pt x="31" y="9"/>
                    <a:pt x="17" y="6"/>
                    <a:pt x="1" y="5"/>
                  </a:cubicBezTo>
                  <a:cubicBezTo>
                    <a:pt x="0" y="5"/>
                    <a:pt x="0" y="3"/>
                    <a:pt x="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57">
              <a:extLst>
                <a:ext uri="{FF2B5EF4-FFF2-40B4-BE49-F238E27FC236}">
                  <a16:creationId xmlns:a16="http://schemas.microsoft.com/office/drawing/2014/main" id="{93E4EA40-0B69-401F-BD9D-531D2194A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" y="1795"/>
              <a:ext cx="572" cy="1928"/>
            </a:xfrm>
            <a:custGeom>
              <a:avLst/>
              <a:gdLst>
                <a:gd name="T0" fmla="*/ 0 w 241"/>
                <a:gd name="T1" fmla="*/ 0 h 812"/>
                <a:gd name="T2" fmla="*/ 18 w 241"/>
                <a:gd name="T3" fmla="*/ 120 h 812"/>
                <a:gd name="T4" fmla="*/ 22 w 241"/>
                <a:gd name="T5" fmla="*/ 133 h 812"/>
                <a:gd name="T6" fmla="*/ 63 w 241"/>
                <a:gd name="T7" fmla="*/ 154 h 812"/>
                <a:gd name="T8" fmla="*/ 66 w 241"/>
                <a:gd name="T9" fmla="*/ 268 h 812"/>
                <a:gd name="T10" fmla="*/ 69 w 241"/>
                <a:gd name="T11" fmla="*/ 425 h 812"/>
                <a:gd name="T12" fmla="*/ 77 w 241"/>
                <a:gd name="T13" fmla="*/ 811 h 812"/>
                <a:gd name="T14" fmla="*/ 241 w 241"/>
                <a:gd name="T15" fmla="*/ 812 h 812"/>
                <a:gd name="T16" fmla="*/ 212 w 241"/>
                <a:gd name="T17" fmla="*/ 425 h 812"/>
                <a:gd name="T18" fmla="*/ 197 w 241"/>
                <a:gd name="T19" fmla="*/ 123 h 812"/>
                <a:gd name="T20" fmla="*/ 190 w 241"/>
                <a:gd name="T21" fmla="*/ 0 h 812"/>
                <a:gd name="T22" fmla="*/ 0 w 241"/>
                <a:gd name="T2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1" h="812">
                  <a:moveTo>
                    <a:pt x="0" y="0"/>
                  </a:moveTo>
                  <a:cubicBezTo>
                    <a:pt x="0" y="0"/>
                    <a:pt x="3" y="67"/>
                    <a:pt x="18" y="120"/>
                  </a:cubicBezTo>
                  <a:cubicBezTo>
                    <a:pt x="20" y="125"/>
                    <a:pt x="21" y="129"/>
                    <a:pt x="22" y="133"/>
                  </a:cubicBezTo>
                  <a:cubicBezTo>
                    <a:pt x="22" y="133"/>
                    <a:pt x="38" y="139"/>
                    <a:pt x="63" y="154"/>
                  </a:cubicBezTo>
                  <a:cubicBezTo>
                    <a:pt x="63" y="154"/>
                    <a:pt x="64" y="207"/>
                    <a:pt x="66" y="268"/>
                  </a:cubicBezTo>
                  <a:cubicBezTo>
                    <a:pt x="68" y="335"/>
                    <a:pt x="69" y="409"/>
                    <a:pt x="69" y="425"/>
                  </a:cubicBezTo>
                  <a:cubicBezTo>
                    <a:pt x="68" y="485"/>
                    <a:pt x="77" y="811"/>
                    <a:pt x="77" y="811"/>
                  </a:cubicBezTo>
                  <a:cubicBezTo>
                    <a:pt x="241" y="812"/>
                    <a:pt x="241" y="812"/>
                    <a:pt x="241" y="812"/>
                  </a:cubicBezTo>
                  <a:cubicBezTo>
                    <a:pt x="241" y="812"/>
                    <a:pt x="212" y="447"/>
                    <a:pt x="212" y="425"/>
                  </a:cubicBezTo>
                  <a:cubicBezTo>
                    <a:pt x="212" y="391"/>
                    <a:pt x="204" y="236"/>
                    <a:pt x="197" y="123"/>
                  </a:cubicBezTo>
                  <a:cubicBezTo>
                    <a:pt x="194" y="54"/>
                    <a:pt x="190" y="0"/>
                    <a:pt x="1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58">
              <a:extLst>
                <a:ext uri="{FF2B5EF4-FFF2-40B4-BE49-F238E27FC236}">
                  <a16:creationId xmlns:a16="http://schemas.microsoft.com/office/drawing/2014/main" id="{AE8D5716-3B1D-400A-9869-C7CDA1111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3650"/>
              <a:ext cx="351" cy="9"/>
            </a:xfrm>
            <a:custGeom>
              <a:avLst/>
              <a:gdLst>
                <a:gd name="T0" fmla="*/ 0 w 148"/>
                <a:gd name="T1" fmla="*/ 1 h 4"/>
                <a:gd name="T2" fmla="*/ 43 w 148"/>
                <a:gd name="T3" fmla="*/ 0 h 4"/>
                <a:gd name="T4" fmla="*/ 148 w 148"/>
                <a:gd name="T5" fmla="*/ 2 h 4"/>
                <a:gd name="T6" fmla="*/ 148 w 148"/>
                <a:gd name="T7" fmla="*/ 2 h 4"/>
                <a:gd name="T8" fmla="*/ 43 w 148"/>
                <a:gd name="T9" fmla="*/ 3 h 4"/>
                <a:gd name="T10" fmla="*/ 0 w 148"/>
                <a:gd name="T11" fmla="*/ 2 h 4"/>
                <a:gd name="T12" fmla="*/ 0 w 148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4">
                  <a:moveTo>
                    <a:pt x="0" y="1"/>
                  </a:moveTo>
                  <a:cubicBezTo>
                    <a:pt x="25" y="0"/>
                    <a:pt x="18" y="0"/>
                    <a:pt x="43" y="0"/>
                  </a:cubicBezTo>
                  <a:cubicBezTo>
                    <a:pt x="56" y="0"/>
                    <a:pt x="137" y="0"/>
                    <a:pt x="148" y="2"/>
                  </a:cubicBezTo>
                  <a:cubicBezTo>
                    <a:pt x="148" y="2"/>
                    <a:pt x="148" y="2"/>
                    <a:pt x="148" y="2"/>
                  </a:cubicBezTo>
                  <a:cubicBezTo>
                    <a:pt x="137" y="4"/>
                    <a:pt x="56" y="3"/>
                    <a:pt x="43" y="3"/>
                  </a:cubicBezTo>
                  <a:cubicBezTo>
                    <a:pt x="18" y="2"/>
                    <a:pt x="25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59">
              <a:extLst>
                <a:ext uri="{FF2B5EF4-FFF2-40B4-BE49-F238E27FC236}">
                  <a16:creationId xmlns:a16="http://schemas.microsoft.com/office/drawing/2014/main" id="{49184CFF-6247-4F86-AE19-C316BB5BB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1850"/>
              <a:ext cx="102" cy="1731"/>
            </a:xfrm>
            <a:custGeom>
              <a:avLst/>
              <a:gdLst>
                <a:gd name="T0" fmla="*/ 1 w 43"/>
                <a:gd name="T1" fmla="*/ 1 h 729"/>
                <a:gd name="T2" fmla="*/ 12 w 43"/>
                <a:gd name="T3" fmla="*/ 277 h 729"/>
                <a:gd name="T4" fmla="*/ 29 w 43"/>
                <a:gd name="T5" fmla="*/ 554 h 729"/>
                <a:gd name="T6" fmla="*/ 43 w 43"/>
                <a:gd name="T7" fmla="*/ 729 h 729"/>
                <a:gd name="T8" fmla="*/ 43 w 43"/>
                <a:gd name="T9" fmla="*/ 729 h 729"/>
                <a:gd name="T10" fmla="*/ 18 w 43"/>
                <a:gd name="T11" fmla="*/ 433 h 729"/>
                <a:gd name="T12" fmla="*/ 5 w 43"/>
                <a:gd name="T13" fmla="*/ 157 h 729"/>
                <a:gd name="T14" fmla="*/ 0 w 43"/>
                <a:gd name="T15" fmla="*/ 1 h 729"/>
                <a:gd name="T16" fmla="*/ 1 w 43"/>
                <a:gd name="T17" fmla="*/ 1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729">
                  <a:moveTo>
                    <a:pt x="1" y="1"/>
                  </a:moveTo>
                  <a:cubicBezTo>
                    <a:pt x="4" y="93"/>
                    <a:pt x="8" y="185"/>
                    <a:pt x="12" y="277"/>
                  </a:cubicBezTo>
                  <a:cubicBezTo>
                    <a:pt x="16" y="369"/>
                    <a:pt x="22" y="462"/>
                    <a:pt x="29" y="554"/>
                  </a:cubicBezTo>
                  <a:cubicBezTo>
                    <a:pt x="34" y="605"/>
                    <a:pt x="38" y="678"/>
                    <a:pt x="43" y="729"/>
                  </a:cubicBezTo>
                  <a:cubicBezTo>
                    <a:pt x="43" y="729"/>
                    <a:pt x="43" y="729"/>
                    <a:pt x="43" y="729"/>
                  </a:cubicBezTo>
                  <a:cubicBezTo>
                    <a:pt x="31" y="638"/>
                    <a:pt x="24" y="525"/>
                    <a:pt x="18" y="433"/>
                  </a:cubicBezTo>
                  <a:cubicBezTo>
                    <a:pt x="12" y="341"/>
                    <a:pt x="8" y="249"/>
                    <a:pt x="5" y="157"/>
                  </a:cubicBezTo>
                  <a:cubicBezTo>
                    <a:pt x="3" y="105"/>
                    <a:pt x="2" y="53"/>
                    <a:pt x="0" y="1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60">
              <a:extLst>
                <a:ext uri="{FF2B5EF4-FFF2-40B4-BE49-F238E27FC236}">
                  <a16:creationId xmlns:a16="http://schemas.microsoft.com/office/drawing/2014/main" id="{0CD9089A-F3A7-487A-8BAE-5933CFFF6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3" y="2099"/>
              <a:ext cx="119" cy="64"/>
            </a:xfrm>
            <a:custGeom>
              <a:avLst/>
              <a:gdLst>
                <a:gd name="T0" fmla="*/ 2 w 50"/>
                <a:gd name="T1" fmla="*/ 1 h 27"/>
                <a:gd name="T2" fmla="*/ 50 w 50"/>
                <a:gd name="T3" fmla="*/ 26 h 27"/>
                <a:gd name="T4" fmla="*/ 49 w 50"/>
                <a:gd name="T5" fmla="*/ 27 h 27"/>
                <a:gd name="T6" fmla="*/ 2 w 50"/>
                <a:gd name="T7" fmla="*/ 3 h 27"/>
                <a:gd name="T8" fmla="*/ 2 w 50"/>
                <a:gd name="T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7">
                  <a:moveTo>
                    <a:pt x="2" y="1"/>
                  </a:moveTo>
                  <a:cubicBezTo>
                    <a:pt x="19" y="8"/>
                    <a:pt x="35" y="16"/>
                    <a:pt x="50" y="26"/>
                  </a:cubicBezTo>
                  <a:cubicBezTo>
                    <a:pt x="50" y="26"/>
                    <a:pt x="50" y="27"/>
                    <a:pt x="49" y="27"/>
                  </a:cubicBezTo>
                  <a:cubicBezTo>
                    <a:pt x="33" y="19"/>
                    <a:pt x="17" y="11"/>
                    <a:pt x="2" y="3"/>
                  </a:cubicBezTo>
                  <a:cubicBezTo>
                    <a:pt x="0" y="2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161">
              <a:extLst>
                <a:ext uri="{FF2B5EF4-FFF2-40B4-BE49-F238E27FC236}">
                  <a16:creationId xmlns:a16="http://schemas.microsoft.com/office/drawing/2014/main" id="{F8289CA4-1E07-47B2-ADF8-7EB2C8400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1966"/>
              <a:ext cx="73" cy="171"/>
            </a:xfrm>
            <a:custGeom>
              <a:avLst/>
              <a:gdLst>
                <a:gd name="T0" fmla="*/ 1 w 31"/>
                <a:gd name="T1" fmla="*/ 0 h 72"/>
                <a:gd name="T2" fmla="*/ 4 w 31"/>
                <a:gd name="T3" fmla="*/ 18 h 72"/>
                <a:gd name="T4" fmla="*/ 8 w 31"/>
                <a:gd name="T5" fmla="*/ 34 h 72"/>
                <a:gd name="T6" fmla="*/ 15 w 31"/>
                <a:gd name="T7" fmla="*/ 48 h 72"/>
                <a:gd name="T8" fmla="*/ 22 w 31"/>
                <a:gd name="T9" fmla="*/ 54 h 72"/>
                <a:gd name="T10" fmla="*/ 26 w 31"/>
                <a:gd name="T11" fmla="*/ 56 h 72"/>
                <a:gd name="T12" fmla="*/ 26 w 31"/>
                <a:gd name="T13" fmla="*/ 54 h 72"/>
                <a:gd name="T14" fmla="*/ 25 w 31"/>
                <a:gd name="T15" fmla="*/ 47 h 72"/>
                <a:gd name="T16" fmla="*/ 22 w 31"/>
                <a:gd name="T17" fmla="*/ 33 h 72"/>
                <a:gd name="T18" fmla="*/ 17 w 31"/>
                <a:gd name="T19" fmla="*/ 3 h 72"/>
                <a:gd name="T20" fmla="*/ 18 w 31"/>
                <a:gd name="T21" fmla="*/ 3 h 72"/>
                <a:gd name="T22" fmla="*/ 25 w 31"/>
                <a:gd name="T23" fmla="*/ 32 h 72"/>
                <a:gd name="T24" fmla="*/ 30 w 31"/>
                <a:gd name="T25" fmla="*/ 62 h 72"/>
                <a:gd name="T26" fmla="*/ 30 w 31"/>
                <a:gd name="T27" fmla="*/ 67 h 72"/>
                <a:gd name="T28" fmla="*/ 30 w 31"/>
                <a:gd name="T29" fmla="*/ 72 h 72"/>
                <a:gd name="T30" fmla="*/ 30 w 31"/>
                <a:gd name="T31" fmla="*/ 72 h 72"/>
                <a:gd name="T32" fmla="*/ 30 w 31"/>
                <a:gd name="T33" fmla="*/ 72 h 72"/>
                <a:gd name="T34" fmla="*/ 28 w 31"/>
                <a:gd name="T35" fmla="*/ 67 h 72"/>
                <a:gd name="T36" fmla="*/ 27 w 31"/>
                <a:gd name="T37" fmla="*/ 62 h 72"/>
                <a:gd name="T38" fmla="*/ 27 w 31"/>
                <a:gd name="T39" fmla="*/ 60 h 72"/>
                <a:gd name="T40" fmla="*/ 20 w 31"/>
                <a:gd name="T41" fmla="*/ 55 h 72"/>
                <a:gd name="T42" fmla="*/ 13 w 31"/>
                <a:gd name="T43" fmla="*/ 50 h 72"/>
                <a:gd name="T44" fmla="*/ 5 w 31"/>
                <a:gd name="T45" fmla="*/ 37 h 72"/>
                <a:gd name="T46" fmla="*/ 2 w 31"/>
                <a:gd name="T47" fmla="*/ 20 h 72"/>
                <a:gd name="T48" fmla="*/ 0 w 31"/>
                <a:gd name="T49" fmla="*/ 0 h 72"/>
                <a:gd name="T50" fmla="*/ 1 w 31"/>
                <a:gd name="T5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72">
                  <a:moveTo>
                    <a:pt x="1" y="0"/>
                  </a:moveTo>
                  <a:cubicBezTo>
                    <a:pt x="2" y="6"/>
                    <a:pt x="3" y="12"/>
                    <a:pt x="4" y="18"/>
                  </a:cubicBezTo>
                  <a:cubicBezTo>
                    <a:pt x="6" y="23"/>
                    <a:pt x="6" y="29"/>
                    <a:pt x="8" y="34"/>
                  </a:cubicBezTo>
                  <a:cubicBezTo>
                    <a:pt x="9" y="39"/>
                    <a:pt x="11" y="44"/>
                    <a:pt x="15" y="48"/>
                  </a:cubicBezTo>
                  <a:cubicBezTo>
                    <a:pt x="18" y="50"/>
                    <a:pt x="20" y="52"/>
                    <a:pt x="22" y="54"/>
                  </a:cubicBezTo>
                  <a:cubicBezTo>
                    <a:pt x="24" y="55"/>
                    <a:pt x="25" y="55"/>
                    <a:pt x="26" y="56"/>
                  </a:cubicBezTo>
                  <a:cubicBezTo>
                    <a:pt x="26" y="56"/>
                    <a:pt x="26" y="55"/>
                    <a:pt x="26" y="54"/>
                  </a:cubicBezTo>
                  <a:cubicBezTo>
                    <a:pt x="25" y="52"/>
                    <a:pt x="25" y="50"/>
                    <a:pt x="25" y="47"/>
                  </a:cubicBezTo>
                  <a:cubicBezTo>
                    <a:pt x="24" y="43"/>
                    <a:pt x="23" y="38"/>
                    <a:pt x="22" y="33"/>
                  </a:cubicBezTo>
                  <a:cubicBezTo>
                    <a:pt x="21" y="23"/>
                    <a:pt x="19" y="13"/>
                    <a:pt x="17" y="3"/>
                  </a:cubicBezTo>
                  <a:cubicBezTo>
                    <a:pt x="17" y="3"/>
                    <a:pt x="18" y="3"/>
                    <a:pt x="18" y="3"/>
                  </a:cubicBezTo>
                  <a:cubicBezTo>
                    <a:pt x="20" y="13"/>
                    <a:pt x="23" y="22"/>
                    <a:pt x="25" y="32"/>
                  </a:cubicBezTo>
                  <a:cubicBezTo>
                    <a:pt x="26" y="37"/>
                    <a:pt x="30" y="60"/>
                    <a:pt x="30" y="62"/>
                  </a:cubicBezTo>
                  <a:cubicBezTo>
                    <a:pt x="30" y="63"/>
                    <a:pt x="30" y="65"/>
                    <a:pt x="30" y="67"/>
                  </a:cubicBezTo>
                  <a:cubicBezTo>
                    <a:pt x="30" y="68"/>
                    <a:pt x="31" y="70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29" y="71"/>
                    <a:pt x="29" y="69"/>
                    <a:pt x="28" y="67"/>
                  </a:cubicBezTo>
                  <a:cubicBezTo>
                    <a:pt x="28" y="65"/>
                    <a:pt x="27" y="64"/>
                    <a:pt x="27" y="62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4" y="59"/>
                    <a:pt x="22" y="57"/>
                    <a:pt x="20" y="55"/>
                  </a:cubicBezTo>
                  <a:cubicBezTo>
                    <a:pt x="18" y="54"/>
                    <a:pt x="15" y="52"/>
                    <a:pt x="13" y="50"/>
                  </a:cubicBezTo>
                  <a:cubicBezTo>
                    <a:pt x="9" y="47"/>
                    <a:pt x="6" y="42"/>
                    <a:pt x="5" y="37"/>
                  </a:cubicBezTo>
                  <a:cubicBezTo>
                    <a:pt x="3" y="32"/>
                    <a:pt x="3" y="26"/>
                    <a:pt x="2" y="20"/>
                  </a:cubicBezTo>
                  <a:cubicBezTo>
                    <a:pt x="1" y="14"/>
                    <a:pt x="1" y="7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162">
              <a:extLst>
                <a:ext uri="{FF2B5EF4-FFF2-40B4-BE49-F238E27FC236}">
                  <a16:creationId xmlns:a16="http://schemas.microsoft.com/office/drawing/2014/main" id="{3B11C7CC-EF2B-485D-8316-8D1740E63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" y="1256"/>
              <a:ext cx="769" cy="423"/>
            </a:xfrm>
            <a:custGeom>
              <a:avLst/>
              <a:gdLst>
                <a:gd name="T0" fmla="*/ 311 w 324"/>
                <a:gd name="T1" fmla="*/ 55 h 178"/>
                <a:gd name="T2" fmla="*/ 156 w 324"/>
                <a:gd name="T3" fmla="*/ 176 h 178"/>
                <a:gd name="T4" fmla="*/ 23 w 324"/>
                <a:gd name="T5" fmla="*/ 86 h 178"/>
                <a:gd name="T6" fmla="*/ 95 w 324"/>
                <a:gd name="T7" fmla="*/ 13 h 178"/>
                <a:gd name="T8" fmla="*/ 168 w 324"/>
                <a:gd name="T9" fmla="*/ 84 h 178"/>
                <a:gd name="T10" fmla="*/ 280 w 324"/>
                <a:gd name="T11" fmla="*/ 29 h 178"/>
                <a:gd name="T12" fmla="*/ 311 w 324"/>
                <a:gd name="T13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178">
                  <a:moveTo>
                    <a:pt x="311" y="55"/>
                  </a:moveTo>
                  <a:cubicBezTo>
                    <a:pt x="288" y="93"/>
                    <a:pt x="191" y="175"/>
                    <a:pt x="156" y="176"/>
                  </a:cubicBezTo>
                  <a:cubicBezTo>
                    <a:pt x="132" y="178"/>
                    <a:pt x="46" y="110"/>
                    <a:pt x="23" y="86"/>
                  </a:cubicBezTo>
                  <a:cubicBezTo>
                    <a:pt x="0" y="63"/>
                    <a:pt x="81" y="0"/>
                    <a:pt x="95" y="13"/>
                  </a:cubicBezTo>
                  <a:cubicBezTo>
                    <a:pt x="115" y="31"/>
                    <a:pt x="158" y="82"/>
                    <a:pt x="168" y="84"/>
                  </a:cubicBezTo>
                  <a:cubicBezTo>
                    <a:pt x="174" y="85"/>
                    <a:pt x="216" y="66"/>
                    <a:pt x="280" y="29"/>
                  </a:cubicBezTo>
                  <a:cubicBezTo>
                    <a:pt x="315" y="9"/>
                    <a:pt x="324" y="32"/>
                    <a:pt x="311" y="55"/>
                  </a:cubicBez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63">
              <a:extLst>
                <a:ext uri="{FF2B5EF4-FFF2-40B4-BE49-F238E27FC236}">
                  <a16:creationId xmlns:a16="http://schemas.microsoft.com/office/drawing/2014/main" id="{EE6DEC2B-65E2-4BBC-BDA8-8720DA5CF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" y="1147"/>
              <a:ext cx="209" cy="183"/>
            </a:xfrm>
            <a:custGeom>
              <a:avLst/>
              <a:gdLst>
                <a:gd name="T0" fmla="*/ 82 w 88"/>
                <a:gd name="T1" fmla="*/ 23 h 77"/>
                <a:gd name="T2" fmla="*/ 37 w 88"/>
                <a:gd name="T3" fmla="*/ 3 h 77"/>
                <a:gd name="T4" fmla="*/ 2 w 88"/>
                <a:gd name="T5" fmla="*/ 25 h 77"/>
                <a:gd name="T6" fmla="*/ 17 w 88"/>
                <a:gd name="T7" fmla="*/ 74 h 77"/>
                <a:gd name="T8" fmla="*/ 30 w 88"/>
                <a:gd name="T9" fmla="*/ 42 h 77"/>
                <a:gd name="T10" fmla="*/ 35 w 88"/>
                <a:gd name="T11" fmla="*/ 36 h 77"/>
                <a:gd name="T12" fmla="*/ 88 w 88"/>
                <a:gd name="T13" fmla="*/ 72 h 77"/>
                <a:gd name="T14" fmla="*/ 82 w 88"/>
                <a:gd name="T15" fmla="*/ 2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77">
                  <a:moveTo>
                    <a:pt x="82" y="23"/>
                  </a:moveTo>
                  <a:cubicBezTo>
                    <a:pt x="68" y="15"/>
                    <a:pt x="53" y="5"/>
                    <a:pt x="37" y="3"/>
                  </a:cubicBezTo>
                  <a:cubicBezTo>
                    <a:pt x="20" y="0"/>
                    <a:pt x="3" y="19"/>
                    <a:pt x="2" y="25"/>
                  </a:cubicBezTo>
                  <a:cubicBezTo>
                    <a:pt x="1" y="32"/>
                    <a:pt x="0" y="71"/>
                    <a:pt x="17" y="74"/>
                  </a:cubicBezTo>
                  <a:cubicBezTo>
                    <a:pt x="33" y="77"/>
                    <a:pt x="28" y="46"/>
                    <a:pt x="30" y="42"/>
                  </a:cubicBezTo>
                  <a:cubicBezTo>
                    <a:pt x="31" y="39"/>
                    <a:pt x="32" y="35"/>
                    <a:pt x="35" y="36"/>
                  </a:cubicBezTo>
                  <a:cubicBezTo>
                    <a:pt x="38" y="37"/>
                    <a:pt x="88" y="72"/>
                    <a:pt x="88" y="72"/>
                  </a:cubicBezTo>
                  <a:lnTo>
                    <a:pt x="82" y="23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64">
              <a:extLst>
                <a:ext uri="{FF2B5EF4-FFF2-40B4-BE49-F238E27FC236}">
                  <a16:creationId xmlns:a16="http://schemas.microsoft.com/office/drawing/2014/main" id="{F9530B56-A22A-4515-92F6-BE48F7AAF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4" y="1135"/>
              <a:ext cx="226" cy="183"/>
            </a:xfrm>
            <a:custGeom>
              <a:avLst/>
              <a:gdLst>
                <a:gd name="T0" fmla="*/ 95 w 95"/>
                <a:gd name="T1" fmla="*/ 30 h 77"/>
                <a:gd name="T2" fmla="*/ 37 w 95"/>
                <a:gd name="T3" fmla="*/ 2 h 77"/>
                <a:gd name="T4" fmla="*/ 2 w 95"/>
                <a:gd name="T5" fmla="*/ 25 h 77"/>
                <a:gd name="T6" fmla="*/ 17 w 95"/>
                <a:gd name="T7" fmla="*/ 74 h 77"/>
                <a:gd name="T8" fmla="*/ 29 w 95"/>
                <a:gd name="T9" fmla="*/ 42 h 77"/>
                <a:gd name="T10" fmla="*/ 35 w 95"/>
                <a:gd name="T11" fmla="*/ 35 h 77"/>
                <a:gd name="T12" fmla="*/ 88 w 95"/>
                <a:gd name="T13" fmla="*/ 71 h 77"/>
                <a:gd name="T14" fmla="*/ 95 w 95"/>
                <a:gd name="T15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77">
                  <a:moveTo>
                    <a:pt x="95" y="30"/>
                  </a:moveTo>
                  <a:cubicBezTo>
                    <a:pt x="94" y="30"/>
                    <a:pt x="53" y="5"/>
                    <a:pt x="37" y="2"/>
                  </a:cubicBezTo>
                  <a:cubicBezTo>
                    <a:pt x="20" y="0"/>
                    <a:pt x="3" y="19"/>
                    <a:pt x="2" y="25"/>
                  </a:cubicBezTo>
                  <a:cubicBezTo>
                    <a:pt x="1" y="31"/>
                    <a:pt x="0" y="71"/>
                    <a:pt x="17" y="74"/>
                  </a:cubicBezTo>
                  <a:cubicBezTo>
                    <a:pt x="33" y="77"/>
                    <a:pt x="28" y="45"/>
                    <a:pt x="29" y="42"/>
                  </a:cubicBezTo>
                  <a:cubicBezTo>
                    <a:pt x="31" y="39"/>
                    <a:pt x="32" y="35"/>
                    <a:pt x="35" y="35"/>
                  </a:cubicBezTo>
                  <a:cubicBezTo>
                    <a:pt x="38" y="36"/>
                    <a:pt x="88" y="71"/>
                    <a:pt x="88" y="71"/>
                  </a:cubicBezTo>
                  <a:lnTo>
                    <a:pt x="95" y="30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65">
              <a:extLst>
                <a:ext uri="{FF2B5EF4-FFF2-40B4-BE49-F238E27FC236}">
                  <a16:creationId xmlns:a16="http://schemas.microsoft.com/office/drawing/2014/main" id="{B2343CE2-C686-4730-9F42-935070784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" y="1213"/>
              <a:ext cx="95" cy="95"/>
            </a:xfrm>
            <a:custGeom>
              <a:avLst/>
              <a:gdLst>
                <a:gd name="T0" fmla="*/ 0 w 40"/>
                <a:gd name="T1" fmla="*/ 40 h 40"/>
                <a:gd name="T2" fmla="*/ 4 w 40"/>
                <a:gd name="T3" fmla="*/ 31 h 40"/>
                <a:gd name="T4" fmla="*/ 5 w 40"/>
                <a:gd name="T5" fmla="*/ 20 h 40"/>
                <a:gd name="T6" fmla="*/ 5 w 40"/>
                <a:gd name="T7" fmla="*/ 11 h 40"/>
                <a:gd name="T8" fmla="*/ 9 w 40"/>
                <a:gd name="T9" fmla="*/ 2 h 40"/>
                <a:gd name="T10" fmla="*/ 14 w 40"/>
                <a:gd name="T11" fmla="*/ 3 h 40"/>
                <a:gd name="T12" fmla="*/ 23 w 40"/>
                <a:gd name="T13" fmla="*/ 8 h 40"/>
                <a:gd name="T14" fmla="*/ 31 w 40"/>
                <a:gd name="T15" fmla="*/ 15 h 40"/>
                <a:gd name="T16" fmla="*/ 40 w 40"/>
                <a:gd name="T17" fmla="*/ 21 h 40"/>
                <a:gd name="T18" fmla="*/ 39 w 40"/>
                <a:gd name="T19" fmla="*/ 22 h 40"/>
                <a:gd name="T20" fmla="*/ 32 w 40"/>
                <a:gd name="T21" fmla="*/ 17 h 40"/>
                <a:gd name="T22" fmla="*/ 23 w 40"/>
                <a:gd name="T23" fmla="*/ 11 h 40"/>
                <a:gd name="T24" fmla="*/ 15 w 40"/>
                <a:gd name="T25" fmla="*/ 5 h 40"/>
                <a:gd name="T26" fmla="*/ 11 w 40"/>
                <a:gd name="T27" fmla="*/ 3 h 40"/>
                <a:gd name="T28" fmla="*/ 8 w 40"/>
                <a:gd name="T29" fmla="*/ 7 h 40"/>
                <a:gd name="T30" fmla="*/ 7 w 40"/>
                <a:gd name="T31" fmla="*/ 16 h 40"/>
                <a:gd name="T32" fmla="*/ 7 w 40"/>
                <a:gd name="T33" fmla="*/ 25 h 40"/>
                <a:gd name="T34" fmla="*/ 5 w 40"/>
                <a:gd name="T35" fmla="*/ 34 h 40"/>
                <a:gd name="T36" fmla="*/ 0 w 40"/>
                <a:gd name="T3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40">
                  <a:moveTo>
                    <a:pt x="0" y="40"/>
                  </a:moveTo>
                  <a:cubicBezTo>
                    <a:pt x="2" y="37"/>
                    <a:pt x="3" y="34"/>
                    <a:pt x="4" y="31"/>
                  </a:cubicBezTo>
                  <a:cubicBezTo>
                    <a:pt x="5" y="27"/>
                    <a:pt x="5" y="24"/>
                    <a:pt x="5" y="20"/>
                  </a:cubicBezTo>
                  <a:cubicBezTo>
                    <a:pt x="5" y="17"/>
                    <a:pt x="4" y="14"/>
                    <a:pt x="5" y="11"/>
                  </a:cubicBezTo>
                  <a:cubicBezTo>
                    <a:pt x="5" y="8"/>
                    <a:pt x="7" y="5"/>
                    <a:pt x="9" y="2"/>
                  </a:cubicBezTo>
                  <a:cubicBezTo>
                    <a:pt x="10" y="0"/>
                    <a:pt x="12" y="2"/>
                    <a:pt x="14" y="3"/>
                  </a:cubicBezTo>
                  <a:cubicBezTo>
                    <a:pt x="17" y="4"/>
                    <a:pt x="20" y="6"/>
                    <a:pt x="23" y="8"/>
                  </a:cubicBezTo>
                  <a:cubicBezTo>
                    <a:pt x="25" y="10"/>
                    <a:pt x="28" y="12"/>
                    <a:pt x="31" y="15"/>
                  </a:cubicBezTo>
                  <a:cubicBezTo>
                    <a:pt x="34" y="17"/>
                    <a:pt x="37" y="19"/>
                    <a:pt x="40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7" y="20"/>
                    <a:pt x="34" y="18"/>
                    <a:pt x="32" y="17"/>
                  </a:cubicBezTo>
                  <a:cubicBezTo>
                    <a:pt x="29" y="15"/>
                    <a:pt x="26" y="13"/>
                    <a:pt x="23" y="11"/>
                  </a:cubicBezTo>
                  <a:cubicBezTo>
                    <a:pt x="20" y="9"/>
                    <a:pt x="18" y="7"/>
                    <a:pt x="15" y="5"/>
                  </a:cubicBezTo>
                  <a:cubicBezTo>
                    <a:pt x="14" y="5"/>
                    <a:pt x="12" y="3"/>
                    <a:pt x="11" y="3"/>
                  </a:cubicBezTo>
                  <a:cubicBezTo>
                    <a:pt x="10" y="3"/>
                    <a:pt x="9" y="6"/>
                    <a:pt x="8" y="7"/>
                  </a:cubicBezTo>
                  <a:cubicBezTo>
                    <a:pt x="7" y="10"/>
                    <a:pt x="7" y="13"/>
                    <a:pt x="7" y="16"/>
                  </a:cubicBezTo>
                  <a:cubicBezTo>
                    <a:pt x="7" y="19"/>
                    <a:pt x="8" y="22"/>
                    <a:pt x="7" y="25"/>
                  </a:cubicBezTo>
                  <a:cubicBezTo>
                    <a:pt x="7" y="28"/>
                    <a:pt x="6" y="31"/>
                    <a:pt x="5" y="34"/>
                  </a:cubicBezTo>
                  <a:cubicBezTo>
                    <a:pt x="4" y="36"/>
                    <a:pt x="2" y="38"/>
                    <a:pt x="0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166">
              <a:extLst>
                <a:ext uri="{FF2B5EF4-FFF2-40B4-BE49-F238E27FC236}">
                  <a16:creationId xmlns:a16="http://schemas.microsoft.com/office/drawing/2014/main" id="{20123001-FFB4-4255-9DD5-5C7F640D0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" y="1019"/>
              <a:ext cx="394" cy="467"/>
            </a:xfrm>
            <a:custGeom>
              <a:avLst/>
              <a:gdLst>
                <a:gd name="T0" fmla="*/ 166 w 166"/>
                <a:gd name="T1" fmla="*/ 131 h 197"/>
                <a:gd name="T2" fmla="*/ 120 w 166"/>
                <a:gd name="T3" fmla="*/ 72 h 197"/>
                <a:gd name="T4" fmla="*/ 19 w 166"/>
                <a:gd name="T5" fmla="*/ 3 h 197"/>
                <a:gd name="T6" fmla="*/ 50 w 166"/>
                <a:gd name="T7" fmla="*/ 55 h 197"/>
                <a:gd name="T8" fmla="*/ 77 w 166"/>
                <a:gd name="T9" fmla="*/ 98 h 197"/>
                <a:gd name="T10" fmla="*/ 48 w 166"/>
                <a:gd name="T11" fmla="*/ 119 h 197"/>
                <a:gd name="T12" fmla="*/ 13 w 166"/>
                <a:gd name="T13" fmla="*/ 87 h 197"/>
                <a:gd name="T14" fmla="*/ 12 w 166"/>
                <a:gd name="T15" fmla="*/ 126 h 197"/>
                <a:gd name="T16" fmla="*/ 47 w 166"/>
                <a:gd name="T17" fmla="*/ 165 h 197"/>
                <a:gd name="T18" fmla="*/ 97 w 166"/>
                <a:gd name="T19" fmla="*/ 197 h 197"/>
                <a:gd name="T20" fmla="*/ 166 w 166"/>
                <a:gd name="T21" fmla="*/ 13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97">
                  <a:moveTo>
                    <a:pt x="166" y="131"/>
                  </a:moveTo>
                  <a:cubicBezTo>
                    <a:pt x="166" y="131"/>
                    <a:pt x="128" y="82"/>
                    <a:pt x="120" y="72"/>
                  </a:cubicBezTo>
                  <a:cubicBezTo>
                    <a:pt x="104" y="52"/>
                    <a:pt x="30" y="6"/>
                    <a:pt x="19" y="3"/>
                  </a:cubicBezTo>
                  <a:cubicBezTo>
                    <a:pt x="8" y="0"/>
                    <a:pt x="0" y="22"/>
                    <a:pt x="50" y="55"/>
                  </a:cubicBezTo>
                  <a:cubicBezTo>
                    <a:pt x="77" y="72"/>
                    <a:pt x="79" y="89"/>
                    <a:pt x="77" y="98"/>
                  </a:cubicBezTo>
                  <a:cubicBezTo>
                    <a:pt x="74" y="107"/>
                    <a:pt x="63" y="122"/>
                    <a:pt x="48" y="119"/>
                  </a:cubicBezTo>
                  <a:cubicBezTo>
                    <a:pt x="33" y="116"/>
                    <a:pt x="27" y="92"/>
                    <a:pt x="13" y="87"/>
                  </a:cubicBezTo>
                  <a:cubicBezTo>
                    <a:pt x="0" y="83"/>
                    <a:pt x="4" y="110"/>
                    <a:pt x="12" y="126"/>
                  </a:cubicBezTo>
                  <a:cubicBezTo>
                    <a:pt x="19" y="143"/>
                    <a:pt x="35" y="158"/>
                    <a:pt x="47" y="165"/>
                  </a:cubicBezTo>
                  <a:cubicBezTo>
                    <a:pt x="59" y="173"/>
                    <a:pt x="97" y="197"/>
                    <a:pt x="97" y="197"/>
                  </a:cubicBezTo>
                  <a:lnTo>
                    <a:pt x="166" y="131"/>
                  </a:lnTo>
                  <a:close/>
                </a:path>
              </a:pathLst>
            </a:custGeom>
            <a:solidFill>
              <a:srgbClr val="AB63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67">
              <a:extLst>
                <a:ext uri="{FF2B5EF4-FFF2-40B4-BE49-F238E27FC236}">
                  <a16:creationId xmlns:a16="http://schemas.microsoft.com/office/drawing/2014/main" id="{BB572903-A72B-43FB-B5DE-B89BD3E7E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" y="1147"/>
              <a:ext cx="114" cy="161"/>
            </a:xfrm>
            <a:custGeom>
              <a:avLst/>
              <a:gdLst>
                <a:gd name="T0" fmla="*/ 1 w 48"/>
                <a:gd name="T1" fmla="*/ 51 h 68"/>
                <a:gd name="T2" fmla="*/ 19 w 48"/>
                <a:gd name="T3" fmla="*/ 65 h 68"/>
                <a:gd name="T4" fmla="*/ 37 w 48"/>
                <a:gd name="T5" fmla="*/ 57 h 68"/>
                <a:gd name="T6" fmla="*/ 45 w 48"/>
                <a:gd name="T7" fmla="*/ 37 h 68"/>
                <a:gd name="T8" fmla="*/ 37 w 48"/>
                <a:gd name="T9" fmla="*/ 18 h 68"/>
                <a:gd name="T10" fmla="*/ 19 w 48"/>
                <a:gd name="T11" fmla="*/ 1 h 68"/>
                <a:gd name="T12" fmla="*/ 20 w 48"/>
                <a:gd name="T13" fmla="*/ 0 h 68"/>
                <a:gd name="T14" fmla="*/ 47 w 48"/>
                <a:gd name="T15" fmla="*/ 37 h 68"/>
                <a:gd name="T16" fmla="*/ 39 w 48"/>
                <a:gd name="T17" fmla="*/ 58 h 68"/>
                <a:gd name="T18" fmla="*/ 21 w 48"/>
                <a:gd name="T19" fmla="*/ 68 h 68"/>
                <a:gd name="T20" fmla="*/ 0 w 48"/>
                <a:gd name="T21" fmla="*/ 52 h 68"/>
                <a:gd name="T22" fmla="*/ 1 w 48"/>
                <a:gd name="T23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68">
                  <a:moveTo>
                    <a:pt x="1" y="51"/>
                  </a:moveTo>
                  <a:cubicBezTo>
                    <a:pt x="6" y="57"/>
                    <a:pt x="11" y="64"/>
                    <a:pt x="19" y="65"/>
                  </a:cubicBezTo>
                  <a:cubicBezTo>
                    <a:pt x="26" y="67"/>
                    <a:pt x="32" y="63"/>
                    <a:pt x="37" y="57"/>
                  </a:cubicBezTo>
                  <a:cubicBezTo>
                    <a:pt x="42" y="51"/>
                    <a:pt x="45" y="44"/>
                    <a:pt x="45" y="37"/>
                  </a:cubicBezTo>
                  <a:cubicBezTo>
                    <a:pt x="44" y="30"/>
                    <a:pt x="41" y="23"/>
                    <a:pt x="37" y="18"/>
                  </a:cubicBezTo>
                  <a:cubicBezTo>
                    <a:pt x="32" y="11"/>
                    <a:pt x="26" y="6"/>
                    <a:pt x="19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6" y="5"/>
                    <a:pt x="46" y="17"/>
                    <a:pt x="47" y="37"/>
                  </a:cubicBezTo>
                  <a:cubicBezTo>
                    <a:pt x="48" y="45"/>
                    <a:pt x="44" y="52"/>
                    <a:pt x="39" y="58"/>
                  </a:cubicBezTo>
                  <a:cubicBezTo>
                    <a:pt x="35" y="63"/>
                    <a:pt x="29" y="68"/>
                    <a:pt x="21" y="68"/>
                  </a:cubicBezTo>
                  <a:cubicBezTo>
                    <a:pt x="12" y="67"/>
                    <a:pt x="6" y="58"/>
                    <a:pt x="0" y="52"/>
                  </a:cubicBezTo>
                  <a:lnTo>
                    <a:pt x="1" y="5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68">
              <a:extLst>
                <a:ext uri="{FF2B5EF4-FFF2-40B4-BE49-F238E27FC236}">
                  <a16:creationId xmlns:a16="http://schemas.microsoft.com/office/drawing/2014/main" id="{409CDBCD-A47D-4427-B700-184C87418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" y="1270"/>
              <a:ext cx="707" cy="421"/>
            </a:xfrm>
            <a:custGeom>
              <a:avLst/>
              <a:gdLst>
                <a:gd name="T0" fmla="*/ 63 w 298"/>
                <a:gd name="T1" fmla="*/ 8 h 177"/>
                <a:gd name="T2" fmla="*/ 0 w 298"/>
                <a:gd name="T3" fmla="*/ 121 h 177"/>
                <a:gd name="T4" fmla="*/ 124 w 298"/>
                <a:gd name="T5" fmla="*/ 174 h 177"/>
                <a:gd name="T6" fmla="*/ 277 w 298"/>
                <a:gd name="T7" fmla="*/ 52 h 177"/>
                <a:gd name="T8" fmla="*/ 242 w 298"/>
                <a:gd name="T9" fmla="*/ 21 h 177"/>
                <a:gd name="T10" fmla="*/ 137 w 298"/>
                <a:gd name="T11" fmla="*/ 74 h 177"/>
                <a:gd name="T12" fmla="*/ 63 w 298"/>
                <a:gd name="T13" fmla="*/ 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8" h="177">
                  <a:moveTo>
                    <a:pt x="63" y="8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94" y="177"/>
                    <a:pt x="124" y="174"/>
                  </a:cubicBezTo>
                  <a:cubicBezTo>
                    <a:pt x="154" y="171"/>
                    <a:pt x="242" y="99"/>
                    <a:pt x="277" y="52"/>
                  </a:cubicBezTo>
                  <a:cubicBezTo>
                    <a:pt x="298" y="24"/>
                    <a:pt x="283" y="0"/>
                    <a:pt x="242" y="21"/>
                  </a:cubicBezTo>
                  <a:cubicBezTo>
                    <a:pt x="200" y="43"/>
                    <a:pt x="141" y="73"/>
                    <a:pt x="137" y="74"/>
                  </a:cubicBezTo>
                  <a:cubicBezTo>
                    <a:pt x="133" y="75"/>
                    <a:pt x="63" y="8"/>
                    <a:pt x="63" y="8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69">
              <a:extLst>
                <a:ext uri="{FF2B5EF4-FFF2-40B4-BE49-F238E27FC236}">
                  <a16:creationId xmlns:a16="http://schemas.microsoft.com/office/drawing/2014/main" id="{6AD0388E-9C5E-426E-A12D-BD2867902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" y="1486"/>
              <a:ext cx="17" cy="36"/>
            </a:xfrm>
            <a:custGeom>
              <a:avLst/>
              <a:gdLst>
                <a:gd name="T0" fmla="*/ 7 w 7"/>
                <a:gd name="T1" fmla="*/ 0 h 15"/>
                <a:gd name="T2" fmla="*/ 4 w 7"/>
                <a:gd name="T3" fmla="*/ 8 h 15"/>
                <a:gd name="T4" fmla="*/ 0 w 7"/>
                <a:gd name="T5" fmla="*/ 15 h 15"/>
                <a:gd name="T6" fmla="*/ 3 w 7"/>
                <a:gd name="T7" fmla="*/ 7 h 15"/>
                <a:gd name="T8" fmla="*/ 7 w 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7" y="0"/>
                  </a:moveTo>
                  <a:cubicBezTo>
                    <a:pt x="6" y="3"/>
                    <a:pt x="6" y="5"/>
                    <a:pt x="4" y="8"/>
                  </a:cubicBezTo>
                  <a:cubicBezTo>
                    <a:pt x="3" y="10"/>
                    <a:pt x="2" y="13"/>
                    <a:pt x="0" y="15"/>
                  </a:cubicBezTo>
                  <a:cubicBezTo>
                    <a:pt x="1" y="12"/>
                    <a:pt x="1" y="9"/>
                    <a:pt x="3" y="7"/>
                  </a:cubicBezTo>
                  <a:cubicBezTo>
                    <a:pt x="4" y="5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70">
              <a:extLst>
                <a:ext uri="{FF2B5EF4-FFF2-40B4-BE49-F238E27FC236}">
                  <a16:creationId xmlns:a16="http://schemas.microsoft.com/office/drawing/2014/main" id="{BD273550-620E-4DE9-9C1C-5EB7522A7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4" y="1427"/>
              <a:ext cx="16" cy="33"/>
            </a:xfrm>
            <a:custGeom>
              <a:avLst/>
              <a:gdLst>
                <a:gd name="T0" fmla="*/ 7 w 7"/>
                <a:gd name="T1" fmla="*/ 0 h 14"/>
                <a:gd name="T2" fmla="*/ 4 w 7"/>
                <a:gd name="T3" fmla="*/ 8 h 14"/>
                <a:gd name="T4" fmla="*/ 0 w 7"/>
                <a:gd name="T5" fmla="*/ 14 h 14"/>
                <a:gd name="T6" fmla="*/ 2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6" y="3"/>
                    <a:pt x="5" y="5"/>
                    <a:pt x="4" y="8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71">
              <a:extLst>
                <a:ext uri="{FF2B5EF4-FFF2-40B4-BE49-F238E27FC236}">
                  <a16:creationId xmlns:a16="http://schemas.microsoft.com/office/drawing/2014/main" id="{0E470E8B-803D-4778-8DA5-A11786A5A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2" y="1384"/>
              <a:ext cx="14" cy="34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7 h 14"/>
                <a:gd name="T4" fmla="*/ 0 w 6"/>
                <a:gd name="T5" fmla="*/ 14 h 14"/>
                <a:gd name="T6" fmla="*/ 2 w 6"/>
                <a:gd name="T7" fmla="*/ 7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2"/>
                    <a:pt x="5" y="5"/>
                    <a:pt x="4" y="7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3" y="4"/>
                    <a:pt x="5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72">
              <a:extLst>
                <a:ext uri="{FF2B5EF4-FFF2-40B4-BE49-F238E27FC236}">
                  <a16:creationId xmlns:a16="http://schemas.microsoft.com/office/drawing/2014/main" id="{CB101CEF-80EF-4270-B84A-58D9B22B4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0" y="1615"/>
              <a:ext cx="33" cy="16"/>
            </a:xfrm>
            <a:custGeom>
              <a:avLst/>
              <a:gdLst>
                <a:gd name="T0" fmla="*/ 14 w 14"/>
                <a:gd name="T1" fmla="*/ 7 h 7"/>
                <a:gd name="T2" fmla="*/ 7 w 14"/>
                <a:gd name="T3" fmla="*/ 5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2" y="7"/>
                    <a:pt x="9" y="6"/>
                    <a:pt x="7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3" y="1"/>
                    <a:pt x="5" y="2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73">
              <a:extLst>
                <a:ext uri="{FF2B5EF4-FFF2-40B4-BE49-F238E27FC236}">
                  <a16:creationId xmlns:a16="http://schemas.microsoft.com/office/drawing/2014/main" id="{83093BFE-24FA-42FD-A59A-532CB08E2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" y="1539"/>
              <a:ext cx="36" cy="16"/>
            </a:xfrm>
            <a:custGeom>
              <a:avLst/>
              <a:gdLst>
                <a:gd name="T0" fmla="*/ 15 w 15"/>
                <a:gd name="T1" fmla="*/ 7 h 7"/>
                <a:gd name="T2" fmla="*/ 7 w 15"/>
                <a:gd name="T3" fmla="*/ 5 h 7"/>
                <a:gd name="T4" fmla="*/ 0 w 15"/>
                <a:gd name="T5" fmla="*/ 0 h 7"/>
                <a:gd name="T6" fmla="*/ 8 w 15"/>
                <a:gd name="T7" fmla="*/ 3 h 7"/>
                <a:gd name="T8" fmla="*/ 15 w 1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15" y="7"/>
                  </a:moveTo>
                  <a:cubicBezTo>
                    <a:pt x="12" y="7"/>
                    <a:pt x="10" y="6"/>
                    <a:pt x="7" y="5"/>
                  </a:cubicBezTo>
                  <a:cubicBezTo>
                    <a:pt x="5" y="3"/>
                    <a:pt x="2" y="2"/>
                    <a:pt x="0" y="0"/>
                  </a:cubicBezTo>
                  <a:cubicBezTo>
                    <a:pt x="3" y="1"/>
                    <a:pt x="6" y="2"/>
                    <a:pt x="8" y="3"/>
                  </a:cubicBezTo>
                  <a:cubicBezTo>
                    <a:pt x="10" y="4"/>
                    <a:pt x="13" y="5"/>
                    <a:pt x="15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74">
              <a:extLst>
                <a:ext uri="{FF2B5EF4-FFF2-40B4-BE49-F238E27FC236}">
                  <a16:creationId xmlns:a16="http://schemas.microsoft.com/office/drawing/2014/main" id="{3D847A6D-7B23-4B0A-B381-76F825CFE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" y="1330"/>
              <a:ext cx="36" cy="14"/>
            </a:xfrm>
            <a:custGeom>
              <a:avLst/>
              <a:gdLst>
                <a:gd name="T0" fmla="*/ 15 w 15"/>
                <a:gd name="T1" fmla="*/ 6 h 6"/>
                <a:gd name="T2" fmla="*/ 7 w 15"/>
                <a:gd name="T3" fmla="*/ 4 h 6"/>
                <a:gd name="T4" fmla="*/ 0 w 15"/>
                <a:gd name="T5" fmla="*/ 0 h 6"/>
                <a:gd name="T6" fmla="*/ 8 w 15"/>
                <a:gd name="T7" fmla="*/ 2 h 6"/>
                <a:gd name="T8" fmla="*/ 15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5" y="6"/>
                  </a:moveTo>
                  <a:cubicBezTo>
                    <a:pt x="12" y="6"/>
                    <a:pt x="10" y="5"/>
                    <a:pt x="7" y="4"/>
                  </a:cubicBezTo>
                  <a:cubicBezTo>
                    <a:pt x="5" y="3"/>
                    <a:pt x="2" y="1"/>
                    <a:pt x="0" y="0"/>
                  </a:cubicBezTo>
                  <a:cubicBezTo>
                    <a:pt x="3" y="0"/>
                    <a:pt x="6" y="1"/>
                    <a:pt x="8" y="2"/>
                  </a:cubicBezTo>
                  <a:cubicBezTo>
                    <a:pt x="10" y="3"/>
                    <a:pt x="13" y="4"/>
                    <a:pt x="15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75">
              <a:extLst>
                <a:ext uri="{FF2B5EF4-FFF2-40B4-BE49-F238E27FC236}">
                  <a16:creationId xmlns:a16="http://schemas.microsoft.com/office/drawing/2014/main" id="{303FA3B5-4DDF-4347-B008-F600F9EEF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1460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8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3"/>
                    <a:pt x="3" y="5"/>
                    <a:pt x="4" y="8"/>
                  </a:cubicBezTo>
                  <a:cubicBezTo>
                    <a:pt x="5" y="10"/>
                    <a:pt x="6" y="13"/>
                    <a:pt x="6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76">
              <a:extLst>
                <a:ext uri="{FF2B5EF4-FFF2-40B4-BE49-F238E27FC236}">
                  <a16:creationId xmlns:a16="http://schemas.microsoft.com/office/drawing/2014/main" id="{D0BDA9F9-479A-4685-AE1B-5E88D40CB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" y="1503"/>
              <a:ext cx="12" cy="36"/>
            </a:xfrm>
            <a:custGeom>
              <a:avLst/>
              <a:gdLst>
                <a:gd name="T0" fmla="*/ 0 w 5"/>
                <a:gd name="T1" fmla="*/ 0 h 15"/>
                <a:gd name="T2" fmla="*/ 3 w 5"/>
                <a:gd name="T3" fmla="*/ 8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3"/>
                    <a:pt x="3" y="5"/>
                    <a:pt x="3" y="8"/>
                  </a:cubicBezTo>
                  <a:cubicBezTo>
                    <a:pt x="4" y="10"/>
                    <a:pt x="5" y="13"/>
                    <a:pt x="5" y="15"/>
                  </a:cubicBezTo>
                  <a:cubicBezTo>
                    <a:pt x="4" y="13"/>
                    <a:pt x="2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77">
              <a:extLst>
                <a:ext uri="{FF2B5EF4-FFF2-40B4-BE49-F238E27FC236}">
                  <a16:creationId xmlns:a16="http://schemas.microsoft.com/office/drawing/2014/main" id="{C77F9CF2-D458-4592-9C82-2BCDAB3E5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1394"/>
              <a:ext cx="11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2" y="3"/>
                    <a:pt x="3" y="5"/>
                    <a:pt x="4" y="7"/>
                  </a:cubicBezTo>
                  <a:cubicBezTo>
                    <a:pt x="5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78">
              <a:extLst>
                <a:ext uri="{FF2B5EF4-FFF2-40B4-BE49-F238E27FC236}">
                  <a16:creationId xmlns:a16="http://schemas.microsoft.com/office/drawing/2014/main" id="{A7CF0E3C-A95B-48FC-8329-1DC9A179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" y="1508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79">
              <a:extLst>
                <a:ext uri="{FF2B5EF4-FFF2-40B4-BE49-F238E27FC236}">
                  <a16:creationId xmlns:a16="http://schemas.microsoft.com/office/drawing/2014/main" id="{93845A28-CBA5-4CEA-9196-0AAB96ADC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" y="1410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1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6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80">
              <a:extLst>
                <a:ext uri="{FF2B5EF4-FFF2-40B4-BE49-F238E27FC236}">
                  <a16:creationId xmlns:a16="http://schemas.microsoft.com/office/drawing/2014/main" id="{53995749-54C0-4433-BD54-34ED1488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4" y="1562"/>
              <a:ext cx="36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1 h 5"/>
                <a:gd name="T4" fmla="*/ 15 w 15"/>
                <a:gd name="T5" fmla="*/ 0 h 5"/>
                <a:gd name="T6" fmla="*/ 8 w 15"/>
                <a:gd name="T7" fmla="*/ 3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2"/>
                    <a:pt x="7" y="1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1"/>
                    <a:pt x="10" y="2"/>
                    <a:pt x="8" y="3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181">
              <a:extLst>
                <a:ext uri="{FF2B5EF4-FFF2-40B4-BE49-F238E27FC236}">
                  <a16:creationId xmlns:a16="http://schemas.microsoft.com/office/drawing/2014/main" id="{4E9BADC8-C1B1-48FC-9718-B58E30EF5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" y="1600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3" y="1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182">
              <a:extLst>
                <a:ext uri="{FF2B5EF4-FFF2-40B4-BE49-F238E27FC236}">
                  <a16:creationId xmlns:a16="http://schemas.microsoft.com/office/drawing/2014/main" id="{909061D6-9FD4-4DE9-A95B-5EC030F0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" y="1339"/>
              <a:ext cx="116" cy="245"/>
            </a:xfrm>
            <a:custGeom>
              <a:avLst/>
              <a:gdLst>
                <a:gd name="T0" fmla="*/ 25 w 49"/>
                <a:gd name="T1" fmla="*/ 52 h 103"/>
                <a:gd name="T2" fmla="*/ 49 w 49"/>
                <a:gd name="T3" fmla="*/ 1 h 103"/>
                <a:gd name="T4" fmla="*/ 49 w 49"/>
                <a:gd name="T5" fmla="*/ 0 h 103"/>
                <a:gd name="T6" fmla="*/ 23 w 49"/>
                <a:gd name="T7" fmla="*/ 50 h 103"/>
                <a:gd name="T8" fmla="*/ 0 w 49"/>
                <a:gd name="T9" fmla="*/ 102 h 103"/>
                <a:gd name="T10" fmla="*/ 0 w 49"/>
                <a:gd name="T11" fmla="*/ 103 h 103"/>
                <a:gd name="T12" fmla="*/ 25 w 49"/>
                <a:gd name="T13" fmla="*/ 5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03">
                  <a:moveTo>
                    <a:pt x="25" y="52"/>
                  </a:moveTo>
                  <a:cubicBezTo>
                    <a:pt x="30" y="44"/>
                    <a:pt x="46" y="9"/>
                    <a:pt x="49" y="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4" y="8"/>
                    <a:pt x="27" y="42"/>
                    <a:pt x="23" y="50"/>
                  </a:cubicBezTo>
                  <a:cubicBezTo>
                    <a:pt x="15" y="67"/>
                    <a:pt x="6" y="84"/>
                    <a:pt x="0" y="102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0" y="87"/>
                    <a:pt x="17" y="69"/>
                    <a:pt x="25" y="5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183">
              <a:extLst>
                <a:ext uri="{FF2B5EF4-FFF2-40B4-BE49-F238E27FC236}">
                  <a16:creationId xmlns:a16="http://schemas.microsoft.com/office/drawing/2014/main" id="{0CEE0944-5363-4362-8359-7FF2B88EB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" y="1296"/>
              <a:ext cx="347" cy="366"/>
            </a:xfrm>
            <a:custGeom>
              <a:avLst/>
              <a:gdLst>
                <a:gd name="T0" fmla="*/ 130 w 146"/>
                <a:gd name="T1" fmla="*/ 41 h 154"/>
                <a:gd name="T2" fmla="*/ 0 w 146"/>
                <a:gd name="T3" fmla="*/ 154 h 154"/>
                <a:gd name="T4" fmla="*/ 119 w 146"/>
                <a:gd name="T5" fmla="*/ 2 h 154"/>
                <a:gd name="T6" fmla="*/ 120 w 146"/>
                <a:gd name="T7" fmla="*/ 2 h 154"/>
                <a:gd name="T8" fmla="*/ 130 w 146"/>
                <a:gd name="T9" fmla="*/ 4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54">
                  <a:moveTo>
                    <a:pt x="130" y="41"/>
                  </a:moveTo>
                  <a:cubicBezTo>
                    <a:pt x="102" y="79"/>
                    <a:pt x="39" y="133"/>
                    <a:pt x="0" y="154"/>
                  </a:cubicBezTo>
                  <a:cubicBezTo>
                    <a:pt x="119" y="2"/>
                    <a:pt x="119" y="2"/>
                    <a:pt x="119" y="2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41" y="0"/>
                    <a:pt x="146" y="19"/>
                    <a:pt x="130" y="4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184">
              <a:extLst>
                <a:ext uri="{FF2B5EF4-FFF2-40B4-BE49-F238E27FC236}">
                  <a16:creationId xmlns:a16="http://schemas.microsoft.com/office/drawing/2014/main" id="{3CB333BD-2991-4B1D-93C4-A94CBD529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" y="1268"/>
              <a:ext cx="594" cy="765"/>
            </a:xfrm>
            <a:custGeom>
              <a:avLst/>
              <a:gdLst>
                <a:gd name="T0" fmla="*/ 247 w 250"/>
                <a:gd name="T1" fmla="*/ 322 h 322"/>
                <a:gd name="T2" fmla="*/ 3 w 250"/>
                <a:gd name="T3" fmla="*/ 303 h 322"/>
                <a:gd name="T4" fmla="*/ 96 w 250"/>
                <a:gd name="T5" fmla="*/ 18 h 322"/>
                <a:gd name="T6" fmla="*/ 159 w 250"/>
                <a:gd name="T7" fmla="*/ 15 h 322"/>
                <a:gd name="T8" fmla="*/ 230 w 250"/>
                <a:gd name="T9" fmla="*/ 204 h 322"/>
                <a:gd name="T10" fmla="*/ 247 w 250"/>
                <a:gd name="T11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322">
                  <a:moveTo>
                    <a:pt x="247" y="322"/>
                  </a:moveTo>
                  <a:cubicBezTo>
                    <a:pt x="247" y="322"/>
                    <a:pt x="5" y="306"/>
                    <a:pt x="3" y="303"/>
                  </a:cubicBezTo>
                  <a:cubicBezTo>
                    <a:pt x="0" y="299"/>
                    <a:pt x="77" y="54"/>
                    <a:pt x="96" y="18"/>
                  </a:cubicBezTo>
                  <a:cubicBezTo>
                    <a:pt x="104" y="2"/>
                    <a:pt x="143" y="0"/>
                    <a:pt x="159" y="15"/>
                  </a:cubicBezTo>
                  <a:cubicBezTo>
                    <a:pt x="197" y="51"/>
                    <a:pt x="224" y="169"/>
                    <a:pt x="230" y="204"/>
                  </a:cubicBezTo>
                  <a:cubicBezTo>
                    <a:pt x="239" y="262"/>
                    <a:pt x="250" y="320"/>
                    <a:pt x="247" y="322"/>
                  </a:cubicBezTo>
                  <a:close/>
                </a:path>
              </a:pathLst>
            </a:custGeom>
            <a:solidFill>
              <a:srgbClr val="FED6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185">
              <a:extLst>
                <a:ext uri="{FF2B5EF4-FFF2-40B4-BE49-F238E27FC236}">
                  <a16:creationId xmlns:a16="http://schemas.microsoft.com/office/drawing/2014/main" id="{347C4F25-A8B2-4F43-BD49-F68259837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" y="1470"/>
              <a:ext cx="14" cy="33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8 h 14"/>
                <a:gd name="T4" fmla="*/ 0 w 6"/>
                <a:gd name="T5" fmla="*/ 14 h 14"/>
                <a:gd name="T6" fmla="*/ 2 w 6"/>
                <a:gd name="T7" fmla="*/ 7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3"/>
                    <a:pt x="5" y="5"/>
                    <a:pt x="4" y="8"/>
                  </a:cubicBezTo>
                  <a:cubicBezTo>
                    <a:pt x="3" y="10"/>
                    <a:pt x="1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3" y="4"/>
                    <a:pt x="4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186">
              <a:extLst>
                <a:ext uri="{FF2B5EF4-FFF2-40B4-BE49-F238E27FC236}">
                  <a16:creationId xmlns:a16="http://schemas.microsoft.com/office/drawing/2014/main" id="{DE87C2D2-4669-4A5D-8E14-A0EF9CBD2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1707"/>
              <a:ext cx="17" cy="33"/>
            </a:xfrm>
            <a:custGeom>
              <a:avLst/>
              <a:gdLst>
                <a:gd name="T0" fmla="*/ 7 w 7"/>
                <a:gd name="T1" fmla="*/ 0 h 14"/>
                <a:gd name="T2" fmla="*/ 4 w 7"/>
                <a:gd name="T3" fmla="*/ 7 h 14"/>
                <a:gd name="T4" fmla="*/ 0 w 7"/>
                <a:gd name="T5" fmla="*/ 14 h 14"/>
                <a:gd name="T6" fmla="*/ 2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6" y="3"/>
                    <a:pt x="5" y="5"/>
                    <a:pt x="4" y="7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0" y="12"/>
                    <a:pt x="1" y="9"/>
                    <a:pt x="2" y="7"/>
                  </a:cubicBezTo>
                  <a:cubicBezTo>
                    <a:pt x="3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187">
              <a:extLst>
                <a:ext uri="{FF2B5EF4-FFF2-40B4-BE49-F238E27FC236}">
                  <a16:creationId xmlns:a16="http://schemas.microsoft.com/office/drawing/2014/main" id="{81739B55-09A7-4019-B149-9A2AD2755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" y="1964"/>
              <a:ext cx="14" cy="35"/>
            </a:xfrm>
            <a:custGeom>
              <a:avLst/>
              <a:gdLst>
                <a:gd name="T0" fmla="*/ 6 w 6"/>
                <a:gd name="T1" fmla="*/ 0 h 15"/>
                <a:gd name="T2" fmla="*/ 4 w 6"/>
                <a:gd name="T3" fmla="*/ 8 h 15"/>
                <a:gd name="T4" fmla="*/ 0 w 6"/>
                <a:gd name="T5" fmla="*/ 15 h 15"/>
                <a:gd name="T6" fmla="*/ 2 w 6"/>
                <a:gd name="T7" fmla="*/ 7 h 15"/>
                <a:gd name="T8" fmla="*/ 6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6" y="0"/>
                  </a:moveTo>
                  <a:cubicBezTo>
                    <a:pt x="6" y="3"/>
                    <a:pt x="5" y="6"/>
                    <a:pt x="4" y="8"/>
                  </a:cubicBezTo>
                  <a:cubicBezTo>
                    <a:pt x="3" y="11"/>
                    <a:pt x="1" y="13"/>
                    <a:pt x="0" y="15"/>
                  </a:cubicBezTo>
                  <a:cubicBezTo>
                    <a:pt x="0" y="12"/>
                    <a:pt x="1" y="10"/>
                    <a:pt x="2" y="7"/>
                  </a:cubicBezTo>
                  <a:cubicBezTo>
                    <a:pt x="3" y="5"/>
                    <a:pt x="4" y="3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188">
              <a:extLst>
                <a:ext uri="{FF2B5EF4-FFF2-40B4-BE49-F238E27FC236}">
                  <a16:creationId xmlns:a16="http://schemas.microsoft.com/office/drawing/2014/main" id="{32AEF7D8-3933-455C-957B-4C3136BEF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9" y="1650"/>
              <a:ext cx="17" cy="34"/>
            </a:xfrm>
            <a:custGeom>
              <a:avLst/>
              <a:gdLst>
                <a:gd name="T0" fmla="*/ 7 w 7"/>
                <a:gd name="T1" fmla="*/ 0 h 14"/>
                <a:gd name="T2" fmla="*/ 5 w 7"/>
                <a:gd name="T3" fmla="*/ 8 h 14"/>
                <a:gd name="T4" fmla="*/ 0 w 7"/>
                <a:gd name="T5" fmla="*/ 14 h 14"/>
                <a:gd name="T6" fmla="*/ 3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7" y="3"/>
                    <a:pt x="6" y="5"/>
                    <a:pt x="5" y="8"/>
                  </a:cubicBezTo>
                  <a:cubicBezTo>
                    <a:pt x="3" y="10"/>
                    <a:pt x="2" y="12"/>
                    <a:pt x="0" y="14"/>
                  </a:cubicBezTo>
                  <a:cubicBezTo>
                    <a:pt x="1" y="12"/>
                    <a:pt x="2" y="9"/>
                    <a:pt x="3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189">
              <a:extLst>
                <a:ext uri="{FF2B5EF4-FFF2-40B4-BE49-F238E27FC236}">
                  <a16:creationId xmlns:a16="http://schemas.microsoft.com/office/drawing/2014/main" id="{F6CC9BA7-1341-41C2-99CF-2E27FA781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3" y="1819"/>
              <a:ext cx="16" cy="33"/>
            </a:xfrm>
            <a:custGeom>
              <a:avLst/>
              <a:gdLst>
                <a:gd name="T0" fmla="*/ 7 w 7"/>
                <a:gd name="T1" fmla="*/ 0 h 14"/>
                <a:gd name="T2" fmla="*/ 5 w 7"/>
                <a:gd name="T3" fmla="*/ 7 h 14"/>
                <a:gd name="T4" fmla="*/ 0 w 7"/>
                <a:gd name="T5" fmla="*/ 14 h 14"/>
                <a:gd name="T6" fmla="*/ 3 w 7"/>
                <a:gd name="T7" fmla="*/ 7 h 14"/>
                <a:gd name="T8" fmla="*/ 7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7" y="0"/>
                  </a:moveTo>
                  <a:cubicBezTo>
                    <a:pt x="7" y="3"/>
                    <a:pt x="6" y="5"/>
                    <a:pt x="5" y="7"/>
                  </a:cubicBezTo>
                  <a:cubicBezTo>
                    <a:pt x="4" y="10"/>
                    <a:pt x="2" y="12"/>
                    <a:pt x="0" y="14"/>
                  </a:cubicBezTo>
                  <a:cubicBezTo>
                    <a:pt x="1" y="12"/>
                    <a:pt x="2" y="9"/>
                    <a:pt x="3" y="7"/>
                  </a:cubicBezTo>
                  <a:cubicBezTo>
                    <a:pt x="4" y="4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190">
              <a:extLst>
                <a:ext uri="{FF2B5EF4-FFF2-40B4-BE49-F238E27FC236}">
                  <a16:creationId xmlns:a16="http://schemas.microsoft.com/office/drawing/2014/main" id="{149A23E8-6486-4A9B-AEC9-CFA0EC183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1911"/>
              <a:ext cx="17" cy="36"/>
            </a:xfrm>
            <a:custGeom>
              <a:avLst/>
              <a:gdLst>
                <a:gd name="T0" fmla="*/ 7 w 7"/>
                <a:gd name="T1" fmla="*/ 0 h 15"/>
                <a:gd name="T2" fmla="*/ 5 w 7"/>
                <a:gd name="T3" fmla="*/ 8 h 15"/>
                <a:gd name="T4" fmla="*/ 0 w 7"/>
                <a:gd name="T5" fmla="*/ 15 h 15"/>
                <a:gd name="T6" fmla="*/ 3 w 7"/>
                <a:gd name="T7" fmla="*/ 7 h 15"/>
                <a:gd name="T8" fmla="*/ 7 w 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7" y="0"/>
                  </a:moveTo>
                  <a:cubicBezTo>
                    <a:pt x="7" y="3"/>
                    <a:pt x="6" y="6"/>
                    <a:pt x="5" y="8"/>
                  </a:cubicBezTo>
                  <a:cubicBezTo>
                    <a:pt x="3" y="10"/>
                    <a:pt x="2" y="13"/>
                    <a:pt x="0" y="15"/>
                  </a:cubicBezTo>
                  <a:cubicBezTo>
                    <a:pt x="1" y="12"/>
                    <a:pt x="2" y="10"/>
                    <a:pt x="3" y="7"/>
                  </a:cubicBezTo>
                  <a:cubicBezTo>
                    <a:pt x="4" y="5"/>
                    <a:pt x="5" y="2"/>
                    <a:pt x="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191">
              <a:extLst>
                <a:ext uri="{FF2B5EF4-FFF2-40B4-BE49-F238E27FC236}">
                  <a16:creationId xmlns:a16="http://schemas.microsoft.com/office/drawing/2014/main" id="{017465B3-AEE3-454E-B396-ABCD6CFBE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" y="1608"/>
              <a:ext cx="15" cy="33"/>
            </a:xfrm>
            <a:custGeom>
              <a:avLst/>
              <a:gdLst>
                <a:gd name="T0" fmla="*/ 6 w 6"/>
                <a:gd name="T1" fmla="*/ 0 h 14"/>
                <a:gd name="T2" fmla="*/ 4 w 6"/>
                <a:gd name="T3" fmla="*/ 7 h 14"/>
                <a:gd name="T4" fmla="*/ 0 w 6"/>
                <a:gd name="T5" fmla="*/ 14 h 14"/>
                <a:gd name="T6" fmla="*/ 2 w 6"/>
                <a:gd name="T7" fmla="*/ 6 h 14"/>
                <a:gd name="T8" fmla="*/ 6 w 6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4">
                  <a:moveTo>
                    <a:pt x="6" y="0"/>
                  </a:moveTo>
                  <a:cubicBezTo>
                    <a:pt x="6" y="2"/>
                    <a:pt x="5" y="5"/>
                    <a:pt x="4" y="7"/>
                  </a:cubicBezTo>
                  <a:cubicBezTo>
                    <a:pt x="3" y="10"/>
                    <a:pt x="1" y="12"/>
                    <a:pt x="0" y="14"/>
                  </a:cubicBezTo>
                  <a:cubicBezTo>
                    <a:pt x="0" y="11"/>
                    <a:pt x="1" y="9"/>
                    <a:pt x="2" y="6"/>
                  </a:cubicBezTo>
                  <a:cubicBezTo>
                    <a:pt x="3" y="4"/>
                    <a:pt x="4" y="2"/>
                    <a:pt x="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92">
              <a:extLst>
                <a:ext uri="{FF2B5EF4-FFF2-40B4-BE49-F238E27FC236}">
                  <a16:creationId xmlns:a16="http://schemas.microsoft.com/office/drawing/2014/main" id="{9C59F4D0-E385-4D83-959D-9BBE2EA89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" y="1560"/>
              <a:ext cx="34" cy="17"/>
            </a:xfrm>
            <a:custGeom>
              <a:avLst/>
              <a:gdLst>
                <a:gd name="T0" fmla="*/ 14 w 14"/>
                <a:gd name="T1" fmla="*/ 7 h 7"/>
                <a:gd name="T2" fmla="*/ 6 w 14"/>
                <a:gd name="T3" fmla="*/ 4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193">
              <a:extLst>
                <a:ext uri="{FF2B5EF4-FFF2-40B4-BE49-F238E27FC236}">
                  <a16:creationId xmlns:a16="http://schemas.microsoft.com/office/drawing/2014/main" id="{57FE5B3E-FE99-4E96-B716-2A5798CA5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9" y="1769"/>
              <a:ext cx="33" cy="17"/>
            </a:xfrm>
            <a:custGeom>
              <a:avLst/>
              <a:gdLst>
                <a:gd name="T0" fmla="*/ 14 w 14"/>
                <a:gd name="T1" fmla="*/ 7 h 7"/>
                <a:gd name="T2" fmla="*/ 6 w 14"/>
                <a:gd name="T3" fmla="*/ 5 h 7"/>
                <a:gd name="T4" fmla="*/ 0 w 14"/>
                <a:gd name="T5" fmla="*/ 0 h 7"/>
                <a:gd name="T6" fmla="*/ 7 w 14"/>
                <a:gd name="T7" fmla="*/ 3 h 7"/>
                <a:gd name="T8" fmla="*/ 14 w 1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4" y="7"/>
                  </a:moveTo>
                  <a:cubicBezTo>
                    <a:pt x="11" y="7"/>
                    <a:pt x="9" y="6"/>
                    <a:pt x="6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2" y="1"/>
                    <a:pt x="5" y="2"/>
                    <a:pt x="7" y="3"/>
                  </a:cubicBezTo>
                  <a:cubicBezTo>
                    <a:pt x="10" y="4"/>
                    <a:pt x="12" y="5"/>
                    <a:pt x="1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194">
              <a:extLst>
                <a:ext uri="{FF2B5EF4-FFF2-40B4-BE49-F238E27FC236}">
                  <a16:creationId xmlns:a16="http://schemas.microsoft.com/office/drawing/2014/main" id="{A7A4B442-8C43-4B66-B34E-1A57E416B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5" y="2006"/>
              <a:ext cx="28" cy="15"/>
            </a:xfrm>
            <a:custGeom>
              <a:avLst/>
              <a:gdLst>
                <a:gd name="T0" fmla="*/ 12 w 12"/>
                <a:gd name="T1" fmla="*/ 6 h 6"/>
                <a:gd name="T2" fmla="*/ 8 w 12"/>
                <a:gd name="T3" fmla="*/ 5 h 6"/>
                <a:gd name="T4" fmla="*/ 7 w 12"/>
                <a:gd name="T5" fmla="*/ 5 h 6"/>
                <a:gd name="T6" fmla="*/ 0 w 12"/>
                <a:gd name="T7" fmla="*/ 0 h 6"/>
                <a:gd name="T8" fmla="*/ 7 w 12"/>
                <a:gd name="T9" fmla="*/ 3 h 6"/>
                <a:gd name="T10" fmla="*/ 12 w 12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cubicBezTo>
                    <a:pt x="11" y="6"/>
                    <a:pt x="10" y="6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4" y="4"/>
                    <a:pt x="2" y="2"/>
                    <a:pt x="0" y="0"/>
                  </a:cubicBezTo>
                  <a:cubicBezTo>
                    <a:pt x="2" y="1"/>
                    <a:pt x="5" y="2"/>
                    <a:pt x="7" y="3"/>
                  </a:cubicBezTo>
                  <a:cubicBezTo>
                    <a:pt x="9" y="4"/>
                    <a:pt x="11" y="5"/>
                    <a:pt x="12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95">
              <a:extLst>
                <a:ext uri="{FF2B5EF4-FFF2-40B4-BE49-F238E27FC236}">
                  <a16:creationId xmlns:a16="http://schemas.microsoft.com/office/drawing/2014/main" id="{26BEE194-12B3-4AE8-A7A5-085EB3B9A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6" y="1807"/>
              <a:ext cx="34" cy="14"/>
            </a:xfrm>
            <a:custGeom>
              <a:avLst/>
              <a:gdLst>
                <a:gd name="T0" fmla="*/ 14 w 14"/>
                <a:gd name="T1" fmla="*/ 6 h 6"/>
                <a:gd name="T2" fmla="*/ 6 w 14"/>
                <a:gd name="T3" fmla="*/ 4 h 6"/>
                <a:gd name="T4" fmla="*/ 0 w 14"/>
                <a:gd name="T5" fmla="*/ 0 h 6"/>
                <a:gd name="T6" fmla="*/ 7 w 14"/>
                <a:gd name="T7" fmla="*/ 2 h 6"/>
                <a:gd name="T8" fmla="*/ 14 w 1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6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2"/>
                  </a:cubicBezTo>
                  <a:cubicBezTo>
                    <a:pt x="10" y="3"/>
                    <a:pt x="12" y="5"/>
                    <a:pt x="1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96">
              <a:extLst>
                <a:ext uri="{FF2B5EF4-FFF2-40B4-BE49-F238E27FC236}">
                  <a16:creationId xmlns:a16="http://schemas.microsoft.com/office/drawing/2014/main" id="{4D6A5E7B-AC3A-4225-946B-35C6789D0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" y="1380"/>
              <a:ext cx="34" cy="14"/>
            </a:xfrm>
            <a:custGeom>
              <a:avLst/>
              <a:gdLst>
                <a:gd name="T0" fmla="*/ 14 w 14"/>
                <a:gd name="T1" fmla="*/ 6 h 6"/>
                <a:gd name="T2" fmla="*/ 6 w 14"/>
                <a:gd name="T3" fmla="*/ 4 h 6"/>
                <a:gd name="T4" fmla="*/ 0 w 14"/>
                <a:gd name="T5" fmla="*/ 0 h 6"/>
                <a:gd name="T6" fmla="*/ 7 w 14"/>
                <a:gd name="T7" fmla="*/ 2 h 6"/>
                <a:gd name="T8" fmla="*/ 14 w 1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6"/>
                  </a:moveTo>
                  <a:cubicBezTo>
                    <a:pt x="11" y="6"/>
                    <a:pt x="9" y="5"/>
                    <a:pt x="6" y="4"/>
                  </a:cubicBezTo>
                  <a:cubicBezTo>
                    <a:pt x="4" y="3"/>
                    <a:pt x="2" y="2"/>
                    <a:pt x="0" y="0"/>
                  </a:cubicBezTo>
                  <a:cubicBezTo>
                    <a:pt x="2" y="0"/>
                    <a:pt x="5" y="1"/>
                    <a:pt x="7" y="2"/>
                  </a:cubicBezTo>
                  <a:cubicBezTo>
                    <a:pt x="10" y="3"/>
                    <a:pt x="12" y="5"/>
                    <a:pt x="14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97">
              <a:extLst>
                <a:ext uri="{FF2B5EF4-FFF2-40B4-BE49-F238E27FC236}">
                  <a16:creationId xmlns:a16="http://schemas.microsoft.com/office/drawing/2014/main" id="{6FB6827B-893F-4407-A672-06C8A3263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" y="1425"/>
              <a:ext cx="12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3"/>
                    <a:pt x="3" y="5"/>
                    <a:pt x="4" y="7"/>
                  </a:cubicBezTo>
                  <a:cubicBezTo>
                    <a:pt x="4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198">
              <a:extLst>
                <a:ext uri="{FF2B5EF4-FFF2-40B4-BE49-F238E27FC236}">
                  <a16:creationId xmlns:a16="http://schemas.microsoft.com/office/drawing/2014/main" id="{41C8CCCE-61D0-425C-A1B2-C7E85AD1C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1693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5"/>
                    <a:pt x="4" y="7"/>
                  </a:cubicBezTo>
                  <a:cubicBezTo>
                    <a:pt x="5" y="10"/>
                    <a:pt x="6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199">
              <a:extLst>
                <a:ext uri="{FF2B5EF4-FFF2-40B4-BE49-F238E27FC236}">
                  <a16:creationId xmlns:a16="http://schemas.microsoft.com/office/drawing/2014/main" id="{703A5615-7721-46A8-BE4B-C790456E2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1" y="1935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4"/>
                    <a:pt x="4" y="7"/>
                  </a:cubicBezTo>
                  <a:cubicBezTo>
                    <a:pt x="5" y="9"/>
                    <a:pt x="6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200">
              <a:extLst>
                <a:ext uri="{FF2B5EF4-FFF2-40B4-BE49-F238E27FC236}">
                  <a16:creationId xmlns:a16="http://schemas.microsoft.com/office/drawing/2014/main" id="{6362437B-6829-48A1-B65F-C0EFF5DCE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" y="1579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8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3"/>
                    <a:pt x="3" y="5"/>
                    <a:pt x="4" y="8"/>
                  </a:cubicBezTo>
                  <a:cubicBezTo>
                    <a:pt x="5" y="10"/>
                    <a:pt x="6" y="13"/>
                    <a:pt x="6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1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201">
              <a:extLst>
                <a:ext uri="{FF2B5EF4-FFF2-40B4-BE49-F238E27FC236}">
                  <a16:creationId xmlns:a16="http://schemas.microsoft.com/office/drawing/2014/main" id="{8D420FD8-CC8F-489C-BA1F-1555B7B9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" y="1797"/>
              <a:ext cx="12" cy="36"/>
            </a:xfrm>
            <a:custGeom>
              <a:avLst/>
              <a:gdLst>
                <a:gd name="T0" fmla="*/ 0 w 5"/>
                <a:gd name="T1" fmla="*/ 0 h 15"/>
                <a:gd name="T2" fmla="*/ 3 w 5"/>
                <a:gd name="T3" fmla="*/ 7 h 15"/>
                <a:gd name="T4" fmla="*/ 5 w 5"/>
                <a:gd name="T5" fmla="*/ 15 h 15"/>
                <a:gd name="T6" fmla="*/ 1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1" y="2"/>
                    <a:pt x="2" y="4"/>
                    <a:pt x="3" y="7"/>
                  </a:cubicBezTo>
                  <a:cubicBezTo>
                    <a:pt x="4" y="9"/>
                    <a:pt x="5" y="12"/>
                    <a:pt x="5" y="15"/>
                  </a:cubicBezTo>
                  <a:cubicBezTo>
                    <a:pt x="4" y="13"/>
                    <a:pt x="2" y="10"/>
                    <a:pt x="1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02">
              <a:extLst>
                <a:ext uri="{FF2B5EF4-FFF2-40B4-BE49-F238E27FC236}">
                  <a16:creationId xmlns:a16="http://schemas.microsoft.com/office/drawing/2014/main" id="{F35AF893-5F90-4B27-94A0-937FF1814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5" y="1885"/>
              <a:ext cx="14" cy="36"/>
            </a:xfrm>
            <a:custGeom>
              <a:avLst/>
              <a:gdLst>
                <a:gd name="T0" fmla="*/ 0 w 6"/>
                <a:gd name="T1" fmla="*/ 0 h 15"/>
                <a:gd name="T2" fmla="*/ 4 w 6"/>
                <a:gd name="T3" fmla="*/ 7 h 15"/>
                <a:gd name="T4" fmla="*/ 6 w 6"/>
                <a:gd name="T5" fmla="*/ 15 h 15"/>
                <a:gd name="T6" fmla="*/ 2 w 6"/>
                <a:gd name="T7" fmla="*/ 8 h 15"/>
                <a:gd name="T8" fmla="*/ 0 w 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5">
                  <a:moveTo>
                    <a:pt x="0" y="0"/>
                  </a:moveTo>
                  <a:cubicBezTo>
                    <a:pt x="2" y="2"/>
                    <a:pt x="3" y="5"/>
                    <a:pt x="4" y="7"/>
                  </a:cubicBezTo>
                  <a:cubicBezTo>
                    <a:pt x="5" y="10"/>
                    <a:pt x="5" y="12"/>
                    <a:pt x="6" y="15"/>
                  </a:cubicBezTo>
                  <a:cubicBezTo>
                    <a:pt x="4" y="13"/>
                    <a:pt x="3" y="10"/>
                    <a:pt x="2" y="8"/>
                  </a:cubicBezTo>
                  <a:cubicBezTo>
                    <a:pt x="1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03">
              <a:extLst>
                <a:ext uri="{FF2B5EF4-FFF2-40B4-BE49-F238E27FC236}">
                  <a16:creationId xmlns:a16="http://schemas.microsoft.com/office/drawing/2014/main" id="{3B34D108-01D9-4270-9F57-6812F321E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" y="1394"/>
              <a:ext cx="11" cy="35"/>
            </a:xfrm>
            <a:custGeom>
              <a:avLst/>
              <a:gdLst>
                <a:gd name="T0" fmla="*/ 0 w 5"/>
                <a:gd name="T1" fmla="*/ 0 h 15"/>
                <a:gd name="T2" fmla="*/ 4 w 5"/>
                <a:gd name="T3" fmla="*/ 7 h 15"/>
                <a:gd name="T4" fmla="*/ 5 w 5"/>
                <a:gd name="T5" fmla="*/ 15 h 15"/>
                <a:gd name="T6" fmla="*/ 2 w 5"/>
                <a:gd name="T7" fmla="*/ 8 h 15"/>
                <a:gd name="T8" fmla="*/ 0 w 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5">
                  <a:moveTo>
                    <a:pt x="0" y="0"/>
                  </a:moveTo>
                  <a:cubicBezTo>
                    <a:pt x="2" y="3"/>
                    <a:pt x="3" y="5"/>
                    <a:pt x="4" y="7"/>
                  </a:cubicBezTo>
                  <a:cubicBezTo>
                    <a:pt x="5" y="10"/>
                    <a:pt x="5" y="13"/>
                    <a:pt x="5" y="15"/>
                  </a:cubicBezTo>
                  <a:cubicBezTo>
                    <a:pt x="4" y="13"/>
                    <a:pt x="3" y="11"/>
                    <a:pt x="2" y="8"/>
                  </a:cubicBezTo>
                  <a:cubicBezTo>
                    <a:pt x="1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204">
              <a:extLst>
                <a:ext uri="{FF2B5EF4-FFF2-40B4-BE49-F238E27FC236}">
                  <a16:creationId xmlns:a16="http://schemas.microsoft.com/office/drawing/2014/main" id="{A569D602-6650-441E-847C-AF9B624EB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4" y="1508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205">
              <a:extLst>
                <a:ext uri="{FF2B5EF4-FFF2-40B4-BE49-F238E27FC236}">
                  <a16:creationId xmlns:a16="http://schemas.microsoft.com/office/drawing/2014/main" id="{0E30EAE6-123E-43E4-8B53-666339814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6" y="1885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5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206">
              <a:extLst>
                <a:ext uri="{FF2B5EF4-FFF2-40B4-BE49-F238E27FC236}">
                  <a16:creationId xmlns:a16="http://schemas.microsoft.com/office/drawing/2014/main" id="{4B954AAA-5C47-4867-9E97-CDF1568A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" y="1724"/>
              <a:ext cx="36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3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2"/>
                    <a:pt x="7" y="2"/>
                  </a:cubicBezTo>
                  <a:cubicBezTo>
                    <a:pt x="10" y="1"/>
                    <a:pt x="13" y="0"/>
                    <a:pt x="15" y="0"/>
                  </a:cubicBezTo>
                  <a:cubicBezTo>
                    <a:pt x="13" y="1"/>
                    <a:pt x="11" y="3"/>
                    <a:pt x="8" y="3"/>
                  </a:cubicBezTo>
                  <a:cubicBezTo>
                    <a:pt x="6" y="4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207">
              <a:extLst>
                <a:ext uri="{FF2B5EF4-FFF2-40B4-BE49-F238E27FC236}">
                  <a16:creationId xmlns:a16="http://schemas.microsoft.com/office/drawing/2014/main" id="{D95693DA-20DE-4E3A-B731-0D1D034EB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" y="1539"/>
              <a:ext cx="31" cy="14"/>
            </a:xfrm>
            <a:custGeom>
              <a:avLst/>
              <a:gdLst>
                <a:gd name="T0" fmla="*/ 13 w 13"/>
                <a:gd name="T1" fmla="*/ 1 h 6"/>
                <a:gd name="T2" fmla="*/ 7 w 13"/>
                <a:gd name="T3" fmla="*/ 4 h 6"/>
                <a:gd name="T4" fmla="*/ 0 w 13"/>
                <a:gd name="T5" fmla="*/ 6 h 6"/>
                <a:gd name="T6" fmla="*/ 7 w 13"/>
                <a:gd name="T7" fmla="*/ 2 h 6"/>
                <a:gd name="T8" fmla="*/ 13 w 13"/>
                <a:gd name="T9" fmla="*/ 0 h 6"/>
                <a:gd name="T10" fmla="*/ 13 w 13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6">
                  <a:moveTo>
                    <a:pt x="13" y="1"/>
                  </a:moveTo>
                  <a:cubicBezTo>
                    <a:pt x="12" y="2"/>
                    <a:pt x="9" y="3"/>
                    <a:pt x="7" y="4"/>
                  </a:cubicBezTo>
                  <a:cubicBezTo>
                    <a:pt x="5" y="5"/>
                    <a:pt x="2" y="6"/>
                    <a:pt x="0" y="6"/>
                  </a:cubicBez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1" y="1"/>
                    <a:pt x="13" y="0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208">
              <a:extLst>
                <a:ext uri="{FF2B5EF4-FFF2-40B4-BE49-F238E27FC236}">
                  <a16:creationId xmlns:a16="http://schemas.microsoft.com/office/drawing/2014/main" id="{A9692A82-E29A-451F-A8B7-5CB7BED7F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" y="1885"/>
              <a:ext cx="36" cy="15"/>
            </a:xfrm>
            <a:custGeom>
              <a:avLst/>
              <a:gdLst>
                <a:gd name="T0" fmla="*/ 0 w 15"/>
                <a:gd name="T1" fmla="*/ 6 h 6"/>
                <a:gd name="T2" fmla="*/ 7 w 15"/>
                <a:gd name="T3" fmla="*/ 2 h 6"/>
                <a:gd name="T4" fmla="*/ 15 w 15"/>
                <a:gd name="T5" fmla="*/ 0 h 6"/>
                <a:gd name="T6" fmla="*/ 7 w 15"/>
                <a:gd name="T7" fmla="*/ 4 h 6"/>
                <a:gd name="T8" fmla="*/ 0 w 15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cubicBezTo>
                    <a:pt x="2" y="4"/>
                    <a:pt x="4" y="3"/>
                    <a:pt x="7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2" y="2"/>
                    <a:pt x="10" y="3"/>
                    <a:pt x="7" y="4"/>
                  </a:cubicBezTo>
                  <a:cubicBezTo>
                    <a:pt x="5" y="5"/>
                    <a:pt x="2" y="5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209">
              <a:extLst>
                <a:ext uri="{FF2B5EF4-FFF2-40B4-BE49-F238E27FC236}">
                  <a16:creationId xmlns:a16="http://schemas.microsoft.com/office/drawing/2014/main" id="{4E34DBD9-FC6F-45ED-B23E-E1EBCE24A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4" y="1650"/>
              <a:ext cx="35" cy="12"/>
            </a:xfrm>
            <a:custGeom>
              <a:avLst/>
              <a:gdLst>
                <a:gd name="T0" fmla="*/ 0 w 15"/>
                <a:gd name="T1" fmla="*/ 5 h 5"/>
                <a:gd name="T2" fmla="*/ 7 w 15"/>
                <a:gd name="T3" fmla="*/ 2 h 5"/>
                <a:gd name="T4" fmla="*/ 15 w 15"/>
                <a:gd name="T5" fmla="*/ 0 h 5"/>
                <a:gd name="T6" fmla="*/ 8 w 15"/>
                <a:gd name="T7" fmla="*/ 4 h 5"/>
                <a:gd name="T8" fmla="*/ 0 w 1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2" y="4"/>
                    <a:pt x="5" y="3"/>
                    <a:pt x="7" y="2"/>
                  </a:cubicBezTo>
                  <a:cubicBezTo>
                    <a:pt x="10" y="1"/>
                    <a:pt x="12" y="0"/>
                    <a:pt x="15" y="0"/>
                  </a:cubicBezTo>
                  <a:cubicBezTo>
                    <a:pt x="13" y="2"/>
                    <a:pt x="10" y="3"/>
                    <a:pt x="8" y="4"/>
                  </a:cubicBezTo>
                  <a:cubicBezTo>
                    <a:pt x="5" y="5"/>
                    <a:pt x="3" y="5"/>
                    <a:pt x="0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210">
              <a:extLst>
                <a:ext uri="{FF2B5EF4-FFF2-40B4-BE49-F238E27FC236}">
                  <a16:creationId xmlns:a16="http://schemas.microsoft.com/office/drawing/2014/main" id="{445563DF-1B46-4553-BD8A-264CF311D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3" y="1311"/>
              <a:ext cx="159" cy="99"/>
            </a:xfrm>
            <a:custGeom>
              <a:avLst/>
              <a:gdLst>
                <a:gd name="T0" fmla="*/ 4 w 67"/>
                <a:gd name="T1" fmla="*/ 4 h 42"/>
                <a:gd name="T2" fmla="*/ 4 w 67"/>
                <a:gd name="T3" fmla="*/ 4 h 42"/>
                <a:gd name="T4" fmla="*/ 17 w 67"/>
                <a:gd name="T5" fmla="*/ 40 h 42"/>
                <a:gd name="T6" fmla="*/ 36 w 67"/>
                <a:gd name="T7" fmla="*/ 32 h 42"/>
                <a:gd name="T8" fmla="*/ 52 w 67"/>
                <a:gd name="T9" fmla="*/ 18 h 42"/>
                <a:gd name="T10" fmla="*/ 67 w 67"/>
                <a:gd name="T11" fmla="*/ 0 h 42"/>
                <a:gd name="T12" fmla="*/ 67 w 67"/>
                <a:gd name="T13" fmla="*/ 0 h 42"/>
                <a:gd name="T14" fmla="*/ 53 w 67"/>
                <a:gd name="T15" fmla="*/ 19 h 42"/>
                <a:gd name="T16" fmla="*/ 37 w 67"/>
                <a:gd name="T17" fmla="*/ 35 h 42"/>
                <a:gd name="T18" fmla="*/ 16 w 67"/>
                <a:gd name="T19" fmla="*/ 42 h 42"/>
                <a:gd name="T20" fmla="*/ 3 w 67"/>
                <a:gd name="T21" fmla="*/ 31 h 42"/>
                <a:gd name="T22" fmla="*/ 4 w 67"/>
                <a:gd name="T23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42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2" y="15"/>
                    <a:pt x="0" y="40"/>
                    <a:pt x="17" y="40"/>
                  </a:cubicBezTo>
                  <a:cubicBezTo>
                    <a:pt x="24" y="39"/>
                    <a:pt x="31" y="36"/>
                    <a:pt x="36" y="32"/>
                  </a:cubicBezTo>
                  <a:cubicBezTo>
                    <a:pt x="42" y="28"/>
                    <a:pt x="47" y="23"/>
                    <a:pt x="52" y="18"/>
                  </a:cubicBezTo>
                  <a:cubicBezTo>
                    <a:pt x="57" y="12"/>
                    <a:pt x="62" y="6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7"/>
                    <a:pt x="59" y="13"/>
                    <a:pt x="53" y="19"/>
                  </a:cubicBezTo>
                  <a:cubicBezTo>
                    <a:pt x="49" y="25"/>
                    <a:pt x="43" y="30"/>
                    <a:pt x="37" y="35"/>
                  </a:cubicBezTo>
                  <a:cubicBezTo>
                    <a:pt x="31" y="39"/>
                    <a:pt x="24" y="42"/>
                    <a:pt x="16" y="42"/>
                  </a:cubicBezTo>
                  <a:cubicBezTo>
                    <a:pt x="9" y="42"/>
                    <a:pt x="5" y="37"/>
                    <a:pt x="3" y="31"/>
                  </a:cubicBezTo>
                  <a:cubicBezTo>
                    <a:pt x="1" y="22"/>
                    <a:pt x="2" y="12"/>
                    <a:pt x="4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211">
              <a:extLst>
                <a:ext uri="{FF2B5EF4-FFF2-40B4-BE49-F238E27FC236}">
                  <a16:creationId xmlns:a16="http://schemas.microsoft.com/office/drawing/2014/main" id="{C4CCAC07-FC00-452D-9ADD-AF3052C69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" y="1684"/>
              <a:ext cx="558" cy="467"/>
            </a:xfrm>
            <a:custGeom>
              <a:avLst/>
              <a:gdLst>
                <a:gd name="T0" fmla="*/ 209 w 558"/>
                <a:gd name="T1" fmla="*/ 467 h 467"/>
                <a:gd name="T2" fmla="*/ 558 w 558"/>
                <a:gd name="T3" fmla="*/ 432 h 467"/>
                <a:gd name="T4" fmla="*/ 351 w 558"/>
                <a:gd name="T5" fmla="*/ 0 h 467"/>
                <a:gd name="T6" fmla="*/ 0 w 558"/>
                <a:gd name="T7" fmla="*/ 33 h 467"/>
                <a:gd name="T8" fmla="*/ 209 w 558"/>
                <a:gd name="T9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467">
                  <a:moveTo>
                    <a:pt x="209" y="467"/>
                  </a:moveTo>
                  <a:lnTo>
                    <a:pt x="558" y="432"/>
                  </a:lnTo>
                  <a:lnTo>
                    <a:pt x="351" y="0"/>
                  </a:lnTo>
                  <a:lnTo>
                    <a:pt x="0" y="33"/>
                  </a:lnTo>
                  <a:lnTo>
                    <a:pt x="209" y="467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212">
              <a:extLst>
                <a:ext uri="{FF2B5EF4-FFF2-40B4-BE49-F238E27FC236}">
                  <a16:creationId xmlns:a16="http://schemas.microsoft.com/office/drawing/2014/main" id="{5AFE93E8-3ED1-45D9-826C-A9472F6AF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2" y="1686"/>
              <a:ext cx="558" cy="468"/>
            </a:xfrm>
            <a:custGeom>
              <a:avLst/>
              <a:gdLst>
                <a:gd name="T0" fmla="*/ 209 w 558"/>
                <a:gd name="T1" fmla="*/ 468 h 468"/>
                <a:gd name="T2" fmla="*/ 558 w 558"/>
                <a:gd name="T3" fmla="*/ 432 h 468"/>
                <a:gd name="T4" fmla="*/ 349 w 558"/>
                <a:gd name="T5" fmla="*/ 0 h 468"/>
                <a:gd name="T6" fmla="*/ 0 w 558"/>
                <a:gd name="T7" fmla="*/ 33 h 468"/>
                <a:gd name="T8" fmla="*/ 209 w 558"/>
                <a:gd name="T9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8" h="468">
                  <a:moveTo>
                    <a:pt x="209" y="468"/>
                  </a:moveTo>
                  <a:lnTo>
                    <a:pt x="558" y="432"/>
                  </a:lnTo>
                  <a:lnTo>
                    <a:pt x="349" y="0"/>
                  </a:lnTo>
                  <a:lnTo>
                    <a:pt x="0" y="33"/>
                  </a:lnTo>
                  <a:lnTo>
                    <a:pt x="209" y="468"/>
                  </a:lnTo>
                  <a:close/>
                </a:path>
              </a:pathLst>
            </a:custGeom>
            <a:solidFill>
              <a:srgbClr val="C7C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213">
              <a:extLst>
                <a:ext uri="{FF2B5EF4-FFF2-40B4-BE49-F238E27FC236}">
                  <a16:creationId xmlns:a16="http://schemas.microsoft.com/office/drawing/2014/main" id="{BD3C0707-1931-4BDD-815F-472408A17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" y="1672"/>
              <a:ext cx="26" cy="35"/>
            </a:xfrm>
            <a:custGeom>
              <a:avLst/>
              <a:gdLst>
                <a:gd name="T0" fmla="*/ 1 w 11"/>
                <a:gd name="T1" fmla="*/ 7 h 15"/>
                <a:gd name="T2" fmla="*/ 8 w 11"/>
                <a:gd name="T3" fmla="*/ 14 h 15"/>
                <a:gd name="T4" fmla="*/ 8 w 11"/>
                <a:gd name="T5" fmla="*/ 13 h 15"/>
                <a:gd name="T6" fmla="*/ 3 w 11"/>
                <a:gd name="T7" fmla="*/ 8 h 15"/>
                <a:gd name="T8" fmla="*/ 3 w 11"/>
                <a:gd name="T9" fmla="*/ 7 h 15"/>
                <a:gd name="T10" fmla="*/ 2 w 11"/>
                <a:gd name="T11" fmla="*/ 4 h 15"/>
                <a:gd name="T12" fmla="*/ 3 w 11"/>
                <a:gd name="T13" fmla="*/ 2 h 15"/>
                <a:gd name="T14" fmla="*/ 3 w 11"/>
                <a:gd name="T15" fmla="*/ 2 h 15"/>
                <a:gd name="T16" fmla="*/ 3 w 11"/>
                <a:gd name="T17" fmla="*/ 2 h 15"/>
                <a:gd name="T18" fmla="*/ 4 w 11"/>
                <a:gd name="T19" fmla="*/ 2 h 15"/>
                <a:gd name="T20" fmla="*/ 5 w 11"/>
                <a:gd name="T21" fmla="*/ 2 h 15"/>
                <a:gd name="T22" fmla="*/ 6 w 11"/>
                <a:gd name="T23" fmla="*/ 3 h 15"/>
                <a:gd name="T24" fmla="*/ 8 w 11"/>
                <a:gd name="T25" fmla="*/ 5 h 15"/>
                <a:gd name="T26" fmla="*/ 9 w 11"/>
                <a:gd name="T27" fmla="*/ 6 h 15"/>
                <a:gd name="T28" fmla="*/ 9 w 11"/>
                <a:gd name="T29" fmla="*/ 6 h 15"/>
                <a:gd name="T30" fmla="*/ 9 w 11"/>
                <a:gd name="T31" fmla="*/ 6 h 15"/>
                <a:gd name="T32" fmla="*/ 9 w 11"/>
                <a:gd name="T33" fmla="*/ 6 h 15"/>
                <a:gd name="T34" fmla="*/ 11 w 11"/>
                <a:gd name="T35" fmla="*/ 6 h 15"/>
                <a:gd name="T36" fmla="*/ 9 w 11"/>
                <a:gd name="T37" fmla="*/ 3 h 15"/>
                <a:gd name="T38" fmla="*/ 3 w 11"/>
                <a:gd name="T39" fmla="*/ 0 h 15"/>
                <a:gd name="T40" fmla="*/ 0 w 11"/>
                <a:gd name="T41" fmla="*/ 3 h 15"/>
                <a:gd name="T42" fmla="*/ 1 w 11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5">
                  <a:moveTo>
                    <a:pt x="1" y="7"/>
                  </a:moveTo>
                  <a:cubicBezTo>
                    <a:pt x="2" y="10"/>
                    <a:pt x="5" y="13"/>
                    <a:pt x="8" y="14"/>
                  </a:cubicBezTo>
                  <a:cubicBezTo>
                    <a:pt x="9" y="15"/>
                    <a:pt x="10" y="13"/>
                    <a:pt x="8" y="13"/>
                  </a:cubicBezTo>
                  <a:cubicBezTo>
                    <a:pt x="6" y="12"/>
                    <a:pt x="4" y="10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6" y="2"/>
                    <a:pt x="6" y="3"/>
                  </a:cubicBezTo>
                  <a:cubicBezTo>
                    <a:pt x="7" y="3"/>
                    <a:pt x="8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0" y="6"/>
                    <a:pt x="1" y="7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214">
              <a:extLst>
                <a:ext uri="{FF2B5EF4-FFF2-40B4-BE49-F238E27FC236}">
                  <a16:creationId xmlns:a16="http://schemas.microsoft.com/office/drawing/2014/main" id="{C4B16E1F-68E0-4254-AE40-86C2673A4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" y="1674"/>
              <a:ext cx="29" cy="36"/>
            </a:xfrm>
            <a:custGeom>
              <a:avLst/>
              <a:gdLst>
                <a:gd name="T0" fmla="*/ 1 w 12"/>
                <a:gd name="T1" fmla="*/ 7 h 15"/>
                <a:gd name="T2" fmla="*/ 8 w 12"/>
                <a:gd name="T3" fmla="*/ 15 h 15"/>
                <a:gd name="T4" fmla="*/ 9 w 12"/>
                <a:gd name="T5" fmla="*/ 13 h 15"/>
                <a:gd name="T6" fmla="*/ 4 w 12"/>
                <a:gd name="T7" fmla="*/ 8 h 15"/>
                <a:gd name="T8" fmla="*/ 3 w 12"/>
                <a:gd name="T9" fmla="*/ 7 h 15"/>
                <a:gd name="T10" fmla="*/ 3 w 12"/>
                <a:gd name="T11" fmla="*/ 4 h 15"/>
                <a:gd name="T12" fmla="*/ 3 w 12"/>
                <a:gd name="T13" fmla="*/ 2 h 15"/>
                <a:gd name="T14" fmla="*/ 4 w 12"/>
                <a:gd name="T15" fmla="*/ 2 h 15"/>
                <a:gd name="T16" fmla="*/ 4 w 12"/>
                <a:gd name="T17" fmla="*/ 2 h 15"/>
                <a:gd name="T18" fmla="*/ 4 w 12"/>
                <a:gd name="T19" fmla="*/ 2 h 15"/>
                <a:gd name="T20" fmla="*/ 5 w 12"/>
                <a:gd name="T21" fmla="*/ 2 h 15"/>
                <a:gd name="T22" fmla="*/ 7 w 12"/>
                <a:gd name="T23" fmla="*/ 3 h 15"/>
                <a:gd name="T24" fmla="*/ 9 w 12"/>
                <a:gd name="T25" fmla="*/ 5 h 15"/>
                <a:gd name="T26" fmla="*/ 9 w 12"/>
                <a:gd name="T27" fmla="*/ 6 h 15"/>
                <a:gd name="T28" fmla="*/ 9 w 12"/>
                <a:gd name="T29" fmla="*/ 6 h 15"/>
                <a:gd name="T30" fmla="*/ 10 w 12"/>
                <a:gd name="T31" fmla="*/ 6 h 15"/>
                <a:gd name="T32" fmla="*/ 10 w 12"/>
                <a:gd name="T33" fmla="*/ 7 h 15"/>
                <a:gd name="T34" fmla="*/ 12 w 12"/>
                <a:gd name="T35" fmla="*/ 6 h 15"/>
                <a:gd name="T36" fmla="*/ 9 w 12"/>
                <a:gd name="T37" fmla="*/ 3 h 15"/>
                <a:gd name="T38" fmla="*/ 3 w 12"/>
                <a:gd name="T39" fmla="*/ 0 h 15"/>
                <a:gd name="T40" fmla="*/ 0 w 12"/>
                <a:gd name="T41" fmla="*/ 3 h 15"/>
                <a:gd name="T42" fmla="*/ 1 w 12"/>
                <a:gd name="T4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5">
                  <a:moveTo>
                    <a:pt x="1" y="7"/>
                  </a:moveTo>
                  <a:cubicBezTo>
                    <a:pt x="2" y="10"/>
                    <a:pt x="5" y="13"/>
                    <a:pt x="8" y="15"/>
                  </a:cubicBezTo>
                  <a:cubicBezTo>
                    <a:pt x="10" y="15"/>
                    <a:pt x="10" y="13"/>
                    <a:pt x="9" y="13"/>
                  </a:cubicBezTo>
                  <a:cubicBezTo>
                    <a:pt x="6" y="12"/>
                    <a:pt x="5" y="10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2"/>
                    <a:pt x="7" y="3"/>
                  </a:cubicBezTo>
                  <a:cubicBezTo>
                    <a:pt x="8" y="4"/>
                    <a:pt x="8" y="4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8" y="1"/>
                    <a:pt x="6" y="0"/>
                    <a:pt x="3" y="0"/>
                  </a:cubicBezTo>
                  <a:cubicBezTo>
                    <a:pt x="1" y="0"/>
                    <a:pt x="1" y="2"/>
                    <a:pt x="0" y="3"/>
                  </a:cubicBezTo>
                  <a:cubicBezTo>
                    <a:pt x="0" y="5"/>
                    <a:pt x="1" y="6"/>
                    <a:pt x="1" y="7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215">
              <a:extLst>
                <a:ext uri="{FF2B5EF4-FFF2-40B4-BE49-F238E27FC236}">
                  <a16:creationId xmlns:a16="http://schemas.microsoft.com/office/drawing/2014/main" id="{F61A3FD9-04B7-4A61-A8EC-6846C3B58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" y="1676"/>
              <a:ext cx="26" cy="36"/>
            </a:xfrm>
            <a:custGeom>
              <a:avLst/>
              <a:gdLst>
                <a:gd name="T0" fmla="*/ 1 w 11"/>
                <a:gd name="T1" fmla="*/ 8 h 15"/>
                <a:gd name="T2" fmla="*/ 8 w 11"/>
                <a:gd name="T3" fmla="*/ 15 h 15"/>
                <a:gd name="T4" fmla="*/ 8 w 11"/>
                <a:gd name="T5" fmla="*/ 13 h 15"/>
                <a:gd name="T6" fmla="*/ 3 w 11"/>
                <a:gd name="T7" fmla="*/ 8 h 15"/>
                <a:gd name="T8" fmla="*/ 3 w 11"/>
                <a:gd name="T9" fmla="*/ 7 h 15"/>
                <a:gd name="T10" fmla="*/ 2 w 11"/>
                <a:gd name="T11" fmla="*/ 4 h 15"/>
                <a:gd name="T12" fmla="*/ 3 w 11"/>
                <a:gd name="T13" fmla="*/ 2 h 15"/>
                <a:gd name="T14" fmla="*/ 3 w 11"/>
                <a:gd name="T15" fmla="*/ 2 h 15"/>
                <a:gd name="T16" fmla="*/ 3 w 11"/>
                <a:gd name="T17" fmla="*/ 2 h 15"/>
                <a:gd name="T18" fmla="*/ 3 w 11"/>
                <a:gd name="T19" fmla="*/ 2 h 15"/>
                <a:gd name="T20" fmla="*/ 5 w 11"/>
                <a:gd name="T21" fmla="*/ 2 h 15"/>
                <a:gd name="T22" fmla="*/ 6 w 11"/>
                <a:gd name="T23" fmla="*/ 3 h 15"/>
                <a:gd name="T24" fmla="*/ 8 w 11"/>
                <a:gd name="T25" fmla="*/ 5 h 15"/>
                <a:gd name="T26" fmla="*/ 9 w 11"/>
                <a:gd name="T27" fmla="*/ 6 h 15"/>
                <a:gd name="T28" fmla="*/ 9 w 11"/>
                <a:gd name="T29" fmla="*/ 6 h 15"/>
                <a:gd name="T30" fmla="*/ 9 w 11"/>
                <a:gd name="T31" fmla="*/ 7 h 15"/>
                <a:gd name="T32" fmla="*/ 9 w 11"/>
                <a:gd name="T33" fmla="*/ 7 h 15"/>
                <a:gd name="T34" fmla="*/ 11 w 11"/>
                <a:gd name="T35" fmla="*/ 7 h 15"/>
                <a:gd name="T36" fmla="*/ 9 w 11"/>
                <a:gd name="T37" fmla="*/ 3 h 15"/>
                <a:gd name="T38" fmla="*/ 3 w 11"/>
                <a:gd name="T39" fmla="*/ 0 h 15"/>
                <a:gd name="T40" fmla="*/ 0 w 11"/>
                <a:gd name="T41" fmla="*/ 3 h 15"/>
                <a:gd name="T42" fmla="*/ 1 w 11"/>
                <a:gd name="T4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5">
                  <a:moveTo>
                    <a:pt x="1" y="8"/>
                  </a:moveTo>
                  <a:cubicBezTo>
                    <a:pt x="2" y="10"/>
                    <a:pt x="4" y="13"/>
                    <a:pt x="8" y="15"/>
                  </a:cubicBezTo>
                  <a:cubicBezTo>
                    <a:pt x="9" y="15"/>
                    <a:pt x="9" y="13"/>
                    <a:pt x="8" y="13"/>
                  </a:cubicBezTo>
                  <a:cubicBezTo>
                    <a:pt x="6" y="12"/>
                    <a:pt x="4" y="10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6" y="3"/>
                    <a:pt x="6" y="3"/>
                  </a:cubicBezTo>
                  <a:cubicBezTo>
                    <a:pt x="7" y="4"/>
                    <a:pt x="7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5"/>
                    <a:pt x="10" y="4"/>
                    <a:pt x="9" y="3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0" y="6"/>
                    <a:pt x="1" y="8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216">
              <a:extLst>
                <a:ext uri="{FF2B5EF4-FFF2-40B4-BE49-F238E27FC236}">
                  <a16:creationId xmlns:a16="http://schemas.microsoft.com/office/drawing/2014/main" id="{3D7674A6-60B1-47BF-A245-C045C4AD6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0" y="1679"/>
              <a:ext cx="28" cy="35"/>
            </a:xfrm>
            <a:custGeom>
              <a:avLst/>
              <a:gdLst>
                <a:gd name="T0" fmla="*/ 1 w 12"/>
                <a:gd name="T1" fmla="*/ 8 h 15"/>
                <a:gd name="T2" fmla="*/ 8 w 12"/>
                <a:gd name="T3" fmla="*/ 15 h 15"/>
                <a:gd name="T4" fmla="*/ 9 w 12"/>
                <a:gd name="T5" fmla="*/ 13 h 15"/>
                <a:gd name="T6" fmla="*/ 4 w 12"/>
                <a:gd name="T7" fmla="*/ 9 h 15"/>
                <a:gd name="T8" fmla="*/ 3 w 12"/>
                <a:gd name="T9" fmla="*/ 8 h 15"/>
                <a:gd name="T10" fmla="*/ 3 w 12"/>
                <a:gd name="T11" fmla="*/ 4 h 15"/>
                <a:gd name="T12" fmla="*/ 3 w 12"/>
                <a:gd name="T13" fmla="*/ 3 h 15"/>
                <a:gd name="T14" fmla="*/ 4 w 12"/>
                <a:gd name="T15" fmla="*/ 2 h 15"/>
                <a:gd name="T16" fmla="*/ 4 w 12"/>
                <a:gd name="T17" fmla="*/ 2 h 15"/>
                <a:gd name="T18" fmla="*/ 4 w 12"/>
                <a:gd name="T19" fmla="*/ 2 h 15"/>
                <a:gd name="T20" fmla="*/ 5 w 12"/>
                <a:gd name="T21" fmla="*/ 2 h 15"/>
                <a:gd name="T22" fmla="*/ 7 w 12"/>
                <a:gd name="T23" fmla="*/ 3 h 15"/>
                <a:gd name="T24" fmla="*/ 8 w 12"/>
                <a:gd name="T25" fmla="*/ 5 h 15"/>
                <a:gd name="T26" fmla="*/ 9 w 12"/>
                <a:gd name="T27" fmla="*/ 6 h 15"/>
                <a:gd name="T28" fmla="*/ 9 w 12"/>
                <a:gd name="T29" fmla="*/ 6 h 15"/>
                <a:gd name="T30" fmla="*/ 10 w 12"/>
                <a:gd name="T31" fmla="*/ 7 h 15"/>
                <a:gd name="T32" fmla="*/ 10 w 12"/>
                <a:gd name="T33" fmla="*/ 7 h 15"/>
                <a:gd name="T34" fmla="*/ 12 w 12"/>
                <a:gd name="T35" fmla="*/ 7 h 15"/>
                <a:gd name="T36" fmla="*/ 9 w 12"/>
                <a:gd name="T37" fmla="*/ 3 h 15"/>
                <a:gd name="T38" fmla="*/ 3 w 12"/>
                <a:gd name="T39" fmla="*/ 0 h 15"/>
                <a:gd name="T40" fmla="*/ 0 w 12"/>
                <a:gd name="T41" fmla="*/ 4 h 15"/>
                <a:gd name="T42" fmla="*/ 1 w 12"/>
                <a:gd name="T4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5">
                  <a:moveTo>
                    <a:pt x="1" y="8"/>
                  </a:moveTo>
                  <a:cubicBezTo>
                    <a:pt x="2" y="11"/>
                    <a:pt x="5" y="13"/>
                    <a:pt x="8" y="15"/>
                  </a:cubicBezTo>
                  <a:cubicBezTo>
                    <a:pt x="10" y="15"/>
                    <a:pt x="10" y="14"/>
                    <a:pt x="9" y="13"/>
                  </a:cubicBezTo>
                  <a:cubicBezTo>
                    <a:pt x="6" y="12"/>
                    <a:pt x="5" y="10"/>
                    <a:pt x="4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6" y="3"/>
                    <a:pt x="7" y="3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6"/>
                    <a:pt x="10" y="4"/>
                    <a:pt x="9" y="3"/>
                  </a:cubicBezTo>
                  <a:cubicBezTo>
                    <a:pt x="8" y="1"/>
                    <a:pt x="6" y="0"/>
                    <a:pt x="3" y="0"/>
                  </a:cubicBezTo>
                  <a:cubicBezTo>
                    <a:pt x="1" y="0"/>
                    <a:pt x="1" y="2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Freeform 218">
            <a:extLst>
              <a:ext uri="{FF2B5EF4-FFF2-40B4-BE49-F238E27FC236}">
                <a16:creationId xmlns:a16="http://schemas.microsoft.com/office/drawing/2014/main" id="{9B7AF571-4E55-4987-AE43-1282C9B3585B}"/>
              </a:ext>
            </a:extLst>
          </p:cNvPr>
          <p:cNvSpPr>
            <a:spLocks/>
          </p:cNvSpPr>
          <p:nvPr/>
        </p:nvSpPr>
        <p:spPr bwMode="auto">
          <a:xfrm>
            <a:off x="9501294" y="3430549"/>
            <a:ext cx="32477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3 h 16"/>
              <a:gd name="T18" fmla="*/ 3 w 11"/>
              <a:gd name="T19" fmla="*/ 2 h 16"/>
              <a:gd name="T20" fmla="*/ 4 w 11"/>
              <a:gd name="T21" fmla="*/ 2 h 16"/>
              <a:gd name="T22" fmla="*/ 6 w 11"/>
              <a:gd name="T23" fmla="*/ 3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6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3 h 16"/>
              <a:gd name="T38" fmla="*/ 3 w 11"/>
              <a:gd name="T39" fmla="*/ 0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4" y="14"/>
                  <a:pt x="8" y="15"/>
                </a:cubicBezTo>
                <a:cubicBezTo>
                  <a:pt x="9" y="16"/>
                  <a:pt x="9" y="14"/>
                  <a:pt x="8" y="13"/>
                </a:cubicBezTo>
                <a:cubicBezTo>
                  <a:pt x="6" y="12"/>
                  <a:pt x="4" y="10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2" y="6"/>
                  <a:pt x="2" y="5"/>
                  <a:pt x="2" y="4"/>
                </a:cubicBezTo>
                <a:cubicBezTo>
                  <a:pt x="2" y="4"/>
                  <a:pt x="2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3"/>
                  <a:pt x="6" y="3"/>
                  <a:pt x="6" y="3"/>
                </a:cubicBezTo>
                <a:cubicBezTo>
                  <a:pt x="7" y="4"/>
                  <a:pt x="7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4"/>
                  <a:pt x="9" y="3"/>
                </a:cubicBezTo>
                <a:cubicBezTo>
                  <a:pt x="7" y="2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19">
            <a:extLst>
              <a:ext uri="{FF2B5EF4-FFF2-40B4-BE49-F238E27FC236}">
                <a16:creationId xmlns:a16="http://schemas.microsoft.com/office/drawing/2014/main" id="{8AF6DF5F-9678-43A3-AC68-989D3BDAF7E9}"/>
              </a:ext>
            </a:extLst>
          </p:cNvPr>
          <p:cNvSpPr>
            <a:spLocks/>
          </p:cNvSpPr>
          <p:nvPr/>
        </p:nvSpPr>
        <p:spPr bwMode="auto">
          <a:xfrm>
            <a:off x="9465070" y="3434297"/>
            <a:ext cx="36224" cy="46217"/>
          </a:xfrm>
          <a:custGeom>
            <a:avLst/>
            <a:gdLst>
              <a:gd name="T0" fmla="*/ 1 w 12"/>
              <a:gd name="T1" fmla="*/ 8 h 16"/>
              <a:gd name="T2" fmla="*/ 8 w 12"/>
              <a:gd name="T3" fmla="*/ 15 h 16"/>
              <a:gd name="T4" fmla="*/ 8 w 12"/>
              <a:gd name="T5" fmla="*/ 13 h 16"/>
              <a:gd name="T6" fmla="*/ 4 w 12"/>
              <a:gd name="T7" fmla="*/ 9 h 16"/>
              <a:gd name="T8" fmla="*/ 3 w 12"/>
              <a:gd name="T9" fmla="*/ 8 h 16"/>
              <a:gd name="T10" fmla="*/ 3 w 12"/>
              <a:gd name="T11" fmla="*/ 4 h 16"/>
              <a:gd name="T12" fmla="*/ 3 w 12"/>
              <a:gd name="T13" fmla="*/ 3 h 16"/>
              <a:gd name="T14" fmla="*/ 3 w 12"/>
              <a:gd name="T15" fmla="*/ 3 h 16"/>
              <a:gd name="T16" fmla="*/ 4 w 12"/>
              <a:gd name="T17" fmla="*/ 3 h 16"/>
              <a:gd name="T18" fmla="*/ 4 w 12"/>
              <a:gd name="T19" fmla="*/ 3 h 16"/>
              <a:gd name="T20" fmla="*/ 5 w 12"/>
              <a:gd name="T21" fmla="*/ 3 h 16"/>
              <a:gd name="T22" fmla="*/ 7 w 12"/>
              <a:gd name="T23" fmla="*/ 3 h 16"/>
              <a:gd name="T24" fmla="*/ 8 w 12"/>
              <a:gd name="T25" fmla="*/ 5 h 16"/>
              <a:gd name="T26" fmla="*/ 9 w 12"/>
              <a:gd name="T27" fmla="*/ 6 h 16"/>
              <a:gd name="T28" fmla="*/ 9 w 12"/>
              <a:gd name="T29" fmla="*/ 7 h 16"/>
              <a:gd name="T30" fmla="*/ 9 w 12"/>
              <a:gd name="T31" fmla="*/ 7 h 16"/>
              <a:gd name="T32" fmla="*/ 10 w 12"/>
              <a:gd name="T33" fmla="*/ 7 h 16"/>
              <a:gd name="T34" fmla="*/ 12 w 12"/>
              <a:gd name="T35" fmla="*/ 7 h 16"/>
              <a:gd name="T36" fmla="*/ 9 w 12"/>
              <a:gd name="T37" fmla="*/ 4 h 16"/>
              <a:gd name="T38" fmla="*/ 3 w 12"/>
              <a:gd name="T39" fmla="*/ 0 h 16"/>
              <a:gd name="T40" fmla="*/ 0 w 12"/>
              <a:gd name="T41" fmla="*/ 4 h 16"/>
              <a:gd name="T42" fmla="*/ 1 w 12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6">
                <a:moveTo>
                  <a:pt x="1" y="8"/>
                </a:moveTo>
                <a:cubicBezTo>
                  <a:pt x="2" y="11"/>
                  <a:pt x="5" y="14"/>
                  <a:pt x="8" y="15"/>
                </a:cubicBezTo>
                <a:cubicBezTo>
                  <a:pt x="10" y="16"/>
                  <a:pt x="10" y="14"/>
                  <a:pt x="8" y="13"/>
                </a:cubicBezTo>
                <a:cubicBezTo>
                  <a:pt x="6" y="12"/>
                  <a:pt x="5" y="11"/>
                  <a:pt x="4" y="9"/>
                </a:cubicBezTo>
                <a:cubicBezTo>
                  <a:pt x="3" y="8"/>
                  <a:pt x="3" y="8"/>
                  <a:pt x="3" y="8"/>
                </a:cubicBezTo>
                <a:cubicBezTo>
                  <a:pt x="3" y="7"/>
                  <a:pt x="2" y="5"/>
                  <a:pt x="3" y="4"/>
                </a:cubicBezTo>
                <a:cubicBezTo>
                  <a:pt x="3" y="4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5" y="2"/>
                  <a:pt x="5" y="3"/>
                </a:cubicBezTo>
                <a:cubicBezTo>
                  <a:pt x="6" y="3"/>
                  <a:pt x="6" y="3"/>
                  <a:pt x="7" y="3"/>
                </a:cubicBezTo>
                <a:cubicBezTo>
                  <a:pt x="7" y="4"/>
                  <a:pt x="8" y="5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1" y="6"/>
                  <a:pt x="10" y="5"/>
                  <a:pt x="9" y="4"/>
                </a:cubicBezTo>
                <a:cubicBezTo>
                  <a:pt x="8" y="2"/>
                  <a:pt x="6" y="0"/>
                  <a:pt x="3" y="0"/>
                </a:cubicBezTo>
                <a:cubicBezTo>
                  <a:pt x="1" y="1"/>
                  <a:pt x="0" y="2"/>
                  <a:pt x="0" y="4"/>
                </a:cubicBezTo>
                <a:cubicBezTo>
                  <a:pt x="0" y="5"/>
                  <a:pt x="0" y="7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220">
            <a:extLst>
              <a:ext uri="{FF2B5EF4-FFF2-40B4-BE49-F238E27FC236}">
                <a16:creationId xmlns:a16="http://schemas.microsoft.com/office/drawing/2014/main" id="{16CF980F-5FB5-4392-BD95-FAA5F4983119}"/>
              </a:ext>
            </a:extLst>
          </p:cNvPr>
          <p:cNvSpPr>
            <a:spLocks/>
          </p:cNvSpPr>
          <p:nvPr/>
        </p:nvSpPr>
        <p:spPr bwMode="auto">
          <a:xfrm>
            <a:off x="9432594" y="3436795"/>
            <a:ext cx="32477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3 h 16"/>
              <a:gd name="T18" fmla="*/ 3 w 11"/>
              <a:gd name="T19" fmla="*/ 3 h 16"/>
              <a:gd name="T20" fmla="*/ 4 w 11"/>
              <a:gd name="T21" fmla="*/ 3 h 16"/>
              <a:gd name="T22" fmla="*/ 6 w 11"/>
              <a:gd name="T23" fmla="*/ 4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7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4 h 16"/>
              <a:gd name="T38" fmla="*/ 3 w 11"/>
              <a:gd name="T39" fmla="*/ 1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4" y="14"/>
                  <a:pt x="8" y="15"/>
                </a:cubicBezTo>
                <a:cubicBezTo>
                  <a:pt x="9" y="16"/>
                  <a:pt x="9" y="14"/>
                  <a:pt x="8" y="13"/>
                </a:cubicBezTo>
                <a:cubicBezTo>
                  <a:pt x="6" y="12"/>
                  <a:pt x="4" y="11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2" y="7"/>
                  <a:pt x="2" y="5"/>
                  <a:pt x="2" y="4"/>
                </a:cubicBezTo>
                <a:cubicBezTo>
                  <a:pt x="2" y="4"/>
                  <a:pt x="2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4" y="3"/>
                  <a:pt x="4" y="3"/>
                  <a:pt x="4" y="3"/>
                </a:cubicBezTo>
                <a:cubicBezTo>
                  <a:pt x="5" y="3"/>
                  <a:pt x="6" y="3"/>
                  <a:pt x="6" y="4"/>
                </a:cubicBezTo>
                <a:cubicBezTo>
                  <a:pt x="7" y="4"/>
                  <a:pt x="7" y="5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5"/>
                  <a:pt x="9" y="4"/>
                </a:cubicBezTo>
                <a:cubicBezTo>
                  <a:pt x="7" y="2"/>
                  <a:pt x="5" y="0"/>
                  <a:pt x="3" y="1"/>
                </a:cubicBezTo>
                <a:cubicBezTo>
                  <a:pt x="1" y="1"/>
                  <a:pt x="0" y="2"/>
                  <a:pt x="0" y="4"/>
                </a:cubicBezTo>
                <a:cubicBezTo>
                  <a:pt x="0" y="5"/>
                  <a:pt x="0" y="7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1">
            <a:extLst>
              <a:ext uri="{FF2B5EF4-FFF2-40B4-BE49-F238E27FC236}">
                <a16:creationId xmlns:a16="http://schemas.microsoft.com/office/drawing/2014/main" id="{57E3005F-7829-4349-8F4D-932968E6559E}"/>
              </a:ext>
            </a:extLst>
          </p:cNvPr>
          <p:cNvSpPr>
            <a:spLocks/>
          </p:cNvSpPr>
          <p:nvPr/>
        </p:nvSpPr>
        <p:spPr bwMode="auto">
          <a:xfrm>
            <a:off x="9397619" y="3443040"/>
            <a:ext cx="34975" cy="43719"/>
          </a:xfrm>
          <a:custGeom>
            <a:avLst/>
            <a:gdLst>
              <a:gd name="T0" fmla="*/ 1 w 12"/>
              <a:gd name="T1" fmla="*/ 7 h 15"/>
              <a:gd name="T2" fmla="*/ 8 w 12"/>
              <a:gd name="T3" fmla="*/ 14 h 15"/>
              <a:gd name="T4" fmla="*/ 8 w 12"/>
              <a:gd name="T5" fmla="*/ 13 h 15"/>
              <a:gd name="T6" fmla="*/ 4 w 12"/>
              <a:gd name="T7" fmla="*/ 8 h 15"/>
              <a:gd name="T8" fmla="*/ 3 w 12"/>
              <a:gd name="T9" fmla="*/ 7 h 15"/>
              <a:gd name="T10" fmla="*/ 3 w 12"/>
              <a:gd name="T11" fmla="*/ 3 h 15"/>
              <a:gd name="T12" fmla="*/ 3 w 12"/>
              <a:gd name="T13" fmla="*/ 2 h 15"/>
              <a:gd name="T14" fmla="*/ 3 w 12"/>
              <a:gd name="T15" fmla="*/ 2 h 15"/>
              <a:gd name="T16" fmla="*/ 4 w 12"/>
              <a:gd name="T17" fmla="*/ 2 h 15"/>
              <a:gd name="T18" fmla="*/ 4 w 12"/>
              <a:gd name="T19" fmla="*/ 2 h 15"/>
              <a:gd name="T20" fmla="*/ 5 w 12"/>
              <a:gd name="T21" fmla="*/ 2 h 15"/>
              <a:gd name="T22" fmla="*/ 7 w 12"/>
              <a:gd name="T23" fmla="*/ 3 h 15"/>
              <a:gd name="T24" fmla="*/ 8 w 12"/>
              <a:gd name="T25" fmla="*/ 5 h 15"/>
              <a:gd name="T26" fmla="*/ 9 w 12"/>
              <a:gd name="T27" fmla="*/ 6 h 15"/>
              <a:gd name="T28" fmla="*/ 9 w 12"/>
              <a:gd name="T29" fmla="*/ 6 h 15"/>
              <a:gd name="T30" fmla="*/ 9 w 12"/>
              <a:gd name="T31" fmla="*/ 6 h 15"/>
              <a:gd name="T32" fmla="*/ 10 w 12"/>
              <a:gd name="T33" fmla="*/ 6 h 15"/>
              <a:gd name="T34" fmla="*/ 12 w 12"/>
              <a:gd name="T35" fmla="*/ 6 h 15"/>
              <a:gd name="T36" fmla="*/ 9 w 12"/>
              <a:gd name="T37" fmla="*/ 3 h 15"/>
              <a:gd name="T38" fmla="*/ 3 w 12"/>
              <a:gd name="T39" fmla="*/ 0 h 15"/>
              <a:gd name="T40" fmla="*/ 0 w 12"/>
              <a:gd name="T41" fmla="*/ 3 h 15"/>
              <a:gd name="T42" fmla="*/ 1 w 12"/>
              <a:gd name="T43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5">
                <a:moveTo>
                  <a:pt x="1" y="7"/>
                </a:moveTo>
                <a:cubicBezTo>
                  <a:pt x="2" y="10"/>
                  <a:pt x="5" y="13"/>
                  <a:pt x="8" y="14"/>
                </a:cubicBezTo>
                <a:cubicBezTo>
                  <a:pt x="10" y="15"/>
                  <a:pt x="10" y="13"/>
                  <a:pt x="8" y="13"/>
                </a:cubicBezTo>
                <a:cubicBezTo>
                  <a:pt x="6" y="12"/>
                  <a:pt x="5" y="10"/>
                  <a:pt x="4" y="8"/>
                </a:cubicBezTo>
                <a:cubicBezTo>
                  <a:pt x="3" y="7"/>
                  <a:pt x="3" y="7"/>
                  <a:pt x="3" y="7"/>
                </a:cubicBezTo>
                <a:cubicBezTo>
                  <a:pt x="3" y="6"/>
                  <a:pt x="2" y="5"/>
                  <a:pt x="3" y="3"/>
                </a:cubicBezTo>
                <a:cubicBezTo>
                  <a:pt x="3" y="3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2"/>
                  <a:pt x="7" y="3"/>
                </a:cubicBezTo>
                <a:cubicBezTo>
                  <a:pt x="7" y="3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1" y="5"/>
                  <a:pt x="10" y="4"/>
                  <a:pt x="9" y="3"/>
                </a:cubicBezTo>
                <a:cubicBezTo>
                  <a:pt x="8" y="1"/>
                  <a:pt x="5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4"/>
                  <a:pt x="0" y="6"/>
                  <a:pt x="1" y="7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222">
            <a:extLst>
              <a:ext uri="{FF2B5EF4-FFF2-40B4-BE49-F238E27FC236}">
                <a16:creationId xmlns:a16="http://schemas.microsoft.com/office/drawing/2014/main" id="{567E0D34-4C13-42C0-9A13-E4588D0F5F13}"/>
              </a:ext>
            </a:extLst>
          </p:cNvPr>
          <p:cNvSpPr>
            <a:spLocks/>
          </p:cNvSpPr>
          <p:nvPr/>
        </p:nvSpPr>
        <p:spPr bwMode="auto">
          <a:xfrm>
            <a:off x="9365142" y="3445538"/>
            <a:ext cx="32477" cy="44968"/>
          </a:xfrm>
          <a:custGeom>
            <a:avLst/>
            <a:gdLst>
              <a:gd name="T0" fmla="*/ 1 w 11"/>
              <a:gd name="T1" fmla="*/ 7 h 15"/>
              <a:gd name="T2" fmla="*/ 8 w 11"/>
              <a:gd name="T3" fmla="*/ 14 h 15"/>
              <a:gd name="T4" fmla="*/ 8 w 11"/>
              <a:gd name="T5" fmla="*/ 13 h 15"/>
              <a:gd name="T6" fmla="*/ 3 w 11"/>
              <a:gd name="T7" fmla="*/ 8 h 15"/>
              <a:gd name="T8" fmla="*/ 3 w 11"/>
              <a:gd name="T9" fmla="*/ 7 h 15"/>
              <a:gd name="T10" fmla="*/ 2 w 11"/>
              <a:gd name="T11" fmla="*/ 4 h 15"/>
              <a:gd name="T12" fmla="*/ 3 w 11"/>
              <a:gd name="T13" fmla="*/ 2 h 15"/>
              <a:gd name="T14" fmla="*/ 3 w 11"/>
              <a:gd name="T15" fmla="*/ 2 h 15"/>
              <a:gd name="T16" fmla="*/ 3 w 11"/>
              <a:gd name="T17" fmla="*/ 2 h 15"/>
              <a:gd name="T18" fmla="*/ 3 w 11"/>
              <a:gd name="T19" fmla="*/ 2 h 15"/>
              <a:gd name="T20" fmla="*/ 4 w 11"/>
              <a:gd name="T21" fmla="*/ 2 h 15"/>
              <a:gd name="T22" fmla="*/ 6 w 11"/>
              <a:gd name="T23" fmla="*/ 3 h 15"/>
              <a:gd name="T24" fmla="*/ 8 w 11"/>
              <a:gd name="T25" fmla="*/ 5 h 15"/>
              <a:gd name="T26" fmla="*/ 9 w 11"/>
              <a:gd name="T27" fmla="*/ 6 h 15"/>
              <a:gd name="T28" fmla="*/ 9 w 11"/>
              <a:gd name="T29" fmla="*/ 6 h 15"/>
              <a:gd name="T30" fmla="*/ 9 w 11"/>
              <a:gd name="T31" fmla="*/ 6 h 15"/>
              <a:gd name="T32" fmla="*/ 9 w 11"/>
              <a:gd name="T33" fmla="*/ 7 h 15"/>
              <a:gd name="T34" fmla="*/ 11 w 11"/>
              <a:gd name="T35" fmla="*/ 6 h 15"/>
              <a:gd name="T36" fmla="*/ 9 w 11"/>
              <a:gd name="T37" fmla="*/ 3 h 15"/>
              <a:gd name="T38" fmla="*/ 3 w 11"/>
              <a:gd name="T39" fmla="*/ 0 h 15"/>
              <a:gd name="T40" fmla="*/ 0 w 11"/>
              <a:gd name="T41" fmla="*/ 3 h 15"/>
              <a:gd name="T42" fmla="*/ 1 w 11"/>
              <a:gd name="T43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5">
                <a:moveTo>
                  <a:pt x="1" y="7"/>
                </a:moveTo>
                <a:cubicBezTo>
                  <a:pt x="2" y="10"/>
                  <a:pt x="4" y="13"/>
                  <a:pt x="8" y="14"/>
                </a:cubicBezTo>
                <a:cubicBezTo>
                  <a:pt x="9" y="15"/>
                  <a:pt x="9" y="13"/>
                  <a:pt x="8" y="13"/>
                </a:cubicBezTo>
                <a:cubicBezTo>
                  <a:pt x="6" y="12"/>
                  <a:pt x="4" y="10"/>
                  <a:pt x="3" y="8"/>
                </a:cubicBezTo>
                <a:cubicBezTo>
                  <a:pt x="3" y="7"/>
                  <a:pt x="3" y="7"/>
                  <a:pt x="3" y="7"/>
                </a:cubicBezTo>
                <a:cubicBezTo>
                  <a:pt x="2" y="6"/>
                  <a:pt x="2" y="5"/>
                  <a:pt x="2" y="4"/>
                </a:cubicBezTo>
                <a:cubicBezTo>
                  <a:pt x="2" y="3"/>
                  <a:pt x="2" y="3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2"/>
                  <a:pt x="6" y="2"/>
                  <a:pt x="6" y="3"/>
                </a:cubicBezTo>
                <a:cubicBezTo>
                  <a:pt x="7" y="3"/>
                  <a:pt x="7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5"/>
                  <a:pt x="10" y="4"/>
                  <a:pt x="9" y="3"/>
                </a:cubicBezTo>
                <a:cubicBezTo>
                  <a:pt x="7" y="1"/>
                  <a:pt x="5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0" y="6"/>
                  <a:pt x="1" y="7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>
            <a:extLst>
              <a:ext uri="{FF2B5EF4-FFF2-40B4-BE49-F238E27FC236}">
                <a16:creationId xmlns:a16="http://schemas.microsoft.com/office/drawing/2014/main" id="{B6A23CB4-381E-4FCA-B5FE-68D799877133}"/>
              </a:ext>
            </a:extLst>
          </p:cNvPr>
          <p:cNvSpPr>
            <a:spLocks/>
          </p:cNvSpPr>
          <p:nvPr/>
        </p:nvSpPr>
        <p:spPr bwMode="auto">
          <a:xfrm>
            <a:off x="9328918" y="3448037"/>
            <a:ext cx="36224" cy="44968"/>
          </a:xfrm>
          <a:custGeom>
            <a:avLst/>
            <a:gdLst>
              <a:gd name="T0" fmla="*/ 1 w 12"/>
              <a:gd name="T1" fmla="*/ 8 h 15"/>
              <a:gd name="T2" fmla="*/ 8 w 12"/>
              <a:gd name="T3" fmla="*/ 15 h 15"/>
              <a:gd name="T4" fmla="*/ 8 w 12"/>
              <a:gd name="T5" fmla="*/ 13 h 15"/>
              <a:gd name="T6" fmla="*/ 4 w 12"/>
              <a:gd name="T7" fmla="*/ 8 h 15"/>
              <a:gd name="T8" fmla="*/ 3 w 12"/>
              <a:gd name="T9" fmla="*/ 7 h 15"/>
              <a:gd name="T10" fmla="*/ 2 w 12"/>
              <a:gd name="T11" fmla="*/ 4 h 15"/>
              <a:gd name="T12" fmla="*/ 3 w 12"/>
              <a:gd name="T13" fmla="*/ 2 h 15"/>
              <a:gd name="T14" fmla="*/ 3 w 12"/>
              <a:gd name="T15" fmla="*/ 2 h 15"/>
              <a:gd name="T16" fmla="*/ 3 w 12"/>
              <a:gd name="T17" fmla="*/ 2 h 15"/>
              <a:gd name="T18" fmla="*/ 4 w 12"/>
              <a:gd name="T19" fmla="*/ 2 h 15"/>
              <a:gd name="T20" fmla="*/ 5 w 12"/>
              <a:gd name="T21" fmla="*/ 2 h 15"/>
              <a:gd name="T22" fmla="*/ 7 w 12"/>
              <a:gd name="T23" fmla="*/ 3 h 15"/>
              <a:gd name="T24" fmla="*/ 8 w 12"/>
              <a:gd name="T25" fmla="*/ 5 h 15"/>
              <a:gd name="T26" fmla="*/ 9 w 12"/>
              <a:gd name="T27" fmla="*/ 6 h 15"/>
              <a:gd name="T28" fmla="*/ 9 w 12"/>
              <a:gd name="T29" fmla="*/ 6 h 15"/>
              <a:gd name="T30" fmla="*/ 9 w 12"/>
              <a:gd name="T31" fmla="*/ 6 h 15"/>
              <a:gd name="T32" fmla="*/ 9 w 12"/>
              <a:gd name="T33" fmla="*/ 7 h 15"/>
              <a:gd name="T34" fmla="*/ 12 w 12"/>
              <a:gd name="T35" fmla="*/ 7 h 15"/>
              <a:gd name="T36" fmla="*/ 9 w 12"/>
              <a:gd name="T37" fmla="*/ 3 h 15"/>
              <a:gd name="T38" fmla="*/ 3 w 12"/>
              <a:gd name="T39" fmla="*/ 0 h 15"/>
              <a:gd name="T40" fmla="*/ 0 w 12"/>
              <a:gd name="T41" fmla="*/ 3 h 15"/>
              <a:gd name="T42" fmla="*/ 1 w 12"/>
              <a:gd name="T43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5">
                <a:moveTo>
                  <a:pt x="1" y="8"/>
                </a:moveTo>
                <a:cubicBezTo>
                  <a:pt x="2" y="10"/>
                  <a:pt x="5" y="13"/>
                  <a:pt x="8" y="15"/>
                </a:cubicBezTo>
                <a:cubicBezTo>
                  <a:pt x="10" y="15"/>
                  <a:pt x="10" y="13"/>
                  <a:pt x="8" y="13"/>
                </a:cubicBezTo>
                <a:cubicBezTo>
                  <a:pt x="6" y="12"/>
                  <a:pt x="4" y="10"/>
                  <a:pt x="4" y="8"/>
                </a:cubicBezTo>
                <a:cubicBezTo>
                  <a:pt x="3" y="7"/>
                  <a:pt x="3" y="7"/>
                  <a:pt x="3" y="7"/>
                </a:cubicBezTo>
                <a:cubicBezTo>
                  <a:pt x="3" y="6"/>
                  <a:pt x="2" y="5"/>
                  <a:pt x="2" y="4"/>
                </a:cubicBezTo>
                <a:cubicBezTo>
                  <a:pt x="3" y="3"/>
                  <a:pt x="3" y="3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3"/>
                  <a:pt x="7" y="3"/>
                </a:cubicBezTo>
                <a:cubicBezTo>
                  <a:pt x="7" y="4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1" y="5"/>
                  <a:pt x="10" y="4"/>
                  <a:pt x="9" y="3"/>
                </a:cubicBezTo>
                <a:cubicBezTo>
                  <a:pt x="8" y="1"/>
                  <a:pt x="5" y="0"/>
                  <a:pt x="3" y="0"/>
                </a:cubicBezTo>
                <a:cubicBezTo>
                  <a:pt x="1" y="0"/>
                  <a:pt x="0" y="2"/>
                  <a:pt x="0" y="3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224">
            <a:extLst>
              <a:ext uri="{FF2B5EF4-FFF2-40B4-BE49-F238E27FC236}">
                <a16:creationId xmlns:a16="http://schemas.microsoft.com/office/drawing/2014/main" id="{843AA5E2-8415-40E3-BC29-17FE921594A8}"/>
              </a:ext>
            </a:extLst>
          </p:cNvPr>
          <p:cNvSpPr>
            <a:spLocks/>
          </p:cNvSpPr>
          <p:nvPr/>
        </p:nvSpPr>
        <p:spPr bwMode="auto">
          <a:xfrm>
            <a:off x="9296442" y="3451784"/>
            <a:ext cx="32477" cy="43719"/>
          </a:xfrm>
          <a:custGeom>
            <a:avLst/>
            <a:gdLst>
              <a:gd name="T0" fmla="*/ 0 w 11"/>
              <a:gd name="T1" fmla="*/ 8 h 15"/>
              <a:gd name="T2" fmla="*/ 8 w 11"/>
              <a:gd name="T3" fmla="*/ 15 h 15"/>
              <a:gd name="T4" fmla="*/ 8 w 11"/>
              <a:gd name="T5" fmla="*/ 13 h 15"/>
              <a:gd name="T6" fmla="*/ 3 w 11"/>
              <a:gd name="T7" fmla="*/ 8 h 15"/>
              <a:gd name="T8" fmla="*/ 3 w 11"/>
              <a:gd name="T9" fmla="*/ 7 h 15"/>
              <a:gd name="T10" fmla="*/ 2 w 11"/>
              <a:gd name="T11" fmla="*/ 4 h 15"/>
              <a:gd name="T12" fmla="*/ 3 w 11"/>
              <a:gd name="T13" fmla="*/ 3 h 15"/>
              <a:gd name="T14" fmla="*/ 3 w 11"/>
              <a:gd name="T15" fmla="*/ 2 h 15"/>
              <a:gd name="T16" fmla="*/ 3 w 11"/>
              <a:gd name="T17" fmla="*/ 2 h 15"/>
              <a:gd name="T18" fmla="*/ 3 w 11"/>
              <a:gd name="T19" fmla="*/ 2 h 15"/>
              <a:gd name="T20" fmla="*/ 4 w 11"/>
              <a:gd name="T21" fmla="*/ 2 h 15"/>
              <a:gd name="T22" fmla="*/ 6 w 11"/>
              <a:gd name="T23" fmla="*/ 3 h 15"/>
              <a:gd name="T24" fmla="*/ 8 w 11"/>
              <a:gd name="T25" fmla="*/ 5 h 15"/>
              <a:gd name="T26" fmla="*/ 8 w 11"/>
              <a:gd name="T27" fmla="*/ 6 h 15"/>
              <a:gd name="T28" fmla="*/ 9 w 11"/>
              <a:gd name="T29" fmla="*/ 6 h 15"/>
              <a:gd name="T30" fmla="*/ 9 w 11"/>
              <a:gd name="T31" fmla="*/ 7 h 15"/>
              <a:gd name="T32" fmla="*/ 9 w 11"/>
              <a:gd name="T33" fmla="*/ 7 h 15"/>
              <a:gd name="T34" fmla="*/ 11 w 11"/>
              <a:gd name="T35" fmla="*/ 7 h 15"/>
              <a:gd name="T36" fmla="*/ 9 w 11"/>
              <a:gd name="T37" fmla="*/ 3 h 15"/>
              <a:gd name="T38" fmla="*/ 3 w 11"/>
              <a:gd name="T39" fmla="*/ 0 h 15"/>
              <a:gd name="T40" fmla="*/ 0 w 11"/>
              <a:gd name="T41" fmla="*/ 4 h 15"/>
              <a:gd name="T42" fmla="*/ 0 w 11"/>
              <a:gd name="T43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5">
                <a:moveTo>
                  <a:pt x="0" y="8"/>
                </a:moveTo>
                <a:cubicBezTo>
                  <a:pt x="2" y="11"/>
                  <a:pt x="4" y="13"/>
                  <a:pt x="8" y="15"/>
                </a:cubicBezTo>
                <a:cubicBezTo>
                  <a:pt x="9" y="15"/>
                  <a:pt x="9" y="14"/>
                  <a:pt x="8" y="13"/>
                </a:cubicBezTo>
                <a:cubicBezTo>
                  <a:pt x="6" y="12"/>
                  <a:pt x="4" y="10"/>
                  <a:pt x="3" y="8"/>
                </a:cubicBezTo>
                <a:cubicBezTo>
                  <a:pt x="3" y="7"/>
                  <a:pt x="3" y="7"/>
                  <a:pt x="3" y="7"/>
                </a:cubicBezTo>
                <a:cubicBezTo>
                  <a:pt x="2" y="6"/>
                  <a:pt x="2" y="5"/>
                  <a:pt x="2" y="4"/>
                </a:cubicBezTo>
                <a:cubicBezTo>
                  <a:pt x="2" y="3"/>
                  <a:pt x="2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5" y="2"/>
                  <a:pt x="5" y="3"/>
                  <a:pt x="6" y="3"/>
                </a:cubicBezTo>
                <a:cubicBezTo>
                  <a:pt x="7" y="4"/>
                  <a:pt x="7" y="4"/>
                  <a:pt x="8" y="5"/>
                </a:cubicBezTo>
                <a:cubicBezTo>
                  <a:pt x="8" y="6"/>
                  <a:pt x="8" y="6"/>
                  <a:pt x="8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5"/>
                  <a:pt x="10" y="4"/>
                  <a:pt x="9" y="3"/>
                </a:cubicBezTo>
                <a:cubicBezTo>
                  <a:pt x="7" y="1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0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5">
            <a:extLst>
              <a:ext uri="{FF2B5EF4-FFF2-40B4-BE49-F238E27FC236}">
                <a16:creationId xmlns:a16="http://schemas.microsoft.com/office/drawing/2014/main" id="{93CE4840-7CDA-422F-8106-72AEA7BE3BFB}"/>
              </a:ext>
            </a:extLst>
          </p:cNvPr>
          <p:cNvSpPr>
            <a:spLocks/>
          </p:cNvSpPr>
          <p:nvPr/>
        </p:nvSpPr>
        <p:spPr bwMode="auto">
          <a:xfrm>
            <a:off x="9260218" y="3454282"/>
            <a:ext cx="33726" cy="47466"/>
          </a:xfrm>
          <a:custGeom>
            <a:avLst/>
            <a:gdLst>
              <a:gd name="T0" fmla="*/ 1 w 11"/>
              <a:gd name="T1" fmla="*/ 8 h 16"/>
              <a:gd name="T2" fmla="*/ 8 w 11"/>
              <a:gd name="T3" fmla="*/ 15 h 16"/>
              <a:gd name="T4" fmla="*/ 8 w 11"/>
              <a:gd name="T5" fmla="*/ 13 h 16"/>
              <a:gd name="T6" fmla="*/ 3 w 11"/>
              <a:gd name="T7" fmla="*/ 9 h 16"/>
              <a:gd name="T8" fmla="*/ 3 w 11"/>
              <a:gd name="T9" fmla="*/ 8 h 16"/>
              <a:gd name="T10" fmla="*/ 2 w 11"/>
              <a:gd name="T11" fmla="*/ 4 h 16"/>
              <a:gd name="T12" fmla="*/ 3 w 11"/>
              <a:gd name="T13" fmla="*/ 3 h 16"/>
              <a:gd name="T14" fmla="*/ 3 w 11"/>
              <a:gd name="T15" fmla="*/ 3 h 16"/>
              <a:gd name="T16" fmla="*/ 3 w 11"/>
              <a:gd name="T17" fmla="*/ 2 h 16"/>
              <a:gd name="T18" fmla="*/ 4 w 11"/>
              <a:gd name="T19" fmla="*/ 2 h 16"/>
              <a:gd name="T20" fmla="*/ 5 w 11"/>
              <a:gd name="T21" fmla="*/ 2 h 16"/>
              <a:gd name="T22" fmla="*/ 6 w 11"/>
              <a:gd name="T23" fmla="*/ 3 h 16"/>
              <a:gd name="T24" fmla="*/ 8 w 11"/>
              <a:gd name="T25" fmla="*/ 5 h 16"/>
              <a:gd name="T26" fmla="*/ 9 w 11"/>
              <a:gd name="T27" fmla="*/ 6 h 16"/>
              <a:gd name="T28" fmla="*/ 9 w 11"/>
              <a:gd name="T29" fmla="*/ 6 h 16"/>
              <a:gd name="T30" fmla="*/ 9 w 11"/>
              <a:gd name="T31" fmla="*/ 7 h 16"/>
              <a:gd name="T32" fmla="*/ 9 w 11"/>
              <a:gd name="T33" fmla="*/ 7 h 16"/>
              <a:gd name="T34" fmla="*/ 11 w 11"/>
              <a:gd name="T35" fmla="*/ 7 h 16"/>
              <a:gd name="T36" fmla="*/ 9 w 11"/>
              <a:gd name="T37" fmla="*/ 3 h 16"/>
              <a:gd name="T38" fmla="*/ 3 w 11"/>
              <a:gd name="T39" fmla="*/ 0 h 16"/>
              <a:gd name="T40" fmla="*/ 0 w 11"/>
              <a:gd name="T41" fmla="*/ 4 h 16"/>
              <a:gd name="T42" fmla="*/ 1 w 11"/>
              <a:gd name="T43" fmla="*/ 8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16">
                <a:moveTo>
                  <a:pt x="1" y="8"/>
                </a:moveTo>
                <a:cubicBezTo>
                  <a:pt x="2" y="11"/>
                  <a:pt x="5" y="14"/>
                  <a:pt x="8" y="15"/>
                </a:cubicBezTo>
                <a:cubicBezTo>
                  <a:pt x="9" y="16"/>
                  <a:pt x="10" y="14"/>
                  <a:pt x="8" y="13"/>
                </a:cubicBezTo>
                <a:cubicBezTo>
                  <a:pt x="6" y="12"/>
                  <a:pt x="4" y="10"/>
                  <a:pt x="3" y="9"/>
                </a:cubicBezTo>
                <a:cubicBezTo>
                  <a:pt x="3" y="8"/>
                  <a:pt x="3" y="8"/>
                  <a:pt x="3" y="8"/>
                </a:cubicBezTo>
                <a:cubicBezTo>
                  <a:pt x="3" y="6"/>
                  <a:pt x="2" y="5"/>
                  <a:pt x="2" y="4"/>
                </a:cubicBezTo>
                <a:cubicBezTo>
                  <a:pt x="3" y="3"/>
                  <a:pt x="3" y="3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3" y="2"/>
                  <a:pt x="3" y="2"/>
                  <a:pt x="3" y="2"/>
                </a:cubicBezTo>
                <a:cubicBezTo>
                  <a:pt x="4" y="2"/>
                  <a:pt x="4" y="2"/>
                  <a:pt x="4" y="2"/>
                </a:cubicBezTo>
                <a:cubicBezTo>
                  <a:pt x="4" y="2"/>
                  <a:pt x="4" y="2"/>
                  <a:pt x="5" y="2"/>
                </a:cubicBezTo>
                <a:cubicBezTo>
                  <a:pt x="5" y="2"/>
                  <a:pt x="6" y="3"/>
                  <a:pt x="6" y="3"/>
                </a:cubicBezTo>
                <a:cubicBezTo>
                  <a:pt x="7" y="4"/>
                  <a:pt x="8" y="4"/>
                  <a:pt x="8" y="5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7"/>
                  <a:pt x="9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0" y="4"/>
                  <a:pt x="9" y="3"/>
                </a:cubicBezTo>
                <a:cubicBezTo>
                  <a:pt x="7" y="2"/>
                  <a:pt x="5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5"/>
                  <a:pt x="0" y="6"/>
                  <a:pt x="1" y="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226">
            <a:extLst>
              <a:ext uri="{FF2B5EF4-FFF2-40B4-BE49-F238E27FC236}">
                <a16:creationId xmlns:a16="http://schemas.microsoft.com/office/drawing/2014/main" id="{023BDEDF-196D-4ABB-91E0-E7598210BCDF}"/>
              </a:ext>
            </a:extLst>
          </p:cNvPr>
          <p:cNvSpPr>
            <a:spLocks/>
          </p:cNvSpPr>
          <p:nvPr/>
        </p:nvSpPr>
        <p:spPr bwMode="auto">
          <a:xfrm>
            <a:off x="9918495" y="2932157"/>
            <a:ext cx="774444" cy="1044250"/>
          </a:xfrm>
          <a:custGeom>
            <a:avLst/>
            <a:gdLst>
              <a:gd name="T0" fmla="*/ 137 w 261"/>
              <a:gd name="T1" fmla="*/ 40 h 352"/>
              <a:gd name="T2" fmla="*/ 236 w 261"/>
              <a:gd name="T3" fmla="*/ 249 h 352"/>
              <a:gd name="T4" fmla="*/ 63 w 261"/>
              <a:gd name="T5" fmla="*/ 348 h 352"/>
              <a:gd name="T6" fmla="*/ 13 w 261"/>
              <a:gd name="T7" fmla="*/ 245 h 352"/>
              <a:gd name="T8" fmla="*/ 128 w 261"/>
              <a:gd name="T9" fmla="*/ 192 h 352"/>
              <a:gd name="T10" fmla="*/ 104 w 261"/>
              <a:gd name="T11" fmla="*/ 66 h 352"/>
              <a:gd name="T12" fmla="*/ 137 w 261"/>
              <a:gd name="T13" fmla="*/ 4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1" h="352">
                <a:moveTo>
                  <a:pt x="137" y="40"/>
                </a:moveTo>
                <a:cubicBezTo>
                  <a:pt x="176" y="95"/>
                  <a:pt x="261" y="220"/>
                  <a:pt x="236" y="249"/>
                </a:cubicBezTo>
                <a:cubicBezTo>
                  <a:pt x="195" y="297"/>
                  <a:pt x="94" y="339"/>
                  <a:pt x="63" y="348"/>
                </a:cubicBezTo>
                <a:cubicBezTo>
                  <a:pt x="49" y="352"/>
                  <a:pt x="0" y="253"/>
                  <a:pt x="13" y="245"/>
                </a:cubicBezTo>
                <a:cubicBezTo>
                  <a:pt x="29" y="236"/>
                  <a:pt x="127" y="197"/>
                  <a:pt x="128" y="192"/>
                </a:cubicBezTo>
                <a:cubicBezTo>
                  <a:pt x="128" y="187"/>
                  <a:pt x="110" y="119"/>
                  <a:pt x="104" y="66"/>
                </a:cubicBezTo>
                <a:cubicBezTo>
                  <a:pt x="96" y="0"/>
                  <a:pt x="120" y="17"/>
                  <a:pt x="137" y="40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227">
            <a:extLst>
              <a:ext uri="{FF2B5EF4-FFF2-40B4-BE49-F238E27FC236}">
                <a16:creationId xmlns:a16="http://schemas.microsoft.com/office/drawing/2014/main" id="{D1173F33-D7C0-4507-B48E-99CEFD30346C}"/>
              </a:ext>
            </a:extLst>
          </p:cNvPr>
          <p:cNvSpPr>
            <a:spLocks/>
          </p:cNvSpPr>
          <p:nvPr/>
        </p:nvSpPr>
        <p:spPr bwMode="auto">
          <a:xfrm>
            <a:off x="9458825" y="3561705"/>
            <a:ext cx="662024" cy="412204"/>
          </a:xfrm>
          <a:custGeom>
            <a:avLst/>
            <a:gdLst>
              <a:gd name="T0" fmla="*/ 218 w 223"/>
              <a:gd name="T1" fmla="*/ 26 h 139"/>
              <a:gd name="T2" fmla="*/ 149 w 223"/>
              <a:gd name="T3" fmla="*/ 8 h 139"/>
              <a:gd name="T4" fmla="*/ 94 w 223"/>
              <a:gd name="T5" fmla="*/ 2 h 139"/>
              <a:gd name="T6" fmla="*/ 6 w 223"/>
              <a:gd name="T7" fmla="*/ 51 h 139"/>
              <a:gd name="T8" fmla="*/ 74 w 223"/>
              <a:gd name="T9" fmla="*/ 37 h 139"/>
              <a:gd name="T10" fmla="*/ 19 w 223"/>
              <a:gd name="T11" fmla="*/ 82 h 139"/>
              <a:gd name="T12" fmla="*/ 95 w 223"/>
              <a:gd name="T13" fmla="*/ 56 h 139"/>
              <a:gd name="T14" fmla="*/ 42 w 223"/>
              <a:gd name="T15" fmla="*/ 102 h 139"/>
              <a:gd name="T16" fmla="*/ 114 w 223"/>
              <a:gd name="T17" fmla="*/ 78 h 139"/>
              <a:gd name="T18" fmla="*/ 67 w 223"/>
              <a:gd name="T19" fmla="*/ 118 h 139"/>
              <a:gd name="T20" fmla="*/ 137 w 223"/>
              <a:gd name="T21" fmla="*/ 103 h 139"/>
              <a:gd name="T22" fmla="*/ 218 w 223"/>
              <a:gd name="T23" fmla="*/ 136 h 139"/>
              <a:gd name="T24" fmla="*/ 218 w 223"/>
              <a:gd name="T25" fmla="*/ 26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3" h="139">
                <a:moveTo>
                  <a:pt x="218" y="26"/>
                </a:moveTo>
                <a:cubicBezTo>
                  <a:pt x="218" y="26"/>
                  <a:pt x="176" y="14"/>
                  <a:pt x="149" y="8"/>
                </a:cubicBezTo>
                <a:cubicBezTo>
                  <a:pt x="134" y="4"/>
                  <a:pt x="107" y="0"/>
                  <a:pt x="94" y="2"/>
                </a:cubicBezTo>
                <a:cubicBezTo>
                  <a:pt x="76" y="6"/>
                  <a:pt x="0" y="33"/>
                  <a:pt x="6" y="51"/>
                </a:cubicBezTo>
                <a:cubicBezTo>
                  <a:pt x="11" y="68"/>
                  <a:pt x="74" y="37"/>
                  <a:pt x="74" y="37"/>
                </a:cubicBezTo>
                <a:cubicBezTo>
                  <a:pt x="74" y="37"/>
                  <a:pt x="8" y="63"/>
                  <a:pt x="19" y="82"/>
                </a:cubicBezTo>
                <a:cubicBezTo>
                  <a:pt x="29" y="101"/>
                  <a:pt x="95" y="56"/>
                  <a:pt x="95" y="56"/>
                </a:cubicBezTo>
                <a:cubicBezTo>
                  <a:pt x="95" y="56"/>
                  <a:pt x="28" y="84"/>
                  <a:pt x="42" y="102"/>
                </a:cubicBezTo>
                <a:cubicBezTo>
                  <a:pt x="52" y="116"/>
                  <a:pt x="114" y="78"/>
                  <a:pt x="114" y="78"/>
                </a:cubicBezTo>
                <a:cubicBezTo>
                  <a:pt x="114" y="78"/>
                  <a:pt x="56" y="103"/>
                  <a:pt x="67" y="118"/>
                </a:cubicBezTo>
                <a:cubicBezTo>
                  <a:pt x="78" y="134"/>
                  <a:pt x="137" y="103"/>
                  <a:pt x="137" y="103"/>
                </a:cubicBezTo>
                <a:cubicBezTo>
                  <a:pt x="169" y="135"/>
                  <a:pt x="197" y="139"/>
                  <a:pt x="218" y="136"/>
                </a:cubicBezTo>
                <a:cubicBezTo>
                  <a:pt x="223" y="135"/>
                  <a:pt x="218" y="26"/>
                  <a:pt x="218" y="26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228">
            <a:extLst>
              <a:ext uri="{FF2B5EF4-FFF2-40B4-BE49-F238E27FC236}">
                <a16:creationId xmlns:a16="http://schemas.microsoft.com/office/drawing/2014/main" id="{CFC5280D-821A-47B3-A14C-627883217927}"/>
              </a:ext>
            </a:extLst>
          </p:cNvPr>
          <p:cNvSpPr>
            <a:spLocks/>
          </p:cNvSpPr>
          <p:nvPr/>
        </p:nvSpPr>
        <p:spPr bwMode="auto">
          <a:xfrm>
            <a:off x="9527526" y="3644146"/>
            <a:ext cx="207351" cy="112419"/>
          </a:xfrm>
          <a:custGeom>
            <a:avLst/>
            <a:gdLst>
              <a:gd name="T0" fmla="*/ 70 w 70"/>
              <a:gd name="T1" fmla="*/ 0 h 38"/>
              <a:gd name="T2" fmla="*/ 1 w 70"/>
              <a:gd name="T3" fmla="*/ 38 h 38"/>
              <a:gd name="T4" fmla="*/ 51 w 70"/>
              <a:gd name="T5" fmla="*/ 9 h 38"/>
              <a:gd name="T6" fmla="*/ 70 w 70"/>
              <a:gd name="T7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0" h="38">
                <a:moveTo>
                  <a:pt x="70" y="0"/>
                </a:moveTo>
                <a:cubicBezTo>
                  <a:pt x="20" y="15"/>
                  <a:pt x="0" y="38"/>
                  <a:pt x="1" y="38"/>
                </a:cubicBezTo>
                <a:cubicBezTo>
                  <a:pt x="16" y="26"/>
                  <a:pt x="43" y="13"/>
                  <a:pt x="51" y="9"/>
                </a:cubicBezTo>
                <a:cubicBezTo>
                  <a:pt x="58" y="6"/>
                  <a:pt x="62" y="3"/>
                  <a:pt x="70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229">
            <a:extLst>
              <a:ext uri="{FF2B5EF4-FFF2-40B4-BE49-F238E27FC236}">
                <a16:creationId xmlns:a16="http://schemas.microsoft.com/office/drawing/2014/main" id="{86290030-119C-4A6F-969B-3305ADB5C009}"/>
              </a:ext>
            </a:extLst>
          </p:cNvPr>
          <p:cNvSpPr>
            <a:spLocks/>
          </p:cNvSpPr>
          <p:nvPr/>
        </p:nvSpPr>
        <p:spPr bwMode="auto">
          <a:xfrm>
            <a:off x="9611215" y="3717843"/>
            <a:ext cx="171127" cy="83690"/>
          </a:xfrm>
          <a:custGeom>
            <a:avLst/>
            <a:gdLst>
              <a:gd name="T0" fmla="*/ 58 w 58"/>
              <a:gd name="T1" fmla="*/ 0 h 28"/>
              <a:gd name="T2" fmla="*/ 1 w 58"/>
              <a:gd name="T3" fmla="*/ 27 h 28"/>
              <a:gd name="T4" fmla="*/ 1 w 58"/>
              <a:gd name="T5" fmla="*/ 27 h 28"/>
              <a:gd name="T6" fmla="*/ 58 w 58"/>
              <a:gd name="T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8" h="28">
                <a:moveTo>
                  <a:pt x="58" y="0"/>
                </a:moveTo>
                <a:cubicBezTo>
                  <a:pt x="34" y="6"/>
                  <a:pt x="9" y="21"/>
                  <a:pt x="1" y="27"/>
                </a:cubicBezTo>
                <a:cubicBezTo>
                  <a:pt x="0" y="27"/>
                  <a:pt x="1" y="28"/>
                  <a:pt x="1" y="27"/>
                </a:cubicBezTo>
                <a:cubicBezTo>
                  <a:pt x="11" y="22"/>
                  <a:pt x="48" y="5"/>
                  <a:pt x="58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230">
            <a:extLst>
              <a:ext uri="{FF2B5EF4-FFF2-40B4-BE49-F238E27FC236}">
                <a16:creationId xmlns:a16="http://schemas.microsoft.com/office/drawing/2014/main" id="{0F9E6166-73B1-40E5-9C17-495D30773F80}"/>
              </a:ext>
            </a:extLst>
          </p:cNvPr>
          <p:cNvSpPr>
            <a:spLocks/>
          </p:cNvSpPr>
          <p:nvPr/>
        </p:nvSpPr>
        <p:spPr bwMode="auto">
          <a:xfrm>
            <a:off x="9696154" y="3780298"/>
            <a:ext cx="133654" cy="68701"/>
          </a:xfrm>
          <a:custGeom>
            <a:avLst/>
            <a:gdLst>
              <a:gd name="T0" fmla="*/ 44 w 45"/>
              <a:gd name="T1" fmla="*/ 0 h 23"/>
              <a:gd name="T2" fmla="*/ 1 w 45"/>
              <a:gd name="T3" fmla="*/ 22 h 23"/>
              <a:gd name="T4" fmla="*/ 1 w 45"/>
              <a:gd name="T5" fmla="*/ 23 h 23"/>
              <a:gd name="T6" fmla="*/ 45 w 45"/>
              <a:gd name="T7" fmla="*/ 1 h 23"/>
              <a:gd name="T8" fmla="*/ 44 w 45"/>
              <a:gd name="T9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23">
                <a:moveTo>
                  <a:pt x="44" y="0"/>
                </a:moveTo>
                <a:cubicBezTo>
                  <a:pt x="23" y="7"/>
                  <a:pt x="14" y="12"/>
                  <a:pt x="1" y="22"/>
                </a:cubicBezTo>
                <a:cubicBezTo>
                  <a:pt x="0" y="23"/>
                  <a:pt x="1" y="23"/>
                  <a:pt x="1" y="23"/>
                </a:cubicBezTo>
                <a:cubicBezTo>
                  <a:pt x="16" y="15"/>
                  <a:pt x="27" y="9"/>
                  <a:pt x="45" y="1"/>
                </a:cubicBezTo>
                <a:lnTo>
                  <a:pt x="44" y="0"/>
                </a:ln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231">
            <a:extLst>
              <a:ext uri="{FF2B5EF4-FFF2-40B4-BE49-F238E27FC236}">
                <a16:creationId xmlns:a16="http://schemas.microsoft.com/office/drawing/2014/main" id="{02D243A9-82DD-49EB-9E17-22A1A316F0C2}"/>
              </a:ext>
            </a:extLst>
          </p:cNvPr>
          <p:cNvSpPr>
            <a:spLocks/>
          </p:cNvSpPr>
          <p:nvPr/>
        </p:nvSpPr>
        <p:spPr bwMode="auto">
          <a:xfrm>
            <a:off x="10049650" y="2940901"/>
            <a:ext cx="613309" cy="1024264"/>
          </a:xfrm>
          <a:custGeom>
            <a:avLst/>
            <a:gdLst>
              <a:gd name="T0" fmla="*/ 0 w 207"/>
              <a:gd name="T1" fmla="*/ 227 h 345"/>
              <a:gd name="T2" fmla="*/ 55 w 207"/>
              <a:gd name="T3" fmla="*/ 345 h 345"/>
              <a:gd name="T4" fmla="*/ 197 w 207"/>
              <a:gd name="T5" fmla="*/ 241 h 345"/>
              <a:gd name="T6" fmla="*/ 90 w 207"/>
              <a:gd name="T7" fmla="*/ 30 h 345"/>
              <a:gd name="T8" fmla="*/ 55 w 207"/>
              <a:gd name="T9" fmla="*/ 47 h 345"/>
              <a:gd name="T10" fmla="*/ 82 w 207"/>
              <a:gd name="T11" fmla="*/ 189 h 345"/>
              <a:gd name="T12" fmla="*/ 0 w 207"/>
              <a:gd name="T13" fmla="*/ 227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7" h="345">
                <a:moveTo>
                  <a:pt x="0" y="227"/>
                </a:moveTo>
                <a:cubicBezTo>
                  <a:pt x="55" y="345"/>
                  <a:pt x="55" y="345"/>
                  <a:pt x="55" y="345"/>
                </a:cubicBezTo>
                <a:cubicBezTo>
                  <a:pt x="55" y="345"/>
                  <a:pt x="187" y="274"/>
                  <a:pt x="197" y="241"/>
                </a:cubicBezTo>
                <a:cubicBezTo>
                  <a:pt x="207" y="207"/>
                  <a:pt x="117" y="60"/>
                  <a:pt x="90" y="30"/>
                </a:cubicBezTo>
                <a:cubicBezTo>
                  <a:pt x="63" y="0"/>
                  <a:pt x="54" y="12"/>
                  <a:pt x="55" y="47"/>
                </a:cubicBezTo>
                <a:cubicBezTo>
                  <a:pt x="55" y="81"/>
                  <a:pt x="82" y="188"/>
                  <a:pt x="82" y="189"/>
                </a:cubicBezTo>
                <a:cubicBezTo>
                  <a:pt x="81" y="191"/>
                  <a:pt x="0" y="227"/>
                  <a:pt x="0" y="227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232">
            <a:extLst>
              <a:ext uri="{FF2B5EF4-FFF2-40B4-BE49-F238E27FC236}">
                <a16:creationId xmlns:a16="http://schemas.microsoft.com/office/drawing/2014/main" id="{1E6A3035-9F17-4AC4-AB2B-5B584BCC7C4F}"/>
              </a:ext>
            </a:extLst>
          </p:cNvPr>
          <p:cNvSpPr>
            <a:spLocks/>
          </p:cNvSpPr>
          <p:nvPr/>
        </p:nvSpPr>
        <p:spPr bwMode="auto">
          <a:xfrm>
            <a:off x="10306966" y="3391827"/>
            <a:ext cx="21235" cy="42469"/>
          </a:xfrm>
          <a:custGeom>
            <a:avLst/>
            <a:gdLst>
              <a:gd name="T0" fmla="*/ 7 w 7"/>
              <a:gd name="T1" fmla="*/ 0 h 14"/>
              <a:gd name="T2" fmla="*/ 5 w 7"/>
              <a:gd name="T3" fmla="*/ 8 h 14"/>
              <a:gd name="T4" fmla="*/ 0 w 7"/>
              <a:gd name="T5" fmla="*/ 14 h 14"/>
              <a:gd name="T6" fmla="*/ 3 w 7"/>
              <a:gd name="T7" fmla="*/ 7 h 14"/>
              <a:gd name="T8" fmla="*/ 7 w 7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4">
                <a:moveTo>
                  <a:pt x="7" y="0"/>
                </a:moveTo>
                <a:cubicBezTo>
                  <a:pt x="7" y="3"/>
                  <a:pt x="6" y="5"/>
                  <a:pt x="5" y="8"/>
                </a:cubicBezTo>
                <a:cubicBezTo>
                  <a:pt x="3" y="10"/>
                  <a:pt x="2" y="12"/>
                  <a:pt x="0" y="14"/>
                </a:cubicBezTo>
                <a:cubicBezTo>
                  <a:pt x="1" y="12"/>
                  <a:pt x="2" y="9"/>
                  <a:pt x="3" y="7"/>
                </a:cubicBezTo>
                <a:cubicBezTo>
                  <a:pt x="4" y="4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233">
            <a:extLst>
              <a:ext uri="{FF2B5EF4-FFF2-40B4-BE49-F238E27FC236}">
                <a16:creationId xmlns:a16="http://schemas.microsoft.com/office/drawing/2014/main" id="{4B498C4E-8CB9-43E3-9D89-CDB7EB4EE8C7}"/>
              </a:ext>
            </a:extLst>
          </p:cNvPr>
          <p:cNvSpPr>
            <a:spLocks/>
          </p:cNvSpPr>
          <p:nvPr/>
        </p:nvSpPr>
        <p:spPr bwMode="auto">
          <a:xfrm>
            <a:off x="10411890" y="3602925"/>
            <a:ext cx="19986" cy="41220"/>
          </a:xfrm>
          <a:custGeom>
            <a:avLst/>
            <a:gdLst>
              <a:gd name="T0" fmla="*/ 7 w 7"/>
              <a:gd name="T1" fmla="*/ 0 h 14"/>
              <a:gd name="T2" fmla="*/ 5 w 7"/>
              <a:gd name="T3" fmla="*/ 7 h 14"/>
              <a:gd name="T4" fmla="*/ 0 w 7"/>
              <a:gd name="T5" fmla="*/ 14 h 14"/>
              <a:gd name="T6" fmla="*/ 3 w 7"/>
              <a:gd name="T7" fmla="*/ 7 h 14"/>
              <a:gd name="T8" fmla="*/ 7 w 7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4">
                <a:moveTo>
                  <a:pt x="7" y="0"/>
                </a:moveTo>
                <a:cubicBezTo>
                  <a:pt x="7" y="3"/>
                  <a:pt x="6" y="5"/>
                  <a:pt x="5" y="7"/>
                </a:cubicBezTo>
                <a:cubicBezTo>
                  <a:pt x="4" y="10"/>
                  <a:pt x="2" y="12"/>
                  <a:pt x="0" y="14"/>
                </a:cubicBezTo>
                <a:cubicBezTo>
                  <a:pt x="1" y="12"/>
                  <a:pt x="2" y="9"/>
                  <a:pt x="3" y="7"/>
                </a:cubicBezTo>
                <a:cubicBezTo>
                  <a:pt x="4" y="4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234">
            <a:extLst>
              <a:ext uri="{FF2B5EF4-FFF2-40B4-BE49-F238E27FC236}">
                <a16:creationId xmlns:a16="http://schemas.microsoft.com/office/drawing/2014/main" id="{3A01F7F2-D66D-45C6-800B-1955FFF748F9}"/>
              </a:ext>
            </a:extLst>
          </p:cNvPr>
          <p:cNvSpPr>
            <a:spLocks/>
          </p:cNvSpPr>
          <p:nvPr/>
        </p:nvSpPr>
        <p:spPr bwMode="auto">
          <a:xfrm>
            <a:off x="10129593" y="3717843"/>
            <a:ext cx="21235" cy="44968"/>
          </a:xfrm>
          <a:custGeom>
            <a:avLst/>
            <a:gdLst>
              <a:gd name="T0" fmla="*/ 7 w 7"/>
              <a:gd name="T1" fmla="*/ 0 h 15"/>
              <a:gd name="T2" fmla="*/ 5 w 7"/>
              <a:gd name="T3" fmla="*/ 8 h 15"/>
              <a:gd name="T4" fmla="*/ 0 w 7"/>
              <a:gd name="T5" fmla="*/ 15 h 15"/>
              <a:gd name="T6" fmla="*/ 3 w 7"/>
              <a:gd name="T7" fmla="*/ 7 h 15"/>
              <a:gd name="T8" fmla="*/ 7 w 7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15">
                <a:moveTo>
                  <a:pt x="7" y="0"/>
                </a:moveTo>
                <a:cubicBezTo>
                  <a:pt x="7" y="3"/>
                  <a:pt x="6" y="6"/>
                  <a:pt x="5" y="8"/>
                </a:cubicBezTo>
                <a:cubicBezTo>
                  <a:pt x="3" y="10"/>
                  <a:pt x="2" y="13"/>
                  <a:pt x="0" y="15"/>
                </a:cubicBezTo>
                <a:cubicBezTo>
                  <a:pt x="1" y="12"/>
                  <a:pt x="2" y="10"/>
                  <a:pt x="3" y="7"/>
                </a:cubicBezTo>
                <a:cubicBezTo>
                  <a:pt x="4" y="5"/>
                  <a:pt x="5" y="2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235">
            <a:extLst>
              <a:ext uri="{FF2B5EF4-FFF2-40B4-BE49-F238E27FC236}">
                <a16:creationId xmlns:a16="http://schemas.microsoft.com/office/drawing/2014/main" id="{A67B6E3C-6B74-46FA-AB32-9AFC85282E70}"/>
              </a:ext>
            </a:extLst>
          </p:cNvPr>
          <p:cNvSpPr>
            <a:spLocks/>
          </p:cNvSpPr>
          <p:nvPr/>
        </p:nvSpPr>
        <p:spPr bwMode="auto">
          <a:xfrm>
            <a:off x="10269493" y="3540470"/>
            <a:ext cx="41220" cy="21235"/>
          </a:xfrm>
          <a:custGeom>
            <a:avLst/>
            <a:gdLst>
              <a:gd name="T0" fmla="*/ 14 w 14"/>
              <a:gd name="T1" fmla="*/ 7 h 7"/>
              <a:gd name="T2" fmla="*/ 6 w 14"/>
              <a:gd name="T3" fmla="*/ 5 h 7"/>
              <a:gd name="T4" fmla="*/ 0 w 14"/>
              <a:gd name="T5" fmla="*/ 0 h 7"/>
              <a:gd name="T6" fmla="*/ 7 w 14"/>
              <a:gd name="T7" fmla="*/ 3 h 7"/>
              <a:gd name="T8" fmla="*/ 14 w 14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4" y="7"/>
                </a:moveTo>
                <a:cubicBezTo>
                  <a:pt x="11" y="7"/>
                  <a:pt x="9" y="6"/>
                  <a:pt x="6" y="5"/>
                </a:cubicBezTo>
                <a:cubicBezTo>
                  <a:pt x="4" y="4"/>
                  <a:pt x="2" y="2"/>
                  <a:pt x="0" y="0"/>
                </a:cubicBezTo>
                <a:cubicBezTo>
                  <a:pt x="2" y="1"/>
                  <a:pt x="5" y="2"/>
                  <a:pt x="7" y="3"/>
                </a:cubicBezTo>
                <a:cubicBezTo>
                  <a:pt x="10" y="4"/>
                  <a:pt x="12" y="5"/>
                  <a:pt x="14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236">
            <a:extLst>
              <a:ext uri="{FF2B5EF4-FFF2-40B4-BE49-F238E27FC236}">
                <a16:creationId xmlns:a16="http://schemas.microsoft.com/office/drawing/2014/main" id="{DD25D990-2F2D-4E60-843D-2A5298D2A5D7}"/>
              </a:ext>
            </a:extLst>
          </p:cNvPr>
          <p:cNvSpPr>
            <a:spLocks/>
          </p:cNvSpPr>
          <p:nvPr/>
        </p:nvSpPr>
        <p:spPr bwMode="auto">
          <a:xfrm>
            <a:off x="10239514" y="3836508"/>
            <a:ext cx="41220" cy="21235"/>
          </a:xfrm>
          <a:custGeom>
            <a:avLst/>
            <a:gdLst>
              <a:gd name="T0" fmla="*/ 14 w 14"/>
              <a:gd name="T1" fmla="*/ 7 h 7"/>
              <a:gd name="T2" fmla="*/ 7 w 14"/>
              <a:gd name="T3" fmla="*/ 5 h 7"/>
              <a:gd name="T4" fmla="*/ 0 w 14"/>
              <a:gd name="T5" fmla="*/ 0 h 7"/>
              <a:gd name="T6" fmla="*/ 7 w 14"/>
              <a:gd name="T7" fmla="*/ 3 h 7"/>
              <a:gd name="T8" fmla="*/ 14 w 14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4" y="7"/>
                </a:moveTo>
                <a:cubicBezTo>
                  <a:pt x="11" y="7"/>
                  <a:pt x="9" y="6"/>
                  <a:pt x="7" y="5"/>
                </a:cubicBezTo>
                <a:cubicBezTo>
                  <a:pt x="4" y="4"/>
                  <a:pt x="2" y="2"/>
                  <a:pt x="0" y="0"/>
                </a:cubicBezTo>
                <a:cubicBezTo>
                  <a:pt x="2" y="1"/>
                  <a:pt x="5" y="2"/>
                  <a:pt x="7" y="3"/>
                </a:cubicBezTo>
                <a:cubicBezTo>
                  <a:pt x="10" y="4"/>
                  <a:pt x="12" y="5"/>
                  <a:pt x="14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237">
            <a:extLst>
              <a:ext uri="{FF2B5EF4-FFF2-40B4-BE49-F238E27FC236}">
                <a16:creationId xmlns:a16="http://schemas.microsoft.com/office/drawing/2014/main" id="{FFE4BF8D-8C77-40B8-B6DA-D70A25A678AE}"/>
              </a:ext>
            </a:extLst>
          </p:cNvPr>
          <p:cNvSpPr>
            <a:spLocks/>
          </p:cNvSpPr>
          <p:nvPr/>
        </p:nvSpPr>
        <p:spPr bwMode="auto">
          <a:xfrm>
            <a:off x="10541797" y="3644146"/>
            <a:ext cx="41220" cy="17487"/>
          </a:xfrm>
          <a:custGeom>
            <a:avLst/>
            <a:gdLst>
              <a:gd name="T0" fmla="*/ 14 w 14"/>
              <a:gd name="T1" fmla="*/ 6 h 6"/>
              <a:gd name="T2" fmla="*/ 7 w 14"/>
              <a:gd name="T3" fmla="*/ 4 h 6"/>
              <a:gd name="T4" fmla="*/ 0 w 14"/>
              <a:gd name="T5" fmla="*/ 0 h 6"/>
              <a:gd name="T6" fmla="*/ 7 w 14"/>
              <a:gd name="T7" fmla="*/ 2 h 6"/>
              <a:gd name="T8" fmla="*/ 14 w 14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">
                <a:moveTo>
                  <a:pt x="14" y="6"/>
                </a:moveTo>
                <a:cubicBezTo>
                  <a:pt x="12" y="6"/>
                  <a:pt x="9" y="5"/>
                  <a:pt x="7" y="4"/>
                </a:cubicBezTo>
                <a:cubicBezTo>
                  <a:pt x="4" y="3"/>
                  <a:pt x="2" y="1"/>
                  <a:pt x="0" y="0"/>
                </a:cubicBezTo>
                <a:cubicBezTo>
                  <a:pt x="3" y="0"/>
                  <a:pt x="5" y="1"/>
                  <a:pt x="7" y="2"/>
                </a:cubicBezTo>
                <a:cubicBezTo>
                  <a:pt x="10" y="3"/>
                  <a:pt x="12" y="4"/>
                  <a:pt x="14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238">
            <a:extLst>
              <a:ext uri="{FF2B5EF4-FFF2-40B4-BE49-F238E27FC236}">
                <a16:creationId xmlns:a16="http://schemas.microsoft.com/office/drawing/2014/main" id="{603D18A8-B1FA-4F25-8422-66827E0EE924}"/>
              </a:ext>
            </a:extLst>
          </p:cNvPr>
          <p:cNvSpPr>
            <a:spLocks/>
          </p:cNvSpPr>
          <p:nvPr/>
        </p:nvSpPr>
        <p:spPr bwMode="auto">
          <a:xfrm>
            <a:off x="10453111" y="3309386"/>
            <a:ext cx="43719" cy="19986"/>
          </a:xfrm>
          <a:custGeom>
            <a:avLst/>
            <a:gdLst>
              <a:gd name="T0" fmla="*/ 15 w 15"/>
              <a:gd name="T1" fmla="*/ 7 h 7"/>
              <a:gd name="T2" fmla="*/ 7 w 15"/>
              <a:gd name="T3" fmla="*/ 4 h 7"/>
              <a:gd name="T4" fmla="*/ 0 w 15"/>
              <a:gd name="T5" fmla="*/ 0 h 7"/>
              <a:gd name="T6" fmla="*/ 8 w 15"/>
              <a:gd name="T7" fmla="*/ 2 h 7"/>
              <a:gd name="T8" fmla="*/ 15 w 15"/>
              <a:gd name="T9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7">
                <a:moveTo>
                  <a:pt x="15" y="7"/>
                </a:moveTo>
                <a:cubicBezTo>
                  <a:pt x="12" y="6"/>
                  <a:pt x="9" y="5"/>
                  <a:pt x="7" y="4"/>
                </a:cubicBezTo>
                <a:cubicBezTo>
                  <a:pt x="4" y="3"/>
                  <a:pt x="2" y="2"/>
                  <a:pt x="0" y="0"/>
                </a:cubicBezTo>
                <a:cubicBezTo>
                  <a:pt x="3" y="0"/>
                  <a:pt x="5" y="1"/>
                  <a:pt x="8" y="2"/>
                </a:cubicBezTo>
                <a:cubicBezTo>
                  <a:pt x="10" y="4"/>
                  <a:pt x="12" y="5"/>
                  <a:pt x="15" y="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239">
            <a:extLst>
              <a:ext uri="{FF2B5EF4-FFF2-40B4-BE49-F238E27FC236}">
                <a16:creationId xmlns:a16="http://schemas.microsoft.com/office/drawing/2014/main" id="{2BE5E56F-3689-4D54-8D36-A86814EBD9BB}"/>
              </a:ext>
            </a:extLst>
          </p:cNvPr>
          <p:cNvSpPr>
            <a:spLocks/>
          </p:cNvSpPr>
          <p:nvPr/>
        </p:nvSpPr>
        <p:spPr bwMode="auto">
          <a:xfrm>
            <a:off x="10212034" y="3054569"/>
            <a:ext cx="33726" cy="17487"/>
          </a:xfrm>
          <a:custGeom>
            <a:avLst/>
            <a:gdLst>
              <a:gd name="T0" fmla="*/ 11 w 11"/>
              <a:gd name="T1" fmla="*/ 6 h 6"/>
              <a:gd name="T2" fmla="*/ 3 w 11"/>
              <a:gd name="T3" fmla="*/ 4 h 6"/>
              <a:gd name="T4" fmla="*/ 0 w 11"/>
              <a:gd name="T5" fmla="*/ 2 h 6"/>
              <a:gd name="T6" fmla="*/ 0 w 11"/>
              <a:gd name="T7" fmla="*/ 0 h 6"/>
              <a:gd name="T8" fmla="*/ 4 w 11"/>
              <a:gd name="T9" fmla="*/ 2 h 6"/>
              <a:gd name="T10" fmla="*/ 11 w 11"/>
              <a:gd name="T1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6">
                <a:moveTo>
                  <a:pt x="11" y="6"/>
                </a:moveTo>
                <a:cubicBezTo>
                  <a:pt x="8" y="6"/>
                  <a:pt x="6" y="5"/>
                  <a:pt x="3" y="4"/>
                </a:cubicBezTo>
                <a:cubicBezTo>
                  <a:pt x="2" y="3"/>
                  <a:pt x="1" y="3"/>
                  <a:pt x="0" y="2"/>
                </a:cubicBezTo>
                <a:cubicBezTo>
                  <a:pt x="0" y="1"/>
                  <a:pt x="0" y="1"/>
                  <a:pt x="0" y="0"/>
                </a:cubicBezTo>
                <a:cubicBezTo>
                  <a:pt x="1" y="1"/>
                  <a:pt x="3" y="1"/>
                  <a:pt x="4" y="2"/>
                </a:cubicBezTo>
                <a:cubicBezTo>
                  <a:pt x="7" y="3"/>
                  <a:pt x="9" y="5"/>
                  <a:pt x="11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240">
            <a:extLst>
              <a:ext uri="{FF2B5EF4-FFF2-40B4-BE49-F238E27FC236}">
                <a16:creationId xmlns:a16="http://schemas.microsoft.com/office/drawing/2014/main" id="{F314BDF0-C1F2-4134-961A-503F0B723F5C}"/>
              </a:ext>
            </a:extLst>
          </p:cNvPr>
          <p:cNvSpPr>
            <a:spLocks/>
          </p:cNvSpPr>
          <p:nvPr/>
        </p:nvSpPr>
        <p:spPr bwMode="auto">
          <a:xfrm>
            <a:off x="10310713" y="3110779"/>
            <a:ext cx="14989" cy="43719"/>
          </a:xfrm>
          <a:custGeom>
            <a:avLst/>
            <a:gdLst>
              <a:gd name="T0" fmla="*/ 0 w 5"/>
              <a:gd name="T1" fmla="*/ 0 h 15"/>
              <a:gd name="T2" fmla="*/ 4 w 5"/>
              <a:gd name="T3" fmla="*/ 7 h 15"/>
              <a:gd name="T4" fmla="*/ 5 w 5"/>
              <a:gd name="T5" fmla="*/ 15 h 15"/>
              <a:gd name="T6" fmla="*/ 2 w 5"/>
              <a:gd name="T7" fmla="*/ 8 h 15"/>
              <a:gd name="T8" fmla="*/ 0 w 5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5">
                <a:moveTo>
                  <a:pt x="0" y="0"/>
                </a:moveTo>
                <a:cubicBezTo>
                  <a:pt x="1" y="3"/>
                  <a:pt x="3" y="5"/>
                  <a:pt x="4" y="7"/>
                </a:cubicBezTo>
                <a:cubicBezTo>
                  <a:pt x="4" y="10"/>
                  <a:pt x="5" y="13"/>
                  <a:pt x="5" y="15"/>
                </a:cubicBezTo>
                <a:cubicBezTo>
                  <a:pt x="4" y="13"/>
                  <a:pt x="3" y="11"/>
                  <a:pt x="2" y="8"/>
                </a:cubicBezTo>
                <a:cubicBezTo>
                  <a:pt x="1" y="6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241">
            <a:extLst>
              <a:ext uri="{FF2B5EF4-FFF2-40B4-BE49-F238E27FC236}">
                <a16:creationId xmlns:a16="http://schemas.microsoft.com/office/drawing/2014/main" id="{0ED94C92-E085-4041-B670-EEBF2953469E}"/>
              </a:ext>
            </a:extLst>
          </p:cNvPr>
          <p:cNvSpPr>
            <a:spLocks/>
          </p:cNvSpPr>
          <p:nvPr/>
        </p:nvSpPr>
        <p:spPr bwMode="auto">
          <a:xfrm>
            <a:off x="10405645" y="3445538"/>
            <a:ext cx="17487" cy="44968"/>
          </a:xfrm>
          <a:custGeom>
            <a:avLst/>
            <a:gdLst>
              <a:gd name="T0" fmla="*/ 0 w 6"/>
              <a:gd name="T1" fmla="*/ 0 h 15"/>
              <a:gd name="T2" fmla="*/ 4 w 6"/>
              <a:gd name="T3" fmla="*/ 7 h 15"/>
              <a:gd name="T4" fmla="*/ 6 w 6"/>
              <a:gd name="T5" fmla="*/ 15 h 15"/>
              <a:gd name="T6" fmla="*/ 2 w 6"/>
              <a:gd name="T7" fmla="*/ 8 h 15"/>
              <a:gd name="T8" fmla="*/ 0 w 6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5">
                <a:moveTo>
                  <a:pt x="0" y="0"/>
                </a:moveTo>
                <a:cubicBezTo>
                  <a:pt x="2" y="2"/>
                  <a:pt x="3" y="5"/>
                  <a:pt x="4" y="7"/>
                </a:cubicBezTo>
                <a:cubicBezTo>
                  <a:pt x="5" y="10"/>
                  <a:pt x="6" y="12"/>
                  <a:pt x="6" y="15"/>
                </a:cubicBezTo>
                <a:cubicBezTo>
                  <a:pt x="4" y="13"/>
                  <a:pt x="3" y="10"/>
                  <a:pt x="2" y="8"/>
                </a:cubicBezTo>
                <a:cubicBezTo>
                  <a:pt x="1" y="5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242">
            <a:extLst>
              <a:ext uri="{FF2B5EF4-FFF2-40B4-BE49-F238E27FC236}">
                <a16:creationId xmlns:a16="http://schemas.microsoft.com/office/drawing/2014/main" id="{11ED9BAC-1C32-4A0A-85B8-F1F70C3B6C75}"/>
              </a:ext>
            </a:extLst>
          </p:cNvPr>
          <p:cNvSpPr>
            <a:spLocks/>
          </p:cNvSpPr>
          <p:nvPr/>
        </p:nvSpPr>
        <p:spPr bwMode="auto">
          <a:xfrm>
            <a:off x="10396901" y="3747821"/>
            <a:ext cx="17487" cy="44968"/>
          </a:xfrm>
          <a:custGeom>
            <a:avLst/>
            <a:gdLst>
              <a:gd name="T0" fmla="*/ 0 w 6"/>
              <a:gd name="T1" fmla="*/ 0 h 15"/>
              <a:gd name="T2" fmla="*/ 4 w 6"/>
              <a:gd name="T3" fmla="*/ 7 h 15"/>
              <a:gd name="T4" fmla="*/ 6 w 6"/>
              <a:gd name="T5" fmla="*/ 15 h 15"/>
              <a:gd name="T6" fmla="*/ 2 w 6"/>
              <a:gd name="T7" fmla="*/ 8 h 15"/>
              <a:gd name="T8" fmla="*/ 0 w 6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15">
                <a:moveTo>
                  <a:pt x="0" y="0"/>
                </a:moveTo>
                <a:cubicBezTo>
                  <a:pt x="2" y="2"/>
                  <a:pt x="3" y="4"/>
                  <a:pt x="4" y="7"/>
                </a:cubicBezTo>
                <a:cubicBezTo>
                  <a:pt x="5" y="9"/>
                  <a:pt x="6" y="12"/>
                  <a:pt x="6" y="15"/>
                </a:cubicBezTo>
                <a:cubicBezTo>
                  <a:pt x="4" y="13"/>
                  <a:pt x="3" y="10"/>
                  <a:pt x="2" y="8"/>
                </a:cubicBezTo>
                <a:cubicBezTo>
                  <a:pt x="1" y="5"/>
                  <a:pt x="1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243">
            <a:extLst>
              <a:ext uri="{FF2B5EF4-FFF2-40B4-BE49-F238E27FC236}">
                <a16:creationId xmlns:a16="http://schemas.microsoft.com/office/drawing/2014/main" id="{0067BA13-7B0E-45EA-B614-1BC4E5884739}"/>
              </a:ext>
            </a:extLst>
          </p:cNvPr>
          <p:cNvSpPr>
            <a:spLocks/>
          </p:cNvSpPr>
          <p:nvPr/>
        </p:nvSpPr>
        <p:spPr bwMode="auto">
          <a:xfrm>
            <a:off x="10162070" y="3575445"/>
            <a:ext cx="14989" cy="44968"/>
          </a:xfrm>
          <a:custGeom>
            <a:avLst/>
            <a:gdLst>
              <a:gd name="T0" fmla="*/ 0 w 5"/>
              <a:gd name="T1" fmla="*/ 0 h 15"/>
              <a:gd name="T2" fmla="*/ 3 w 5"/>
              <a:gd name="T3" fmla="*/ 7 h 15"/>
              <a:gd name="T4" fmla="*/ 5 w 5"/>
              <a:gd name="T5" fmla="*/ 15 h 15"/>
              <a:gd name="T6" fmla="*/ 1 w 5"/>
              <a:gd name="T7" fmla="*/ 8 h 15"/>
              <a:gd name="T8" fmla="*/ 0 w 5"/>
              <a:gd name="T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5">
                <a:moveTo>
                  <a:pt x="0" y="0"/>
                </a:moveTo>
                <a:cubicBezTo>
                  <a:pt x="1" y="2"/>
                  <a:pt x="2" y="4"/>
                  <a:pt x="3" y="7"/>
                </a:cubicBezTo>
                <a:cubicBezTo>
                  <a:pt x="4" y="9"/>
                  <a:pt x="5" y="12"/>
                  <a:pt x="5" y="15"/>
                </a:cubicBezTo>
                <a:cubicBezTo>
                  <a:pt x="4" y="13"/>
                  <a:pt x="2" y="10"/>
                  <a:pt x="1" y="8"/>
                </a:cubicBezTo>
                <a:cubicBezTo>
                  <a:pt x="1" y="5"/>
                  <a:pt x="0" y="3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244">
            <a:extLst>
              <a:ext uri="{FF2B5EF4-FFF2-40B4-BE49-F238E27FC236}">
                <a16:creationId xmlns:a16="http://schemas.microsoft.com/office/drawing/2014/main" id="{8871E17E-CC7B-4B11-BFAE-249F14C37EDE}"/>
              </a:ext>
            </a:extLst>
          </p:cNvPr>
          <p:cNvSpPr>
            <a:spLocks/>
          </p:cNvSpPr>
          <p:nvPr/>
        </p:nvSpPr>
        <p:spPr bwMode="auto">
          <a:xfrm>
            <a:off x="10265745" y="3685366"/>
            <a:ext cx="44968" cy="18737"/>
          </a:xfrm>
          <a:custGeom>
            <a:avLst/>
            <a:gdLst>
              <a:gd name="T0" fmla="*/ 0 w 15"/>
              <a:gd name="T1" fmla="*/ 6 h 6"/>
              <a:gd name="T2" fmla="*/ 7 w 15"/>
              <a:gd name="T3" fmla="*/ 2 h 6"/>
              <a:gd name="T4" fmla="*/ 15 w 15"/>
              <a:gd name="T5" fmla="*/ 0 h 6"/>
              <a:gd name="T6" fmla="*/ 7 w 15"/>
              <a:gd name="T7" fmla="*/ 4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cubicBezTo>
                  <a:pt x="2" y="4"/>
                  <a:pt x="4" y="3"/>
                  <a:pt x="7" y="2"/>
                </a:cubicBezTo>
                <a:cubicBezTo>
                  <a:pt x="9" y="1"/>
                  <a:pt x="12" y="0"/>
                  <a:pt x="15" y="0"/>
                </a:cubicBezTo>
                <a:cubicBezTo>
                  <a:pt x="12" y="2"/>
                  <a:pt x="10" y="3"/>
                  <a:pt x="7" y="4"/>
                </a:cubicBezTo>
                <a:cubicBezTo>
                  <a:pt x="5" y="5"/>
                  <a:pt x="2" y="5"/>
                  <a:pt x="0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245">
            <a:extLst>
              <a:ext uri="{FF2B5EF4-FFF2-40B4-BE49-F238E27FC236}">
                <a16:creationId xmlns:a16="http://schemas.microsoft.com/office/drawing/2014/main" id="{0F2AC814-7FCE-4766-8BC6-45484261266C}"/>
              </a:ext>
            </a:extLst>
          </p:cNvPr>
          <p:cNvSpPr>
            <a:spLocks/>
          </p:cNvSpPr>
          <p:nvPr/>
        </p:nvSpPr>
        <p:spPr bwMode="auto">
          <a:xfrm>
            <a:off x="10345688" y="3253177"/>
            <a:ext cx="44968" cy="17487"/>
          </a:xfrm>
          <a:custGeom>
            <a:avLst/>
            <a:gdLst>
              <a:gd name="T0" fmla="*/ 0 w 15"/>
              <a:gd name="T1" fmla="*/ 6 h 6"/>
              <a:gd name="T2" fmla="*/ 7 w 15"/>
              <a:gd name="T3" fmla="*/ 2 h 6"/>
              <a:gd name="T4" fmla="*/ 15 w 15"/>
              <a:gd name="T5" fmla="*/ 0 h 6"/>
              <a:gd name="T6" fmla="*/ 7 w 15"/>
              <a:gd name="T7" fmla="*/ 4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cubicBezTo>
                  <a:pt x="2" y="4"/>
                  <a:pt x="4" y="3"/>
                  <a:pt x="7" y="2"/>
                </a:cubicBezTo>
                <a:cubicBezTo>
                  <a:pt x="9" y="1"/>
                  <a:pt x="12" y="0"/>
                  <a:pt x="15" y="0"/>
                </a:cubicBezTo>
                <a:cubicBezTo>
                  <a:pt x="12" y="2"/>
                  <a:pt x="10" y="3"/>
                  <a:pt x="7" y="4"/>
                </a:cubicBezTo>
                <a:cubicBezTo>
                  <a:pt x="5" y="5"/>
                  <a:pt x="2" y="6"/>
                  <a:pt x="0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246">
            <a:extLst>
              <a:ext uri="{FF2B5EF4-FFF2-40B4-BE49-F238E27FC236}">
                <a16:creationId xmlns:a16="http://schemas.microsoft.com/office/drawing/2014/main" id="{8BB8C059-7441-4D0E-B24B-9FA41DDD7EC9}"/>
              </a:ext>
            </a:extLst>
          </p:cNvPr>
          <p:cNvSpPr>
            <a:spLocks/>
          </p:cNvSpPr>
          <p:nvPr/>
        </p:nvSpPr>
        <p:spPr bwMode="auto">
          <a:xfrm>
            <a:off x="10533053" y="3499250"/>
            <a:ext cx="43719" cy="14989"/>
          </a:xfrm>
          <a:custGeom>
            <a:avLst/>
            <a:gdLst>
              <a:gd name="T0" fmla="*/ 0 w 15"/>
              <a:gd name="T1" fmla="*/ 5 h 5"/>
              <a:gd name="T2" fmla="*/ 7 w 15"/>
              <a:gd name="T3" fmla="*/ 1 h 5"/>
              <a:gd name="T4" fmla="*/ 15 w 15"/>
              <a:gd name="T5" fmla="*/ 0 h 5"/>
              <a:gd name="T6" fmla="*/ 8 w 15"/>
              <a:gd name="T7" fmla="*/ 3 h 5"/>
              <a:gd name="T8" fmla="*/ 0 w 15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5">
                <a:moveTo>
                  <a:pt x="0" y="5"/>
                </a:moveTo>
                <a:cubicBezTo>
                  <a:pt x="2" y="3"/>
                  <a:pt x="5" y="2"/>
                  <a:pt x="7" y="1"/>
                </a:cubicBezTo>
                <a:cubicBezTo>
                  <a:pt x="10" y="0"/>
                  <a:pt x="12" y="0"/>
                  <a:pt x="15" y="0"/>
                </a:cubicBezTo>
                <a:cubicBezTo>
                  <a:pt x="13" y="1"/>
                  <a:pt x="11" y="2"/>
                  <a:pt x="8" y="3"/>
                </a:cubicBezTo>
                <a:cubicBezTo>
                  <a:pt x="6" y="4"/>
                  <a:pt x="3" y="5"/>
                  <a:pt x="0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247">
            <a:extLst>
              <a:ext uri="{FF2B5EF4-FFF2-40B4-BE49-F238E27FC236}">
                <a16:creationId xmlns:a16="http://schemas.microsoft.com/office/drawing/2014/main" id="{76DD69B2-D381-4A54-82F1-53B37832D2E2}"/>
              </a:ext>
            </a:extLst>
          </p:cNvPr>
          <p:cNvSpPr>
            <a:spLocks/>
          </p:cNvSpPr>
          <p:nvPr/>
        </p:nvSpPr>
        <p:spPr bwMode="auto">
          <a:xfrm>
            <a:off x="10082127" y="3685366"/>
            <a:ext cx="6246" cy="3747"/>
          </a:xfrm>
          <a:custGeom>
            <a:avLst/>
            <a:gdLst>
              <a:gd name="T0" fmla="*/ 2 w 2"/>
              <a:gd name="T1" fmla="*/ 0 h 1"/>
              <a:gd name="T2" fmla="*/ 0 w 2"/>
              <a:gd name="T3" fmla="*/ 1 h 1"/>
              <a:gd name="T4" fmla="*/ 0 w 2"/>
              <a:gd name="T5" fmla="*/ 0 h 1"/>
              <a:gd name="T6" fmla="*/ 2 w 2"/>
              <a:gd name="T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1">
                <a:moveTo>
                  <a:pt x="2" y="0"/>
                </a:moveTo>
                <a:cubicBezTo>
                  <a:pt x="1" y="0"/>
                  <a:pt x="1" y="1"/>
                  <a:pt x="0" y="1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0"/>
                  <a:pt x="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248">
            <a:extLst>
              <a:ext uri="{FF2B5EF4-FFF2-40B4-BE49-F238E27FC236}">
                <a16:creationId xmlns:a16="http://schemas.microsoft.com/office/drawing/2014/main" id="{B48AE4AD-F1AF-4CE3-84EC-38AC050E0720}"/>
              </a:ext>
            </a:extLst>
          </p:cNvPr>
          <p:cNvSpPr>
            <a:spLocks/>
          </p:cNvSpPr>
          <p:nvPr/>
        </p:nvSpPr>
        <p:spPr bwMode="auto">
          <a:xfrm>
            <a:off x="10043405" y="3208209"/>
            <a:ext cx="252319" cy="409706"/>
          </a:xfrm>
          <a:custGeom>
            <a:avLst/>
            <a:gdLst>
              <a:gd name="T0" fmla="*/ 74 w 85"/>
              <a:gd name="T1" fmla="*/ 49 h 138"/>
              <a:gd name="T2" fmla="*/ 69 w 85"/>
              <a:gd name="T3" fmla="*/ 25 h 138"/>
              <a:gd name="T4" fmla="*/ 66 w 85"/>
              <a:gd name="T5" fmla="*/ 13 h 138"/>
              <a:gd name="T6" fmla="*/ 65 w 85"/>
              <a:gd name="T7" fmla="*/ 7 h 138"/>
              <a:gd name="T8" fmla="*/ 64 w 85"/>
              <a:gd name="T9" fmla="*/ 4 h 138"/>
              <a:gd name="T10" fmla="*/ 63 w 85"/>
              <a:gd name="T11" fmla="*/ 0 h 138"/>
              <a:gd name="T12" fmla="*/ 63 w 85"/>
              <a:gd name="T13" fmla="*/ 0 h 138"/>
              <a:gd name="T14" fmla="*/ 63 w 85"/>
              <a:gd name="T15" fmla="*/ 3 h 138"/>
              <a:gd name="T16" fmla="*/ 63 w 85"/>
              <a:gd name="T17" fmla="*/ 7 h 138"/>
              <a:gd name="T18" fmla="*/ 64 w 85"/>
              <a:gd name="T19" fmla="*/ 13 h 138"/>
              <a:gd name="T20" fmla="*/ 66 w 85"/>
              <a:gd name="T21" fmla="*/ 25 h 138"/>
              <a:gd name="T22" fmla="*/ 67 w 85"/>
              <a:gd name="T23" fmla="*/ 26 h 138"/>
              <a:gd name="T24" fmla="*/ 67 w 85"/>
              <a:gd name="T25" fmla="*/ 26 h 138"/>
              <a:gd name="T26" fmla="*/ 62 w 85"/>
              <a:gd name="T27" fmla="*/ 13 h 138"/>
              <a:gd name="T28" fmla="*/ 62 w 85"/>
              <a:gd name="T29" fmla="*/ 13 h 138"/>
              <a:gd name="T30" fmla="*/ 65 w 85"/>
              <a:gd name="T31" fmla="*/ 26 h 138"/>
              <a:gd name="T32" fmla="*/ 68 w 85"/>
              <a:gd name="T33" fmla="*/ 33 h 138"/>
              <a:gd name="T34" fmla="*/ 71 w 85"/>
              <a:gd name="T35" fmla="*/ 49 h 138"/>
              <a:gd name="T36" fmla="*/ 83 w 85"/>
              <a:gd name="T37" fmla="*/ 98 h 138"/>
              <a:gd name="T38" fmla="*/ 62 w 85"/>
              <a:gd name="T39" fmla="*/ 107 h 138"/>
              <a:gd name="T40" fmla="*/ 41 w 85"/>
              <a:gd name="T41" fmla="*/ 117 h 138"/>
              <a:gd name="T42" fmla="*/ 21 w 85"/>
              <a:gd name="T43" fmla="*/ 127 h 138"/>
              <a:gd name="T44" fmla="*/ 11 w 85"/>
              <a:gd name="T45" fmla="*/ 132 h 138"/>
              <a:gd name="T46" fmla="*/ 1 w 85"/>
              <a:gd name="T47" fmla="*/ 137 h 138"/>
              <a:gd name="T48" fmla="*/ 1 w 85"/>
              <a:gd name="T49" fmla="*/ 138 h 138"/>
              <a:gd name="T50" fmla="*/ 12 w 85"/>
              <a:gd name="T51" fmla="*/ 133 h 138"/>
              <a:gd name="T52" fmla="*/ 22 w 85"/>
              <a:gd name="T53" fmla="*/ 129 h 138"/>
              <a:gd name="T54" fmla="*/ 43 w 85"/>
              <a:gd name="T55" fmla="*/ 120 h 138"/>
              <a:gd name="T56" fmla="*/ 64 w 85"/>
              <a:gd name="T57" fmla="*/ 110 h 138"/>
              <a:gd name="T58" fmla="*/ 84 w 85"/>
              <a:gd name="T59" fmla="*/ 99 h 138"/>
              <a:gd name="T60" fmla="*/ 85 w 85"/>
              <a:gd name="T61" fmla="*/ 99 h 138"/>
              <a:gd name="T62" fmla="*/ 85 w 85"/>
              <a:gd name="T63" fmla="*/ 98 h 138"/>
              <a:gd name="T64" fmla="*/ 74 w 85"/>
              <a:gd name="T65" fmla="*/ 49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5" h="138">
                <a:moveTo>
                  <a:pt x="74" y="49"/>
                </a:moveTo>
                <a:cubicBezTo>
                  <a:pt x="72" y="41"/>
                  <a:pt x="70" y="33"/>
                  <a:pt x="69" y="25"/>
                </a:cubicBezTo>
                <a:cubicBezTo>
                  <a:pt x="68" y="21"/>
                  <a:pt x="67" y="17"/>
                  <a:pt x="66" y="13"/>
                </a:cubicBezTo>
                <a:cubicBezTo>
                  <a:pt x="65" y="11"/>
                  <a:pt x="65" y="9"/>
                  <a:pt x="65" y="7"/>
                </a:cubicBezTo>
                <a:cubicBezTo>
                  <a:pt x="64" y="6"/>
                  <a:pt x="64" y="5"/>
                  <a:pt x="64" y="4"/>
                </a:cubicBezTo>
                <a:cubicBezTo>
                  <a:pt x="63" y="0"/>
                  <a:pt x="64" y="4"/>
                  <a:pt x="63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3" y="2"/>
                  <a:pt x="62" y="2"/>
                  <a:pt x="63" y="3"/>
                </a:cubicBezTo>
                <a:cubicBezTo>
                  <a:pt x="63" y="4"/>
                  <a:pt x="63" y="6"/>
                  <a:pt x="63" y="7"/>
                </a:cubicBezTo>
                <a:cubicBezTo>
                  <a:pt x="64" y="9"/>
                  <a:pt x="64" y="11"/>
                  <a:pt x="64" y="13"/>
                </a:cubicBezTo>
                <a:cubicBezTo>
                  <a:pt x="65" y="17"/>
                  <a:pt x="66" y="21"/>
                  <a:pt x="66" y="25"/>
                </a:cubicBezTo>
                <a:cubicBezTo>
                  <a:pt x="66" y="25"/>
                  <a:pt x="67" y="26"/>
                  <a:pt x="67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65" y="21"/>
                  <a:pt x="64" y="17"/>
                  <a:pt x="62" y="13"/>
                </a:cubicBezTo>
                <a:cubicBezTo>
                  <a:pt x="62" y="13"/>
                  <a:pt x="62" y="13"/>
                  <a:pt x="62" y="13"/>
                </a:cubicBezTo>
                <a:cubicBezTo>
                  <a:pt x="63" y="17"/>
                  <a:pt x="64" y="22"/>
                  <a:pt x="65" y="26"/>
                </a:cubicBezTo>
                <a:cubicBezTo>
                  <a:pt x="66" y="29"/>
                  <a:pt x="67" y="31"/>
                  <a:pt x="68" y="33"/>
                </a:cubicBezTo>
                <a:cubicBezTo>
                  <a:pt x="69" y="39"/>
                  <a:pt x="70" y="44"/>
                  <a:pt x="71" y="49"/>
                </a:cubicBezTo>
                <a:cubicBezTo>
                  <a:pt x="75" y="66"/>
                  <a:pt x="78" y="82"/>
                  <a:pt x="83" y="98"/>
                </a:cubicBezTo>
                <a:cubicBezTo>
                  <a:pt x="76" y="101"/>
                  <a:pt x="69" y="104"/>
                  <a:pt x="62" y="107"/>
                </a:cubicBezTo>
                <a:cubicBezTo>
                  <a:pt x="55" y="110"/>
                  <a:pt x="48" y="114"/>
                  <a:pt x="41" y="117"/>
                </a:cubicBezTo>
                <a:cubicBezTo>
                  <a:pt x="35" y="120"/>
                  <a:pt x="28" y="123"/>
                  <a:pt x="21" y="127"/>
                </a:cubicBezTo>
                <a:cubicBezTo>
                  <a:pt x="18" y="128"/>
                  <a:pt x="14" y="130"/>
                  <a:pt x="11" y="132"/>
                </a:cubicBezTo>
                <a:cubicBezTo>
                  <a:pt x="8" y="134"/>
                  <a:pt x="4" y="136"/>
                  <a:pt x="1" y="137"/>
                </a:cubicBezTo>
                <a:cubicBezTo>
                  <a:pt x="0" y="138"/>
                  <a:pt x="1" y="138"/>
                  <a:pt x="1" y="138"/>
                </a:cubicBezTo>
                <a:cubicBezTo>
                  <a:pt x="5" y="136"/>
                  <a:pt x="9" y="135"/>
                  <a:pt x="12" y="133"/>
                </a:cubicBezTo>
                <a:cubicBezTo>
                  <a:pt x="16" y="132"/>
                  <a:pt x="19" y="131"/>
                  <a:pt x="22" y="129"/>
                </a:cubicBezTo>
                <a:cubicBezTo>
                  <a:pt x="29" y="126"/>
                  <a:pt x="36" y="123"/>
                  <a:pt x="43" y="120"/>
                </a:cubicBezTo>
                <a:cubicBezTo>
                  <a:pt x="50" y="116"/>
                  <a:pt x="57" y="113"/>
                  <a:pt x="64" y="110"/>
                </a:cubicBezTo>
                <a:cubicBezTo>
                  <a:pt x="71" y="106"/>
                  <a:pt x="77" y="103"/>
                  <a:pt x="84" y="99"/>
                </a:cubicBezTo>
                <a:cubicBezTo>
                  <a:pt x="85" y="99"/>
                  <a:pt x="85" y="99"/>
                  <a:pt x="85" y="99"/>
                </a:cubicBezTo>
                <a:cubicBezTo>
                  <a:pt x="85" y="99"/>
                  <a:pt x="85" y="98"/>
                  <a:pt x="85" y="98"/>
                </a:cubicBezTo>
                <a:cubicBezTo>
                  <a:pt x="82" y="82"/>
                  <a:pt x="77" y="65"/>
                  <a:pt x="74" y="49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249">
            <a:extLst>
              <a:ext uri="{FF2B5EF4-FFF2-40B4-BE49-F238E27FC236}">
                <a16:creationId xmlns:a16="http://schemas.microsoft.com/office/drawing/2014/main" id="{1D16DE36-ABB8-4B11-AFA0-AECCF759A5D2}"/>
              </a:ext>
            </a:extLst>
          </p:cNvPr>
          <p:cNvSpPr>
            <a:spLocks/>
          </p:cNvSpPr>
          <p:nvPr/>
        </p:nvSpPr>
        <p:spPr bwMode="auto">
          <a:xfrm>
            <a:off x="10135839" y="3602925"/>
            <a:ext cx="144896" cy="302283"/>
          </a:xfrm>
          <a:custGeom>
            <a:avLst/>
            <a:gdLst>
              <a:gd name="T0" fmla="*/ 26 w 49"/>
              <a:gd name="T1" fmla="*/ 51 h 102"/>
              <a:gd name="T2" fmla="*/ 0 w 49"/>
              <a:gd name="T3" fmla="*/ 0 h 102"/>
              <a:gd name="T4" fmla="*/ 0 w 49"/>
              <a:gd name="T5" fmla="*/ 0 h 102"/>
              <a:gd name="T6" fmla="*/ 22 w 49"/>
              <a:gd name="T7" fmla="*/ 51 h 102"/>
              <a:gd name="T8" fmla="*/ 49 w 49"/>
              <a:gd name="T9" fmla="*/ 102 h 102"/>
              <a:gd name="T10" fmla="*/ 49 w 49"/>
              <a:gd name="T11" fmla="*/ 102 h 102"/>
              <a:gd name="T12" fmla="*/ 26 w 49"/>
              <a:gd name="T13" fmla="*/ 51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102">
                <a:moveTo>
                  <a:pt x="26" y="51"/>
                </a:moveTo>
                <a:cubicBezTo>
                  <a:pt x="22" y="42"/>
                  <a:pt x="5" y="8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3" y="9"/>
                  <a:pt x="18" y="43"/>
                  <a:pt x="22" y="51"/>
                </a:cubicBezTo>
                <a:cubicBezTo>
                  <a:pt x="31" y="69"/>
                  <a:pt x="39" y="86"/>
                  <a:pt x="49" y="102"/>
                </a:cubicBezTo>
                <a:cubicBezTo>
                  <a:pt x="49" y="102"/>
                  <a:pt x="49" y="102"/>
                  <a:pt x="49" y="102"/>
                </a:cubicBezTo>
                <a:cubicBezTo>
                  <a:pt x="43" y="84"/>
                  <a:pt x="34" y="68"/>
                  <a:pt x="26" y="51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250">
            <a:extLst>
              <a:ext uri="{FF2B5EF4-FFF2-40B4-BE49-F238E27FC236}">
                <a16:creationId xmlns:a16="http://schemas.microsoft.com/office/drawing/2014/main" id="{2B6C3B49-2C4A-46A5-A4DD-4FC6DEC27BD3}"/>
              </a:ext>
            </a:extLst>
          </p:cNvPr>
          <p:cNvSpPr>
            <a:spLocks/>
          </p:cNvSpPr>
          <p:nvPr/>
        </p:nvSpPr>
        <p:spPr bwMode="auto">
          <a:xfrm>
            <a:off x="10388157" y="3792789"/>
            <a:ext cx="106174" cy="71199"/>
          </a:xfrm>
          <a:custGeom>
            <a:avLst/>
            <a:gdLst>
              <a:gd name="T0" fmla="*/ 36 w 36"/>
              <a:gd name="T1" fmla="*/ 0 h 24"/>
              <a:gd name="T2" fmla="*/ 27 w 36"/>
              <a:gd name="T3" fmla="*/ 6 h 24"/>
              <a:gd name="T4" fmla="*/ 18 w 36"/>
              <a:gd name="T5" fmla="*/ 12 h 24"/>
              <a:gd name="T6" fmla="*/ 0 w 36"/>
              <a:gd name="T7" fmla="*/ 24 h 24"/>
              <a:gd name="T8" fmla="*/ 1 w 36"/>
              <a:gd name="T9" fmla="*/ 24 h 24"/>
              <a:gd name="T10" fmla="*/ 20 w 36"/>
              <a:gd name="T11" fmla="*/ 13 h 24"/>
              <a:gd name="T12" fmla="*/ 36 w 36"/>
              <a:gd name="T1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24">
                <a:moveTo>
                  <a:pt x="36" y="0"/>
                </a:moveTo>
                <a:cubicBezTo>
                  <a:pt x="33" y="2"/>
                  <a:pt x="30" y="4"/>
                  <a:pt x="27" y="6"/>
                </a:cubicBezTo>
                <a:cubicBezTo>
                  <a:pt x="24" y="8"/>
                  <a:pt x="21" y="10"/>
                  <a:pt x="18" y="12"/>
                </a:cubicBezTo>
                <a:cubicBezTo>
                  <a:pt x="13" y="16"/>
                  <a:pt x="7" y="20"/>
                  <a:pt x="0" y="24"/>
                </a:cubicBezTo>
                <a:cubicBezTo>
                  <a:pt x="1" y="24"/>
                  <a:pt x="1" y="24"/>
                  <a:pt x="1" y="24"/>
                </a:cubicBezTo>
                <a:cubicBezTo>
                  <a:pt x="7" y="21"/>
                  <a:pt x="14" y="17"/>
                  <a:pt x="20" y="13"/>
                </a:cubicBezTo>
                <a:cubicBezTo>
                  <a:pt x="25" y="9"/>
                  <a:pt x="32" y="5"/>
                  <a:pt x="36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251">
            <a:extLst>
              <a:ext uri="{FF2B5EF4-FFF2-40B4-BE49-F238E27FC236}">
                <a16:creationId xmlns:a16="http://schemas.microsoft.com/office/drawing/2014/main" id="{BF369EE5-25A1-4BAD-8C51-B12518A6935E}"/>
              </a:ext>
            </a:extLst>
          </p:cNvPr>
          <p:cNvSpPr>
            <a:spLocks/>
          </p:cNvSpPr>
          <p:nvPr/>
        </p:nvSpPr>
        <p:spPr bwMode="auto">
          <a:xfrm>
            <a:off x="10040907" y="2793507"/>
            <a:ext cx="171127" cy="263561"/>
          </a:xfrm>
          <a:custGeom>
            <a:avLst/>
            <a:gdLst>
              <a:gd name="T0" fmla="*/ 16 w 58"/>
              <a:gd name="T1" fmla="*/ 87 h 89"/>
              <a:gd name="T2" fmla="*/ 58 w 58"/>
              <a:gd name="T3" fmla="*/ 52 h 89"/>
              <a:gd name="T4" fmla="*/ 54 w 58"/>
              <a:gd name="T5" fmla="*/ 27 h 89"/>
              <a:gd name="T6" fmla="*/ 50 w 58"/>
              <a:gd name="T7" fmla="*/ 2 h 89"/>
              <a:gd name="T8" fmla="*/ 45 w 58"/>
              <a:gd name="T9" fmla="*/ 4 h 89"/>
              <a:gd name="T10" fmla="*/ 34 w 58"/>
              <a:gd name="T11" fmla="*/ 7 h 89"/>
              <a:gd name="T12" fmla="*/ 0 w 58"/>
              <a:gd name="T13" fmla="*/ 18 h 89"/>
              <a:gd name="T14" fmla="*/ 7 w 58"/>
              <a:gd name="T15" fmla="*/ 49 h 89"/>
              <a:gd name="T16" fmla="*/ 7 w 58"/>
              <a:gd name="T17" fmla="*/ 52 h 89"/>
              <a:gd name="T18" fmla="*/ 7 w 58"/>
              <a:gd name="T19" fmla="*/ 53 h 89"/>
              <a:gd name="T20" fmla="*/ 16 w 58"/>
              <a:gd name="T21" fmla="*/ 87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8" h="89">
                <a:moveTo>
                  <a:pt x="16" y="87"/>
                </a:moveTo>
                <a:cubicBezTo>
                  <a:pt x="28" y="89"/>
                  <a:pt x="50" y="67"/>
                  <a:pt x="58" y="52"/>
                </a:cubicBezTo>
                <a:cubicBezTo>
                  <a:pt x="58" y="51"/>
                  <a:pt x="56" y="40"/>
                  <a:pt x="54" y="27"/>
                </a:cubicBezTo>
                <a:cubicBezTo>
                  <a:pt x="52" y="19"/>
                  <a:pt x="51" y="10"/>
                  <a:pt x="50" y="2"/>
                </a:cubicBezTo>
                <a:cubicBezTo>
                  <a:pt x="50" y="0"/>
                  <a:pt x="45" y="4"/>
                  <a:pt x="45" y="4"/>
                </a:cubicBezTo>
                <a:cubicBezTo>
                  <a:pt x="34" y="7"/>
                  <a:pt x="34" y="7"/>
                  <a:pt x="34" y="7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8"/>
                  <a:pt x="6" y="35"/>
                  <a:pt x="7" y="49"/>
                </a:cubicBezTo>
                <a:cubicBezTo>
                  <a:pt x="7" y="50"/>
                  <a:pt x="7" y="51"/>
                  <a:pt x="7" y="52"/>
                </a:cubicBezTo>
                <a:cubicBezTo>
                  <a:pt x="7" y="53"/>
                  <a:pt x="7" y="53"/>
                  <a:pt x="7" y="53"/>
                </a:cubicBezTo>
                <a:cubicBezTo>
                  <a:pt x="6" y="59"/>
                  <a:pt x="4" y="85"/>
                  <a:pt x="16" y="87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252">
            <a:extLst>
              <a:ext uri="{FF2B5EF4-FFF2-40B4-BE49-F238E27FC236}">
                <a16:creationId xmlns:a16="http://schemas.microsoft.com/office/drawing/2014/main" id="{F9D9B64D-48DD-421B-92DC-99A2B8971D08}"/>
              </a:ext>
            </a:extLst>
          </p:cNvPr>
          <p:cNvSpPr>
            <a:spLocks/>
          </p:cNvSpPr>
          <p:nvPr/>
        </p:nvSpPr>
        <p:spPr bwMode="auto">
          <a:xfrm>
            <a:off x="10040907" y="2807247"/>
            <a:ext cx="142398" cy="142398"/>
          </a:xfrm>
          <a:custGeom>
            <a:avLst/>
            <a:gdLst>
              <a:gd name="T0" fmla="*/ 7 w 48"/>
              <a:gd name="T1" fmla="*/ 47 h 48"/>
              <a:gd name="T2" fmla="*/ 7 w 48"/>
              <a:gd name="T3" fmla="*/ 48 h 48"/>
              <a:gd name="T4" fmla="*/ 12 w 48"/>
              <a:gd name="T5" fmla="*/ 48 h 48"/>
              <a:gd name="T6" fmla="*/ 48 w 48"/>
              <a:gd name="T7" fmla="*/ 0 h 48"/>
              <a:gd name="T8" fmla="*/ 34 w 48"/>
              <a:gd name="T9" fmla="*/ 2 h 48"/>
              <a:gd name="T10" fmla="*/ 0 w 48"/>
              <a:gd name="T11" fmla="*/ 13 h 48"/>
              <a:gd name="T12" fmla="*/ 7 w 48"/>
              <a:gd name="T13" fmla="*/ 44 h 48"/>
              <a:gd name="T14" fmla="*/ 7 w 48"/>
              <a:gd name="T15" fmla="*/ 47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" h="48">
                <a:moveTo>
                  <a:pt x="7" y="47"/>
                </a:moveTo>
                <a:cubicBezTo>
                  <a:pt x="7" y="48"/>
                  <a:pt x="7" y="48"/>
                  <a:pt x="7" y="48"/>
                </a:cubicBezTo>
                <a:cubicBezTo>
                  <a:pt x="8" y="48"/>
                  <a:pt x="10" y="48"/>
                  <a:pt x="12" y="48"/>
                </a:cubicBezTo>
                <a:cubicBezTo>
                  <a:pt x="47" y="45"/>
                  <a:pt x="48" y="0"/>
                  <a:pt x="48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6" y="30"/>
                  <a:pt x="7" y="44"/>
                </a:cubicBezTo>
                <a:cubicBezTo>
                  <a:pt x="7" y="45"/>
                  <a:pt x="7" y="46"/>
                  <a:pt x="7" y="47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253">
            <a:extLst>
              <a:ext uri="{FF2B5EF4-FFF2-40B4-BE49-F238E27FC236}">
                <a16:creationId xmlns:a16="http://schemas.microsoft.com/office/drawing/2014/main" id="{7658C38F-1920-4775-A906-904C43E2F770}"/>
              </a:ext>
            </a:extLst>
          </p:cNvPr>
          <p:cNvSpPr>
            <a:spLocks/>
          </p:cNvSpPr>
          <p:nvPr/>
        </p:nvSpPr>
        <p:spPr bwMode="auto">
          <a:xfrm>
            <a:off x="9924740" y="2523701"/>
            <a:ext cx="297286" cy="414702"/>
          </a:xfrm>
          <a:custGeom>
            <a:avLst/>
            <a:gdLst>
              <a:gd name="T0" fmla="*/ 95 w 100"/>
              <a:gd name="T1" fmla="*/ 37 h 140"/>
              <a:gd name="T2" fmla="*/ 79 w 100"/>
              <a:gd name="T3" fmla="*/ 121 h 140"/>
              <a:gd name="T4" fmla="*/ 14 w 100"/>
              <a:gd name="T5" fmla="*/ 118 h 140"/>
              <a:gd name="T6" fmla="*/ 27 w 100"/>
              <a:gd name="T7" fmla="*/ 16 h 140"/>
              <a:gd name="T8" fmla="*/ 95 w 100"/>
              <a:gd name="T9" fmla="*/ 37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0" h="140">
                <a:moveTo>
                  <a:pt x="95" y="37"/>
                </a:moveTo>
                <a:cubicBezTo>
                  <a:pt x="100" y="56"/>
                  <a:pt x="91" y="109"/>
                  <a:pt x="79" y="121"/>
                </a:cubicBezTo>
                <a:cubicBezTo>
                  <a:pt x="60" y="138"/>
                  <a:pt x="29" y="140"/>
                  <a:pt x="14" y="118"/>
                </a:cubicBezTo>
                <a:cubicBezTo>
                  <a:pt x="0" y="96"/>
                  <a:pt x="13" y="27"/>
                  <a:pt x="27" y="16"/>
                </a:cubicBezTo>
                <a:cubicBezTo>
                  <a:pt x="48" y="0"/>
                  <a:pt x="86" y="10"/>
                  <a:pt x="95" y="37"/>
                </a:cubicBez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254">
            <a:extLst>
              <a:ext uri="{FF2B5EF4-FFF2-40B4-BE49-F238E27FC236}">
                <a16:creationId xmlns:a16="http://schemas.microsoft.com/office/drawing/2014/main" id="{85A3789B-34D6-4492-A54A-3D503EBAB28C}"/>
              </a:ext>
            </a:extLst>
          </p:cNvPr>
          <p:cNvSpPr>
            <a:spLocks/>
          </p:cNvSpPr>
          <p:nvPr/>
        </p:nvSpPr>
        <p:spPr bwMode="auto">
          <a:xfrm>
            <a:off x="10162070" y="2878446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6A5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255">
            <a:extLst>
              <a:ext uri="{FF2B5EF4-FFF2-40B4-BE49-F238E27FC236}">
                <a16:creationId xmlns:a16="http://schemas.microsoft.com/office/drawing/2014/main" id="{CA94C771-8A42-464A-AF07-1121FC05FEA7}"/>
              </a:ext>
            </a:extLst>
          </p:cNvPr>
          <p:cNvSpPr>
            <a:spLocks/>
          </p:cNvSpPr>
          <p:nvPr/>
        </p:nvSpPr>
        <p:spPr bwMode="auto">
          <a:xfrm>
            <a:off x="10162070" y="2878446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256">
            <a:extLst>
              <a:ext uri="{FF2B5EF4-FFF2-40B4-BE49-F238E27FC236}">
                <a16:creationId xmlns:a16="http://schemas.microsoft.com/office/drawing/2014/main" id="{E4BCB08F-B9B0-4F4C-9BCD-2232BCABCDA3}"/>
              </a:ext>
            </a:extLst>
          </p:cNvPr>
          <p:cNvSpPr>
            <a:spLocks/>
          </p:cNvSpPr>
          <p:nvPr/>
        </p:nvSpPr>
        <p:spPr bwMode="auto">
          <a:xfrm>
            <a:off x="10047152" y="2737297"/>
            <a:ext cx="11242" cy="28729"/>
          </a:xfrm>
          <a:custGeom>
            <a:avLst/>
            <a:gdLst>
              <a:gd name="T0" fmla="*/ 2 w 4"/>
              <a:gd name="T1" fmla="*/ 0 h 10"/>
              <a:gd name="T2" fmla="*/ 2 w 4"/>
              <a:gd name="T3" fmla="*/ 1 h 10"/>
              <a:gd name="T4" fmla="*/ 4 w 4"/>
              <a:gd name="T5" fmla="*/ 10 h 10"/>
              <a:gd name="T6" fmla="*/ 4 w 4"/>
              <a:gd name="T7" fmla="*/ 10 h 10"/>
              <a:gd name="T8" fmla="*/ 2 w 4"/>
              <a:gd name="T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0">
                <a:moveTo>
                  <a:pt x="2" y="0"/>
                </a:moveTo>
                <a:cubicBezTo>
                  <a:pt x="2" y="1"/>
                  <a:pt x="2" y="1"/>
                  <a:pt x="2" y="1"/>
                </a:cubicBezTo>
                <a:cubicBezTo>
                  <a:pt x="1" y="4"/>
                  <a:pt x="1" y="9"/>
                  <a:pt x="4" y="10"/>
                </a:cubicBezTo>
                <a:cubicBezTo>
                  <a:pt x="4" y="10"/>
                  <a:pt x="4" y="10"/>
                  <a:pt x="4" y="10"/>
                </a:cubicBezTo>
                <a:cubicBezTo>
                  <a:pt x="0" y="9"/>
                  <a:pt x="1" y="4"/>
                  <a:pt x="2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Freeform 257">
            <a:extLst>
              <a:ext uri="{FF2B5EF4-FFF2-40B4-BE49-F238E27FC236}">
                <a16:creationId xmlns:a16="http://schemas.microsoft.com/office/drawing/2014/main" id="{0710C0D0-0928-4401-BE61-630D35BC5EF8}"/>
              </a:ext>
            </a:extLst>
          </p:cNvPr>
          <p:cNvSpPr>
            <a:spLocks/>
          </p:cNvSpPr>
          <p:nvPr/>
        </p:nvSpPr>
        <p:spPr bwMode="auto">
          <a:xfrm>
            <a:off x="10043405" y="2727304"/>
            <a:ext cx="36224" cy="36224"/>
          </a:xfrm>
          <a:custGeom>
            <a:avLst/>
            <a:gdLst>
              <a:gd name="T0" fmla="*/ 7 w 12"/>
              <a:gd name="T1" fmla="*/ 0 h 12"/>
              <a:gd name="T2" fmla="*/ 6 w 12"/>
              <a:gd name="T3" fmla="*/ 12 h 12"/>
              <a:gd name="T4" fmla="*/ 7 w 12"/>
              <a:gd name="T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" h="12">
                <a:moveTo>
                  <a:pt x="7" y="0"/>
                </a:moveTo>
                <a:cubicBezTo>
                  <a:pt x="12" y="1"/>
                  <a:pt x="11" y="12"/>
                  <a:pt x="6" y="12"/>
                </a:cubicBezTo>
                <a:cubicBezTo>
                  <a:pt x="0" y="11"/>
                  <a:pt x="2" y="0"/>
                  <a:pt x="7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258">
            <a:extLst>
              <a:ext uri="{FF2B5EF4-FFF2-40B4-BE49-F238E27FC236}">
                <a16:creationId xmlns:a16="http://schemas.microsoft.com/office/drawing/2014/main" id="{9BFFE8FA-F1A8-43DD-A378-EE3E9733F853}"/>
              </a:ext>
            </a:extLst>
          </p:cNvPr>
          <p:cNvSpPr>
            <a:spLocks/>
          </p:cNvSpPr>
          <p:nvPr/>
        </p:nvSpPr>
        <p:spPr bwMode="auto">
          <a:xfrm>
            <a:off x="9975953" y="2727304"/>
            <a:ext cx="17487" cy="27480"/>
          </a:xfrm>
          <a:custGeom>
            <a:avLst/>
            <a:gdLst>
              <a:gd name="T0" fmla="*/ 5 w 6"/>
              <a:gd name="T1" fmla="*/ 0 h 9"/>
              <a:gd name="T2" fmla="*/ 5 w 6"/>
              <a:gd name="T3" fmla="*/ 0 h 9"/>
              <a:gd name="T4" fmla="*/ 0 w 6"/>
              <a:gd name="T5" fmla="*/ 9 h 9"/>
              <a:gd name="T6" fmla="*/ 0 w 6"/>
              <a:gd name="T7" fmla="*/ 9 h 9"/>
              <a:gd name="T8" fmla="*/ 5 w 6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9">
                <a:moveTo>
                  <a:pt x="5" y="0"/>
                </a:moveTo>
                <a:cubicBezTo>
                  <a:pt x="5" y="0"/>
                  <a:pt x="5" y="0"/>
                  <a:pt x="5" y="0"/>
                </a:cubicBezTo>
                <a:cubicBezTo>
                  <a:pt x="5" y="4"/>
                  <a:pt x="4" y="8"/>
                  <a:pt x="0" y="9"/>
                </a:cubicBezTo>
                <a:cubicBezTo>
                  <a:pt x="0" y="9"/>
                  <a:pt x="0" y="9"/>
                  <a:pt x="0" y="9"/>
                </a:cubicBezTo>
                <a:cubicBezTo>
                  <a:pt x="4" y="9"/>
                  <a:pt x="6" y="4"/>
                  <a:pt x="5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259">
            <a:extLst>
              <a:ext uri="{FF2B5EF4-FFF2-40B4-BE49-F238E27FC236}">
                <a16:creationId xmlns:a16="http://schemas.microsoft.com/office/drawing/2014/main" id="{BDFF2794-A81A-4D2A-9F9C-C9BDA60173D0}"/>
              </a:ext>
            </a:extLst>
          </p:cNvPr>
          <p:cNvSpPr>
            <a:spLocks/>
          </p:cNvSpPr>
          <p:nvPr/>
        </p:nvSpPr>
        <p:spPr bwMode="auto">
          <a:xfrm>
            <a:off x="9960964" y="2713564"/>
            <a:ext cx="38722" cy="41220"/>
          </a:xfrm>
          <a:custGeom>
            <a:avLst/>
            <a:gdLst>
              <a:gd name="T0" fmla="*/ 8 w 13"/>
              <a:gd name="T1" fmla="*/ 1 h 14"/>
              <a:gd name="T2" fmla="*/ 5 w 13"/>
              <a:gd name="T3" fmla="*/ 13 h 14"/>
              <a:gd name="T4" fmla="*/ 8 w 13"/>
              <a:gd name="T5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14">
                <a:moveTo>
                  <a:pt x="8" y="1"/>
                </a:moveTo>
                <a:cubicBezTo>
                  <a:pt x="2" y="0"/>
                  <a:pt x="0" y="11"/>
                  <a:pt x="5" y="13"/>
                </a:cubicBezTo>
                <a:cubicBezTo>
                  <a:pt x="11" y="14"/>
                  <a:pt x="13" y="2"/>
                  <a:pt x="8" y="1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260">
            <a:extLst>
              <a:ext uri="{FF2B5EF4-FFF2-40B4-BE49-F238E27FC236}">
                <a16:creationId xmlns:a16="http://schemas.microsoft.com/office/drawing/2014/main" id="{5260DFB8-793A-4AF5-A496-DD2562A2F6A7}"/>
              </a:ext>
            </a:extLst>
          </p:cNvPr>
          <p:cNvSpPr>
            <a:spLocks/>
          </p:cNvSpPr>
          <p:nvPr/>
        </p:nvSpPr>
        <p:spPr bwMode="auto">
          <a:xfrm>
            <a:off x="10052149" y="2686084"/>
            <a:ext cx="38722" cy="29978"/>
          </a:xfrm>
          <a:custGeom>
            <a:avLst/>
            <a:gdLst>
              <a:gd name="T0" fmla="*/ 9 w 13"/>
              <a:gd name="T1" fmla="*/ 9 h 10"/>
              <a:gd name="T2" fmla="*/ 5 w 13"/>
              <a:gd name="T3" fmla="*/ 7 h 10"/>
              <a:gd name="T4" fmla="*/ 1 w 13"/>
              <a:gd name="T5" fmla="*/ 4 h 10"/>
              <a:gd name="T6" fmla="*/ 1 w 13"/>
              <a:gd name="T7" fmla="*/ 1 h 10"/>
              <a:gd name="T8" fmla="*/ 8 w 13"/>
              <a:gd name="T9" fmla="*/ 1 h 10"/>
              <a:gd name="T10" fmla="*/ 12 w 13"/>
              <a:gd name="T11" fmla="*/ 6 h 10"/>
              <a:gd name="T12" fmla="*/ 9 w 13"/>
              <a:gd name="T13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0">
                <a:moveTo>
                  <a:pt x="9" y="9"/>
                </a:moveTo>
                <a:cubicBezTo>
                  <a:pt x="7" y="9"/>
                  <a:pt x="6" y="8"/>
                  <a:pt x="5" y="7"/>
                </a:cubicBezTo>
                <a:cubicBezTo>
                  <a:pt x="3" y="6"/>
                  <a:pt x="2" y="6"/>
                  <a:pt x="1" y="4"/>
                </a:cubicBezTo>
                <a:cubicBezTo>
                  <a:pt x="0" y="3"/>
                  <a:pt x="1" y="2"/>
                  <a:pt x="1" y="1"/>
                </a:cubicBezTo>
                <a:cubicBezTo>
                  <a:pt x="3" y="0"/>
                  <a:pt x="6" y="1"/>
                  <a:pt x="8" y="1"/>
                </a:cubicBezTo>
                <a:cubicBezTo>
                  <a:pt x="10" y="3"/>
                  <a:pt x="11" y="4"/>
                  <a:pt x="12" y="6"/>
                </a:cubicBezTo>
                <a:cubicBezTo>
                  <a:pt x="13" y="8"/>
                  <a:pt x="11" y="10"/>
                  <a:pt x="9" y="9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261">
            <a:extLst>
              <a:ext uri="{FF2B5EF4-FFF2-40B4-BE49-F238E27FC236}">
                <a16:creationId xmlns:a16="http://schemas.microsoft.com/office/drawing/2014/main" id="{032B29AC-3A4D-4396-8081-18DE39C5CC5E}"/>
              </a:ext>
            </a:extLst>
          </p:cNvPr>
          <p:cNvSpPr>
            <a:spLocks/>
          </p:cNvSpPr>
          <p:nvPr/>
        </p:nvSpPr>
        <p:spPr bwMode="auto">
          <a:xfrm>
            <a:off x="9960964" y="2674842"/>
            <a:ext cx="41220" cy="23733"/>
          </a:xfrm>
          <a:custGeom>
            <a:avLst/>
            <a:gdLst>
              <a:gd name="T0" fmla="*/ 4 w 14"/>
              <a:gd name="T1" fmla="*/ 8 h 8"/>
              <a:gd name="T2" fmla="*/ 9 w 14"/>
              <a:gd name="T3" fmla="*/ 7 h 8"/>
              <a:gd name="T4" fmla="*/ 13 w 14"/>
              <a:gd name="T5" fmla="*/ 5 h 8"/>
              <a:gd name="T6" fmla="*/ 14 w 14"/>
              <a:gd name="T7" fmla="*/ 2 h 8"/>
              <a:gd name="T8" fmla="*/ 8 w 14"/>
              <a:gd name="T9" fmla="*/ 1 h 8"/>
              <a:gd name="T10" fmla="*/ 2 w 14"/>
              <a:gd name="T11" fmla="*/ 3 h 8"/>
              <a:gd name="T12" fmla="*/ 4 w 14"/>
              <a:gd name="T13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" h="8">
                <a:moveTo>
                  <a:pt x="4" y="8"/>
                </a:moveTo>
                <a:cubicBezTo>
                  <a:pt x="6" y="8"/>
                  <a:pt x="7" y="7"/>
                  <a:pt x="9" y="7"/>
                </a:cubicBezTo>
                <a:cubicBezTo>
                  <a:pt x="11" y="7"/>
                  <a:pt x="12" y="7"/>
                  <a:pt x="13" y="5"/>
                </a:cubicBezTo>
                <a:cubicBezTo>
                  <a:pt x="14" y="5"/>
                  <a:pt x="14" y="3"/>
                  <a:pt x="14" y="2"/>
                </a:cubicBezTo>
                <a:cubicBezTo>
                  <a:pt x="12" y="1"/>
                  <a:pt x="10" y="0"/>
                  <a:pt x="8" y="1"/>
                </a:cubicBezTo>
                <a:cubicBezTo>
                  <a:pt x="5" y="1"/>
                  <a:pt x="4" y="2"/>
                  <a:pt x="2" y="3"/>
                </a:cubicBezTo>
                <a:cubicBezTo>
                  <a:pt x="0" y="5"/>
                  <a:pt x="2" y="8"/>
                  <a:pt x="4" y="8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262">
            <a:extLst>
              <a:ext uri="{FF2B5EF4-FFF2-40B4-BE49-F238E27FC236}">
                <a16:creationId xmlns:a16="http://schemas.microsoft.com/office/drawing/2014/main" id="{9120FD93-90AB-4E9C-ADC0-424C3C01269F}"/>
              </a:ext>
            </a:extLst>
          </p:cNvPr>
          <p:cNvSpPr>
            <a:spLocks/>
          </p:cNvSpPr>
          <p:nvPr/>
        </p:nvSpPr>
        <p:spPr bwMode="auto">
          <a:xfrm>
            <a:off x="10032163" y="2834727"/>
            <a:ext cx="23733" cy="8744"/>
          </a:xfrm>
          <a:custGeom>
            <a:avLst/>
            <a:gdLst>
              <a:gd name="T0" fmla="*/ 8 w 8"/>
              <a:gd name="T1" fmla="*/ 0 h 3"/>
              <a:gd name="T2" fmla="*/ 4 w 8"/>
              <a:gd name="T3" fmla="*/ 2 h 3"/>
              <a:gd name="T4" fmla="*/ 0 w 8"/>
              <a:gd name="T5" fmla="*/ 0 h 3"/>
              <a:gd name="T6" fmla="*/ 0 w 8"/>
              <a:gd name="T7" fmla="*/ 1 h 3"/>
              <a:gd name="T8" fmla="*/ 5 w 8"/>
              <a:gd name="T9" fmla="*/ 3 h 3"/>
              <a:gd name="T10" fmla="*/ 8 w 8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3">
                <a:moveTo>
                  <a:pt x="8" y="0"/>
                </a:moveTo>
                <a:cubicBezTo>
                  <a:pt x="7" y="1"/>
                  <a:pt x="6" y="2"/>
                  <a:pt x="4" y="2"/>
                </a:cubicBezTo>
                <a:cubicBezTo>
                  <a:pt x="3" y="2"/>
                  <a:pt x="2" y="1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1" y="2"/>
                  <a:pt x="3" y="3"/>
                  <a:pt x="5" y="3"/>
                </a:cubicBezTo>
                <a:cubicBezTo>
                  <a:pt x="6" y="3"/>
                  <a:pt x="7" y="2"/>
                  <a:pt x="8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263">
            <a:extLst>
              <a:ext uri="{FF2B5EF4-FFF2-40B4-BE49-F238E27FC236}">
                <a16:creationId xmlns:a16="http://schemas.microsoft.com/office/drawing/2014/main" id="{6DB0B8BC-430B-49BA-B659-D02038A4E01D}"/>
              </a:ext>
            </a:extLst>
          </p:cNvPr>
          <p:cNvSpPr>
            <a:spLocks/>
          </p:cNvSpPr>
          <p:nvPr/>
        </p:nvSpPr>
        <p:spPr bwMode="auto">
          <a:xfrm>
            <a:off x="9984697" y="2679839"/>
            <a:ext cx="62455" cy="133654"/>
          </a:xfrm>
          <a:custGeom>
            <a:avLst/>
            <a:gdLst>
              <a:gd name="T0" fmla="*/ 21 w 21"/>
              <a:gd name="T1" fmla="*/ 41 h 45"/>
              <a:gd name="T2" fmla="*/ 12 w 21"/>
              <a:gd name="T3" fmla="*/ 45 h 45"/>
              <a:gd name="T4" fmla="*/ 8 w 21"/>
              <a:gd name="T5" fmla="*/ 45 h 45"/>
              <a:gd name="T6" fmla="*/ 7 w 21"/>
              <a:gd name="T7" fmla="*/ 45 h 45"/>
              <a:gd name="T8" fmla="*/ 6 w 21"/>
              <a:gd name="T9" fmla="*/ 44 h 45"/>
              <a:gd name="T10" fmla="*/ 6 w 21"/>
              <a:gd name="T11" fmla="*/ 44 h 45"/>
              <a:gd name="T12" fmla="*/ 6 w 21"/>
              <a:gd name="T13" fmla="*/ 44 h 45"/>
              <a:gd name="T14" fmla="*/ 6 w 21"/>
              <a:gd name="T15" fmla="*/ 43 h 45"/>
              <a:gd name="T16" fmla="*/ 6 w 21"/>
              <a:gd name="T17" fmla="*/ 43 h 45"/>
              <a:gd name="T18" fmla="*/ 6 w 21"/>
              <a:gd name="T19" fmla="*/ 43 h 45"/>
              <a:gd name="T20" fmla="*/ 7 w 21"/>
              <a:gd name="T21" fmla="*/ 36 h 45"/>
              <a:gd name="T22" fmla="*/ 0 w 21"/>
              <a:gd name="T23" fmla="*/ 37 h 45"/>
              <a:gd name="T24" fmla="*/ 10 w 21"/>
              <a:gd name="T25" fmla="*/ 0 h 45"/>
              <a:gd name="T26" fmla="*/ 11 w 21"/>
              <a:gd name="T27" fmla="*/ 0 h 45"/>
              <a:gd name="T28" fmla="*/ 3 w 21"/>
              <a:gd name="T29" fmla="*/ 34 h 45"/>
              <a:gd name="T30" fmla="*/ 9 w 21"/>
              <a:gd name="T31" fmla="*/ 33 h 45"/>
              <a:gd name="T32" fmla="*/ 8 w 21"/>
              <a:gd name="T33" fmla="*/ 43 h 45"/>
              <a:gd name="T34" fmla="*/ 8 w 21"/>
              <a:gd name="T35" fmla="*/ 43 h 45"/>
              <a:gd name="T36" fmla="*/ 21 w 21"/>
              <a:gd name="T37" fmla="*/ 40 h 45"/>
              <a:gd name="T38" fmla="*/ 21 w 21"/>
              <a:gd name="T3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" h="45">
                <a:moveTo>
                  <a:pt x="21" y="41"/>
                </a:moveTo>
                <a:cubicBezTo>
                  <a:pt x="19" y="44"/>
                  <a:pt x="16" y="45"/>
                  <a:pt x="12" y="45"/>
                </a:cubicBezTo>
                <a:cubicBezTo>
                  <a:pt x="11" y="45"/>
                  <a:pt x="9" y="45"/>
                  <a:pt x="8" y="45"/>
                </a:cubicBezTo>
                <a:cubicBezTo>
                  <a:pt x="7" y="45"/>
                  <a:pt x="7" y="45"/>
                  <a:pt x="7" y="45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4"/>
                  <a:pt x="6" y="44"/>
                  <a:pt x="6" y="44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6" y="40"/>
                  <a:pt x="7" y="36"/>
                  <a:pt x="7" y="36"/>
                </a:cubicBezTo>
                <a:cubicBezTo>
                  <a:pt x="6" y="36"/>
                  <a:pt x="0" y="38"/>
                  <a:pt x="0" y="37"/>
                </a:cubicBezTo>
                <a:cubicBezTo>
                  <a:pt x="3" y="25"/>
                  <a:pt x="5" y="11"/>
                  <a:pt x="10" y="0"/>
                </a:cubicBezTo>
                <a:cubicBezTo>
                  <a:pt x="10" y="0"/>
                  <a:pt x="11" y="0"/>
                  <a:pt x="11" y="0"/>
                </a:cubicBezTo>
                <a:cubicBezTo>
                  <a:pt x="9" y="12"/>
                  <a:pt x="5" y="23"/>
                  <a:pt x="3" y="34"/>
                </a:cubicBezTo>
                <a:cubicBezTo>
                  <a:pt x="5" y="34"/>
                  <a:pt x="8" y="33"/>
                  <a:pt x="9" y="33"/>
                </a:cubicBezTo>
                <a:cubicBezTo>
                  <a:pt x="10" y="34"/>
                  <a:pt x="8" y="41"/>
                  <a:pt x="8" y="43"/>
                </a:cubicBezTo>
                <a:cubicBezTo>
                  <a:pt x="8" y="43"/>
                  <a:pt x="8" y="43"/>
                  <a:pt x="8" y="43"/>
                </a:cubicBezTo>
                <a:cubicBezTo>
                  <a:pt x="12" y="44"/>
                  <a:pt x="16" y="43"/>
                  <a:pt x="21" y="40"/>
                </a:cubicBezTo>
                <a:lnTo>
                  <a:pt x="21" y="41"/>
                </a:ln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Freeform 264">
            <a:extLst>
              <a:ext uri="{FF2B5EF4-FFF2-40B4-BE49-F238E27FC236}">
                <a16:creationId xmlns:a16="http://schemas.microsoft.com/office/drawing/2014/main" id="{76913DE0-3020-400D-A226-5EADB38CA092}"/>
              </a:ext>
            </a:extLst>
          </p:cNvPr>
          <p:cNvSpPr>
            <a:spLocks/>
          </p:cNvSpPr>
          <p:nvPr/>
        </p:nvSpPr>
        <p:spPr bwMode="auto">
          <a:xfrm>
            <a:off x="10013427" y="2802251"/>
            <a:ext cx="36224" cy="26231"/>
          </a:xfrm>
          <a:custGeom>
            <a:avLst/>
            <a:gdLst>
              <a:gd name="T0" fmla="*/ 0 w 12"/>
              <a:gd name="T1" fmla="*/ 3 h 9"/>
              <a:gd name="T2" fmla="*/ 5 w 12"/>
              <a:gd name="T3" fmla="*/ 8 h 9"/>
              <a:gd name="T4" fmla="*/ 9 w 12"/>
              <a:gd name="T5" fmla="*/ 9 h 9"/>
              <a:gd name="T6" fmla="*/ 12 w 12"/>
              <a:gd name="T7" fmla="*/ 3 h 9"/>
              <a:gd name="T8" fmla="*/ 11 w 12"/>
              <a:gd name="T9" fmla="*/ 0 h 9"/>
              <a:gd name="T10" fmla="*/ 0 w 12"/>
              <a:gd name="T11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9">
                <a:moveTo>
                  <a:pt x="0" y="3"/>
                </a:moveTo>
                <a:cubicBezTo>
                  <a:pt x="0" y="3"/>
                  <a:pt x="2" y="6"/>
                  <a:pt x="5" y="8"/>
                </a:cubicBezTo>
                <a:cubicBezTo>
                  <a:pt x="6" y="9"/>
                  <a:pt x="7" y="9"/>
                  <a:pt x="9" y="9"/>
                </a:cubicBezTo>
                <a:cubicBezTo>
                  <a:pt x="12" y="8"/>
                  <a:pt x="12" y="6"/>
                  <a:pt x="12" y="3"/>
                </a:cubicBezTo>
                <a:cubicBezTo>
                  <a:pt x="12" y="1"/>
                  <a:pt x="11" y="0"/>
                  <a:pt x="11" y="0"/>
                </a:cubicBezTo>
                <a:cubicBezTo>
                  <a:pt x="11" y="0"/>
                  <a:pt x="6" y="3"/>
                  <a:pt x="0" y="3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265">
            <a:extLst>
              <a:ext uri="{FF2B5EF4-FFF2-40B4-BE49-F238E27FC236}">
                <a16:creationId xmlns:a16="http://schemas.microsoft.com/office/drawing/2014/main" id="{5E25DE91-C7D8-4143-9206-47C6DDC1FEEA}"/>
              </a:ext>
            </a:extLst>
          </p:cNvPr>
          <p:cNvSpPr>
            <a:spLocks/>
          </p:cNvSpPr>
          <p:nvPr/>
        </p:nvSpPr>
        <p:spPr bwMode="auto">
          <a:xfrm>
            <a:off x="10028416" y="2810994"/>
            <a:ext cx="21235" cy="17487"/>
          </a:xfrm>
          <a:custGeom>
            <a:avLst/>
            <a:gdLst>
              <a:gd name="T0" fmla="*/ 0 w 7"/>
              <a:gd name="T1" fmla="*/ 5 h 6"/>
              <a:gd name="T2" fmla="*/ 4 w 7"/>
              <a:gd name="T3" fmla="*/ 6 h 6"/>
              <a:gd name="T4" fmla="*/ 7 w 7"/>
              <a:gd name="T5" fmla="*/ 0 h 6"/>
              <a:gd name="T6" fmla="*/ 0 w 7"/>
              <a:gd name="T7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">
                <a:moveTo>
                  <a:pt x="0" y="5"/>
                </a:moveTo>
                <a:cubicBezTo>
                  <a:pt x="1" y="6"/>
                  <a:pt x="2" y="6"/>
                  <a:pt x="4" y="6"/>
                </a:cubicBezTo>
                <a:cubicBezTo>
                  <a:pt x="7" y="5"/>
                  <a:pt x="7" y="3"/>
                  <a:pt x="7" y="0"/>
                </a:cubicBezTo>
                <a:cubicBezTo>
                  <a:pt x="4" y="0"/>
                  <a:pt x="1" y="2"/>
                  <a:pt x="0" y="5"/>
                </a:cubicBezTo>
                <a:close/>
              </a:path>
            </a:pathLst>
          </a:custGeom>
          <a:solidFill>
            <a:srgbClr val="FF9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266">
            <a:extLst>
              <a:ext uri="{FF2B5EF4-FFF2-40B4-BE49-F238E27FC236}">
                <a16:creationId xmlns:a16="http://schemas.microsoft.com/office/drawing/2014/main" id="{B9FD897E-D85B-4361-B0A5-26C9C6E27F75}"/>
              </a:ext>
            </a:extLst>
          </p:cNvPr>
          <p:cNvSpPr>
            <a:spLocks/>
          </p:cNvSpPr>
          <p:nvPr/>
        </p:nvSpPr>
        <p:spPr bwMode="auto">
          <a:xfrm>
            <a:off x="9930986" y="2496220"/>
            <a:ext cx="302283" cy="261062"/>
          </a:xfrm>
          <a:custGeom>
            <a:avLst/>
            <a:gdLst>
              <a:gd name="T0" fmla="*/ 14 w 102"/>
              <a:gd name="T1" fmla="*/ 48 h 88"/>
              <a:gd name="T2" fmla="*/ 56 w 102"/>
              <a:gd name="T3" fmla="*/ 44 h 88"/>
              <a:gd name="T4" fmla="*/ 75 w 102"/>
              <a:gd name="T5" fmla="*/ 57 h 88"/>
              <a:gd name="T6" fmla="*/ 85 w 102"/>
              <a:gd name="T7" fmla="*/ 87 h 88"/>
              <a:gd name="T8" fmla="*/ 99 w 102"/>
              <a:gd name="T9" fmla="*/ 39 h 88"/>
              <a:gd name="T10" fmla="*/ 86 w 102"/>
              <a:gd name="T11" fmla="*/ 29 h 88"/>
              <a:gd name="T12" fmla="*/ 78 w 102"/>
              <a:gd name="T13" fmla="*/ 16 h 88"/>
              <a:gd name="T14" fmla="*/ 42 w 102"/>
              <a:gd name="T15" fmla="*/ 17 h 88"/>
              <a:gd name="T16" fmla="*/ 35 w 102"/>
              <a:gd name="T17" fmla="*/ 7 h 88"/>
              <a:gd name="T18" fmla="*/ 24 w 102"/>
              <a:gd name="T19" fmla="*/ 7 h 88"/>
              <a:gd name="T20" fmla="*/ 27 w 102"/>
              <a:gd name="T21" fmla="*/ 15 h 88"/>
              <a:gd name="T22" fmla="*/ 21 w 102"/>
              <a:gd name="T23" fmla="*/ 15 h 88"/>
              <a:gd name="T24" fmla="*/ 24 w 102"/>
              <a:gd name="T25" fmla="*/ 7 h 88"/>
              <a:gd name="T26" fmla="*/ 12 w 102"/>
              <a:gd name="T27" fmla="*/ 2 h 88"/>
              <a:gd name="T28" fmla="*/ 14 w 102"/>
              <a:gd name="T29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2" h="88">
                <a:moveTo>
                  <a:pt x="14" y="48"/>
                </a:moveTo>
                <a:cubicBezTo>
                  <a:pt x="31" y="61"/>
                  <a:pt x="56" y="44"/>
                  <a:pt x="56" y="44"/>
                </a:cubicBezTo>
                <a:cubicBezTo>
                  <a:pt x="61" y="58"/>
                  <a:pt x="75" y="57"/>
                  <a:pt x="75" y="57"/>
                </a:cubicBezTo>
                <a:cubicBezTo>
                  <a:pt x="75" y="57"/>
                  <a:pt x="77" y="87"/>
                  <a:pt x="85" y="87"/>
                </a:cubicBezTo>
                <a:cubicBezTo>
                  <a:pt x="97" y="88"/>
                  <a:pt x="102" y="48"/>
                  <a:pt x="99" y="39"/>
                </a:cubicBezTo>
                <a:cubicBezTo>
                  <a:pt x="96" y="31"/>
                  <a:pt x="86" y="29"/>
                  <a:pt x="86" y="29"/>
                </a:cubicBezTo>
                <a:cubicBezTo>
                  <a:pt x="86" y="29"/>
                  <a:pt x="85" y="22"/>
                  <a:pt x="78" y="16"/>
                </a:cubicBezTo>
                <a:cubicBezTo>
                  <a:pt x="70" y="10"/>
                  <a:pt x="42" y="17"/>
                  <a:pt x="42" y="17"/>
                </a:cubicBezTo>
                <a:cubicBezTo>
                  <a:pt x="42" y="17"/>
                  <a:pt x="40" y="11"/>
                  <a:pt x="35" y="7"/>
                </a:cubicBezTo>
                <a:cubicBezTo>
                  <a:pt x="32" y="4"/>
                  <a:pt x="27" y="4"/>
                  <a:pt x="24" y="7"/>
                </a:cubicBezTo>
                <a:cubicBezTo>
                  <a:pt x="26" y="9"/>
                  <a:pt x="27" y="12"/>
                  <a:pt x="27" y="15"/>
                </a:cubicBezTo>
                <a:cubicBezTo>
                  <a:pt x="28" y="23"/>
                  <a:pt x="21" y="23"/>
                  <a:pt x="21" y="15"/>
                </a:cubicBezTo>
                <a:cubicBezTo>
                  <a:pt x="21" y="12"/>
                  <a:pt x="23" y="9"/>
                  <a:pt x="24" y="7"/>
                </a:cubicBezTo>
                <a:cubicBezTo>
                  <a:pt x="21" y="2"/>
                  <a:pt x="16" y="0"/>
                  <a:pt x="12" y="2"/>
                </a:cubicBezTo>
                <a:cubicBezTo>
                  <a:pt x="5" y="7"/>
                  <a:pt x="0" y="37"/>
                  <a:pt x="14" y="48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267">
            <a:extLst>
              <a:ext uri="{FF2B5EF4-FFF2-40B4-BE49-F238E27FC236}">
                <a16:creationId xmlns:a16="http://schemas.microsoft.com/office/drawing/2014/main" id="{322105CE-D00F-49B8-8537-2513A0FA3D96}"/>
              </a:ext>
            </a:extLst>
          </p:cNvPr>
          <p:cNvSpPr>
            <a:spLocks/>
          </p:cNvSpPr>
          <p:nvPr/>
        </p:nvSpPr>
        <p:spPr bwMode="auto">
          <a:xfrm>
            <a:off x="10165817" y="2713564"/>
            <a:ext cx="88686" cy="117416"/>
          </a:xfrm>
          <a:custGeom>
            <a:avLst/>
            <a:gdLst>
              <a:gd name="T0" fmla="*/ 3 w 30"/>
              <a:gd name="T1" fmla="*/ 17 h 40"/>
              <a:gd name="T2" fmla="*/ 23 w 30"/>
              <a:gd name="T3" fmla="*/ 4 h 40"/>
              <a:gd name="T4" fmla="*/ 12 w 30"/>
              <a:gd name="T5" fmla="*/ 36 h 40"/>
              <a:gd name="T6" fmla="*/ 0 w 30"/>
              <a:gd name="T7" fmla="*/ 31 h 40"/>
              <a:gd name="T8" fmla="*/ 3 w 30"/>
              <a:gd name="T9" fmla="*/ 17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40">
                <a:moveTo>
                  <a:pt x="3" y="17"/>
                </a:moveTo>
                <a:cubicBezTo>
                  <a:pt x="3" y="17"/>
                  <a:pt x="15" y="0"/>
                  <a:pt x="23" y="4"/>
                </a:cubicBezTo>
                <a:cubicBezTo>
                  <a:pt x="30" y="8"/>
                  <a:pt x="21" y="33"/>
                  <a:pt x="12" y="36"/>
                </a:cubicBezTo>
                <a:cubicBezTo>
                  <a:pt x="3" y="40"/>
                  <a:pt x="0" y="31"/>
                  <a:pt x="0" y="31"/>
                </a:cubicBezTo>
                <a:lnTo>
                  <a:pt x="3" y="17"/>
                </a:lnTo>
                <a:close/>
              </a:path>
            </a:pathLst>
          </a:custGeom>
          <a:solidFill>
            <a:srgbClr val="AB6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268">
            <a:extLst>
              <a:ext uri="{FF2B5EF4-FFF2-40B4-BE49-F238E27FC236}">
                <a16:creationId xmlns:a16="http://schemas.microsoft.com/office/drawing/2014/main" id="{A7B56A00-A90D-49D1-AB41-A49EEED3CE7A}"/>
              </a:ext>
            </a:extLst>
          </p:cNvPr>
          <p:cNvSpPr>
            <a:spLocks/>
          </p:cNvSpPr>
          <p:nvPr/>
        </p:nvSpPr>
        <p:spPr bwMode="auto">
          <a:xfrm>
            <a:off x="10177059" y="2746041"/>
            <a:ext cx="47466" cy="61206"/>
          </a:xfrm>
          <a:custGeom>
            <a:avLst/>
            <a:gdLst>
              <a:gd name="T0" fmla="*/ 16 w 16"/>
              <a:gd name="T1" fmla="*/ 0 h 21"/>
              <a:gd name="T2" fmla="*/ 16 w 16"/>
              <a:gd name="T3" fmla="*/ 0 h 21"/>
              <a:gd name="T4" fmla="*/ 4 w 16"/>
              <a:gd name="T5" fmla="*/ 15 h 21"/>
              <a:gd name="T6" fmla="*/ 11 w 16"/>
              <a:gd name="T7" fmla="*/ 13 h 21"/>
              <a:gd name="T8" fmla="*/ 11 w 16"/>
              <a:gd name="T9" fmla="*/ 14 h 21"/>
              <a:gd name="T10" fmla="*/ 5 w 16"/>
              <a:gd name="T11" fmla="*/ 16 h 21"/>
              <a:gd name="T12" fmla="*/ 2 w 16"/>
              <a:gd name="T13" fmla="*/ 21 h 21"/>
              <a:gd name="T14" fmla="*/ 1 w 16"/>
              <a:gd name="T15" fmla="*/ 20 h 21"/>
              <a:gd name="T16" fmla="*/ 1 w 16"/>
              <a:gd name="T17" fmla="*/ 20 h 21"/>
              <a:gd name="T18" fmla="*/ 16 w 16"/>
              <a:gd name="T19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" h="21">
                <a:moveTo>
                  <a:pt x="16" y="0"/>
                </a:moveTo>
                <a:cubicBezTo>
                  <a:pt x="16" y="0"/>
                  <a:pt x="16" y="0"/>
                  <a:pt x="16" y="0"/>
                </a:cubicBezTo>
                <a:cubicBezTo>
                  <a:pt x="9" y="3"/>
                  <a:pt x="6" y="9"/>
                  <a:pt x="4" y="15"/>
                </a:cubicBezTo>
                <a:cubicBezTo>
                  <a:pt x="6" y="12"/>
                  <a:pt x="8" y="11"/>
                  <a:pt x="11" y="13"/>
                </a:cubicBezTo>
                <a:cubicBezTo>
                  <a:pt x="11" y="14"/>
                  <a:pt x="11" y="14"/>
                  <a:pt x="11" y="14"/>
                </a:cubicBezTo>
                <a:cubicBezTo>
                  <a:pt x="9" y="13"/>
                  <a:pt x="7" y="14"/>
                  <a:pt x="5" y="16"/>
                </a:cubicBezTo>
                <a:cubicBezTo>
                  <a:pt x="4" y="17"/>
                  <a:pt x="3" y="19"/>
                  <a:pt x="2" y="21"/>
                </a:cubicBezTo>
                <a:cubicBezTo>
                  <a:pt x="1" y="21"/>
                  <a:pt x="0" y="21"/>
                  <a:pt x="1" y="20"/>
                </a:cubicBezTo>
                <a:cubicBezTo>
                  <a:pt x="1" y="20"/>
                  <a:pt x="1" y="20"/>
                  <a:pt x="1" y="20"/>
                </a:cubicBezTo>
                <a:cubicBezTo>
                  <a:pt x="1" y="12"/>
                  <a:pt x="7" y="1"/>
                  <a:pt x="16" y="0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Freeform 269">
            <a:extLst>
              <a:ext uri="{FF2B5EF4-FFF2-40B4-BE49-F238E27FC236}">
                <a16:creationId xmlns:a16="http://schemas.microsoft.com/office/drawing/2014/main" id="{7DFFDFA6-9EE6-44A6-B7FB-2AA0B0754FF2}"/>
              </a:ext>
            </a:extLst>
          </p:cNvPr>
          <p:cNvSpPr>
            <a:spLocks/>
          </p:cNvSpPr>
          <p:nvPr/>
        </p:nvSpPr>
        <p:spPr bwMode="auto">
          <a:xfrm>
            <a:off x="10040907" y="2920915"/>
            <a:ext cx="198607" cy="218593"/>
          </a:xfrm>
          <a:custGeom>
            <a:avLst/>
            <a:gdLst>
              <a:gd name="T0" fmla="*/ 6 w 67"/>
              <a:gd name="T1" fmla="*/ 9 h 74"/>
              <a:gd name="T2" fmla="*/ 19 w 67"/>
              <a:gd name="T3" fmla="*/ 39 h 74"/>
              <a:gd name="T4" fmla="*/ 56 w 67"/>
              <a:gd name="T5" fmla="*/ 0 h 74"/>
              <a:gd name="T6" fmla="*/ 67 w 67"/>
              <a:gd name="T7" fmla="*/ 13 h 74"/>
              <a:gd name="T8" fmla="*/ 31 w 67"/>
              <a:gd name="T9" fmla="*/ 72 h 74"/>
              <a:gd name="T10" fmla="*/ 18 w 67"/>
              <a:gd name="T11" fmla="*/ 45 h 74"/>
              <a:gd name="T12" fmla="*/ 0 w 67"/>
              <a:gd name="T13" fmla="*/ 64 h 74"/>
              <a:gd name="T14" fmla="*/ 1 w 67"/>
              <a:gd name="T15" fmla="*/ 18 h 74"/>
              <a:gd name="T16" fmla="*/ 6 w 67"/>
              <a:gd name="T17" fmla="*/ 9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" h="74">
                <a:moveTo>
                  <a:pt x="6" y="9"/>
                </a:moveTo>
                <a:cubicBezTo>
                  <a:pt x="19" y="39"/>
                  <a:pt x="19" y="39"/>
                  <a:pt x="19" y="39"/>
                </a:cubicBezTo>
                <a:cubicBezTo>
                  <a:pt x="56" y="0"/>
                  <a:pt x="56" y="0"/>
                  <a:pt x="56" y="0"/>
                </a:cubicBezTo>
                <a:cubicBezTo>
                  <a:pt x="67" y="13"/>
                  <a:pt x="67" y="13"/>
                  <a:pt x="67" y="13"/>
                </a:cubicBezTo>
                <a:cubicBezTo>
                  <a:pt x="67" y="13"/>
                  <a:pt x="31" y="74"/>
                  <a:pt x="31" y="72"/>
                </a:cubicBezTo>
                <a:cubicBezTo>
                  <a:pt x="18" y="45"/>
                  <a:pt x="18" y="45"/>
                  <a:pt x="18" y="45"/>
                </a:cubicBezTo>
                <a:cubicBezTo>
                  <a:pt x="0" y="64"/>
                  <a:pt x="0" y="64"/>
                  <a:pt x="0" y="64"/>
                </a:cubicBezTo>
                <a:cubicBezTo>
                  <a:pt x="1" y="18"/>
                  <a:pt x="1" y="18"/>
                  <a:pt x="1" y="18"/>
                </a:cubicBezTo>
                <a:lnTo>
                  <a:pt x="6" y="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270">
            <a:extLst>
              <a:ext uri="{FF2B5EF4-FFF2-40B4-BE49-F238E27FC236}">
                <a16:creationId xmlns:a16="http://schemas.microsoft.com/office/drawing/2014/main" id="{1E5E5096-07DE-4F5C-84EA-7691D4DFEAEE}"/>
              </a:ext>
            </a:extLst>
          </p:cNvPr>
          <p:cNvSpPr>
            <a:spLocks/>
          </p:cNvSpPr>
          <p:nvPr/>
        </p:nvSpPr>
        <p:spPr bwMode="auto">
          <a:xfrm>
            <a:off x="10034661" y="2968381"/>
            <a:ext cx="201106" cy="171127"/>
          </a:xfrm>
          <a:custGeom>
            <a:avLst/>
            <a:gdLst>
              <a:gd name="T0" fmla="*/ 1 w 68"/>
              <a:gd name="T1" fmla="*/ 25 h 58"/>
              <a:gd name="T2" fmla="*/ 2 w 68"/>
              <a:gd name="T3" fmla="*/ 2 h 58"/>
              <a:gd name="T4" fmla="*/ 3 w 68"/>
              <a:gd name="T5" fmla="*/ 2 h 58"/>
              <a:gd name="T6" fmla="*/ 3 w 68"/>
              <a:gd name="T7" fmla="*/ 46 h 58"/>
              <a:gd name="T8" fmla="*/ 3 w 68"/>
              <a:gd name="T9" fmla="*/ 45 h 58"/>
              <a:gd name="T10" fmla="*/ 20 w 68"/>
              <a:gd name="T11" fmla="*/ 29 h 58"/>
              <a:gd name="T12" fmla="*/ 33 w 68"/>
              <a:gd name="T13" fmla="*/ 54 h 58"/>
              <a:gd name="T14" fmla="*/ 67 w 68"/>
              <a:gd name="T15" fmla="*/ 0 h 58"/>
              <a:gd name="T16" fmla="*/ 68 w 68"/>
              <a:gd name="T17" fmla="*/ 0 h 58"/>
              <a:gd name="T18" fmla="*/ 33 w 68"/>
              <a:gd name="T19" fmla="*/ 58 h 58"/>
              <a:gd name="T20" fmla="*/ 20 w 68"/>
              <a:gd name="T21" fmla="*/ 30 h 58"/>
              <a:gd name="T22" fmla="*/ 1 w 68"/>
              <a:gd name="T23" fmla="*/ 50 h 58"/>
              <a:gd name="T24" fmla="*/ 1 w 68"/>
              <a:gd name="T25" fmla="*/ 25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8" h="58">
                <a:moveTo>
                  <a:pt x="1" y="25"/>
                </a:moveTo>
                <a:cubicBezTo>
                  <a:pt x="1" y="18"/>
                  <a:pt x="2" y="10"/>
                  <a:pt x="2" y="2"/>
                </a:cubicBezTo>
                <a:cubicBezTo>
                  <a:pt x="3" y="2"/>
                  <a:pt x="3" y="2"/>
                  <a:pt x="3" y="2"/>
                </a:cubicBezTo>
                <a:cubicBezTo>
                  <a:pt x="5" y="10"/>
                  <a:pt x="3" y="39"/>
                  <a:pt x="3" y="46"/>
                </a:cubicBezTo>
                <a:cubicBezTo>
                  <a:pt x="3" y="45"/>
                  <a:pt x="3" y="45"/>
                  <a:pt x="3" y="45"/>
                </a:cubicBezTo>
                <a:cubicBezTo>
                  <a:pt x="4" y="45"/>
                  <a:pt x="20" y="29"/>
                  <a:pt x="20" y="29"/>
                </a:cubicBezTo>
                <a:cubicBezTo>
                  <a:pt x="23" y="34"/>
                  <a:pt x="32" y="53"/>
                  <a:pt x="33" y="54"/>
                </a:cubicBezTo>
                <a:cubicBezTo>
                  <a:pt x="38" y="45"/>
                  <a:pt x="61" y="9"/>
                  <a:pt x="67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3" y="10"/>
                  <a:pt x="34" y="58"/>
                  <a:pt x="33" y="58"/>
                </a:cubicBezTo>
                <a:cubicBezTo>
                  <a:pt x="33" y="58"/>
                  <a:pt x="21" y="35"/>
                  <a:pt x="20" y="30"/>
                </a:cubicBezTo>
                <a:cubicBezTo>
                  <a:pt x="17" y="34"/>
                  <a:pt x="1" y="51"/>
                  <a:pt x="1" y="50"/>
                </a:cubicBezTo>
                <a:cubicBezTo>
                  <a:pt x="0" y="43"/>
                  <a:pt x="1" y="33"/>
                  <a:pt x="1" y="25"/>
                </a:cubicBezTo>
                <a:close/>
              </a:path>
            </a:pathLst>
          </a:custGeom>
          <a:solidFill>
            <a:srgbClr val="2632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A52F1A8E-D096-422E-A017-2F4E0AFDFAFE}"/>
              </a:ext>
            </a:extLst>
          </p:cNvPr>
          <p:cNvCxnSpPr>
            <a:cxnSpLocks/>
          </p:cNvCxnSpPr>
          <p:nvPr/>
        </p:nvCxnSpPr>
        <p:spPr>
          <a:xfrm>
            <a:off x="1199408" y="5832975"/>
            <a:ext cx="5087092" cy="0"/>
          </a:xfrm>
          <a:prstGeom prst="line">
            <a:avLst/>
          </a:prstGeom>
          <a:ln>
            <a:solidFill>
              <a:srgbClr val="605E87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9FA35ED9-DD80-45F9-B298-99E6589FD097}"/>
              </a:ext>
            </a:extLst>
          </p:cNvPr>
          <p:cNvCxnSpPr>
            <a:cxnSpLocks/>
          </p:cNvCxnSpPr>
          <p:nvPr/>
        </p:nvCxnSpPr>
        <p:spPr>
          <a:xfrm>
            <a:off x="6673932" y="5832975"/>
            <a:ext cx="5087092" cy="0"/>
          </a:xfrm>
          <a:prstGeom prst="line">
            <a:avLst/>
          </a:prstGeom>
          <a:ln>
            <a:solidFill>
              <a:srgbClr val="44436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46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71F0854-CFF3-4D83-9E20-9A9D500C29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71F0854-CFF3-4D83-9E20-9A9D500C29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F5BEBEF-D023-4EAA-83D2-7DE1CAE85497}"/>
              </a:ext>
            </a:extLst>
          </p:cNvPr>
          <p:cNvSpPr/>
          <p:nvPr/>
        </p:nvSpPr>
        <p:spPr>
          <a:xfrm flipV="1">
            <a:off x="-1167" y="0"/>
            <a:ext cx="12192000" cy="5814245"/>
          </a:xfrm>
          <a:custGeom>
            <a:avLst/>
            <a:gdLst>
              <a:gd name="connsiteX0" fmla="*/ 4768964 w 12192000"/>
              <a:gd name="connsiteY0" fmla="*/ 1178 h 5814245"/>
              <a:gd name="connsiteX1" fmla="*/ 4868884 w 12192000"/>
              <a:gd name="connsiteY1" fmla="*/ 1274 h 5814245"/>
              <a:gd name="connsiteX2" fmla="*/ 6241130 w 12192000"/>
              <a:gd name="connsiteY2" fmla="*/ 2034191 h 5814245"/>
              <a:gd name="connsiteX3" fmla="*/ 6254151 w 12192000"/>
              <a:gd name="connsiteY3" fmla="*/ 2116718 h 5814245"/>
              <a:gd name="connsiteX4" fmla="*/ 6270171 w 12192000"/>
              <a:gd name="connsiteY4" fmla="*/ 2120359 h 5814245"/>
              <a:gd name="connsiteX5" fmla="*/ 7315200 w 12192000"/>
              <a:gd name="connsiteY5" fmla="*/ 4515216 h 5814245"/>
              <a:gd name="connsiteX6" fmla="*/ 10101943 w 12192000"/>
              <a:gd name="connsiteY6" fmla="*/ 5110302 h 5814245"/>
              <a:gd name="connsiteX7" fmla="*/ 11843657 w 12192000"/>
              <a:gd name="connsiteY7" fmla="*/ 3542759 h 5814245"/>
              <a:gd name="connsiteX8" fmla="*/ 12138385 w 12192000"/>
              <a:gd name="connsiteY8" fmla="*/ 3664027 h 5814245"/>
              <a:gd name="connsiteX9" fmla="*/ 12192000 w 12192000"/>
              <a:gd name="connsiteY9" fmla="*/ 3706925 h 5814245"/>
              <a:gd name="connsiteX10" fmla="*/ 12192000 w 12192000"/>
              <a:gd name="connsiteY10" fmla="*/ 5814245 h 5814245"/>
              <a:gd name="connsiteX11" fmla="*/ 0 w 12192000"/>
              <a:gd name="connsiteY11" fmla="*/ 5814245 h 5814245"/>
              <a:gd name="connsiteX12" fmla="*/ 0 w 12192000"/>
              <a:gd name="connsiteY12" fmla="*/ 2167841 h 5814245"/>
              <a:gd name="connsiteX13" fmla="*/ 28152 w 12192000"/>
              <a:gd name="connsiteY13" fmla="*/ 2153336 h 5814245"/>
              <a:gd name="connsiteX14" fmla="*/ 4768964 w 12192000"/>
              <a:gd name="connsiteY14" fmla="*/ 1178 h 58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5814245">
                <a:moveTo>
                  <a:pt x="4768964" y="1178"/>
                </a:moveTo>
                <a:cubicBezTo>
                  <a:pt x="4803939" y="-411"/>
                  <a:pt x="4837282" y="-407"/>
                  <a:pt x="4868884" y="1274"/>
                </a:cubicBezTo>
                <a:cubicBezTo>
                  <a:pt x="5745309" y="47909"/>
                  <a:pt x="6091253" y="1155499"/>
                  <a:pt x="6241130" y="2034191"/>
                </a:cubicBezTo>
                <a:lnTo>
                  <a:pt x="6254151" y="2116718"/>
                </a:lnTo>
                <a:lnTo>
                  <a:pt x="6270171" y="2120359"/>
                </a:lnTo>
                <a:cubicBezTo>
                  <a:pt x="6717696" y="2294530"/>
                  <a:pt x="6676573" y="4016892"/>
                  <a:pt x="7315200" y="4515216"/>
                </a:cubicBezTo>
                <a:cubicBezTo>
                  <a:pt x="7953829" y="5013540"/>
                  <a:pt x="9347200" y="5272378"/>
                  <a:pt x="10101943" y="5110302"/>
                </a:cubicBezTo>
                <a:cubicBezTo>
                  <a:pt x="10856686" y="4948226"/>
                  <a:pt x="11350171" y="3520988"/>
                  <a:pt x="11843657" y="3542759"/>
                </a:cubicBezTo>
                <a:cubicBezTo>
                  <a:pt x="11936186" y="3546841"/>
                  <a:pt x="12036453" y="3591235"/>
                  <a:pt x="12138385" y="3664027"/>
                </a:cubicBezTo>
                <a:lnTo>
                  <a:pt x="12192000" y="3706925"/>
                </a:lnTo>
                <a:lnTo>
                  <a:pt x="12192000" y="5814245"/>
                </a:lnTo>
                <a:lnTo>
                  <a:pt x="0" y="5814245"/>
                </a:lnTo>
                <a:lnTo>
                  <a:pt x="0" y="2167841"/>
                </a:lnTo>
                <a:lnTo>
                  <a:pt x="28152" y="2153336"/>
                </a:lnTo>
                <a:cubicBezTo>
                  <a:pt x="1030980" y="1629236"/>
                  <a:pt x="3684701" y="50421"/>
                  <a:pt x="4768964" y="117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dirty="0"/>
              <a:t>A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C987588-00D7-454E-A200-FA462CC2AF63}"/>
              </a:ext>
            </a:extLst>
          </p:cNvPr>
          <p:cNvSpPr/>
          <p:nvPr/>
        </p:nvSpPr>
        <p:spPr>
          <a:xfrm flipH="1" flipV="1">
            <a:off x="8692064" y="4972142"/>
            <a:ext cx="3499936" cy="1885858"/>
          </a:xfrm>
          <a:custGeom>
            <a:avLst/>
            <a:gdLst>
              <a:gd name="connsiteX0" fmla="*/ 0 w 3499936"/>
              <a:gd name="connsiteY0" fmla="*/ 0 h 1885858"/>
              <a:gd name="connsiteX1" fmla="*/ 3486150 w 3499936"/>
              <a:gd name="connsiteY1" fmla="*/ 0 h 1885858"/>
              <a:gd name="connsiteX2" fmla="*/ 1828800 w 3499936"/>
              <a:gd name="connsiteY2" fmla="*/ 304800 h 1885858"/>
              <a:gd name="connsiteX3" fmla="*/ 2400300 w 3499936"/>
              <a:gd name="connsiteY3" fmla="*/ 495300 h 1885858"/>
              <a:gd name="connsiteX4" fmla="*/ 28918 w 3499936"/>
              <a:gd name="connsiteY4" fmla="*/ 1880465 h 1885858"/>
              <a:gd name="connsiteX5" fmla="*/ 0 w 3499936"/>
              <a:gd name="connsiteY5" fmla="*/ 1872287 h 1885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99936" h="1885858">
                <a:moveTo>
                  <a:pt x="0" y="0"/>
                </a:moveTo>
                <a:lnTo>
                  <a:pt x="3486150" y="0"/>
                </a:lnTo>
                <a:cubicBezTo>
                  <a:pt x="3667125" y="196850"/>
                  <a:pt x="2009775" y="222250"/>
                  <a:pt x="1828800" y="304800"/>
                </a:cubicBezTo>
                <a:cubicBezTo>
                  <a:pt x="1647825" y="387350"/>
                  <a:pt x="2708275" y="234950"/>
                  <a:pt x="2400300" y="495300"/>
                </a:cubicBezTo>
                <a:cubicBezTo>
                  <a:pt x="2101949" y="747514"/>
                  <a:pt x="558099" y="1977058"/>
                  <a:pt x="28918" y="1880465"/>
                </a:cubicBezTo>
                <a:lnTo>
                  <a:pt x="0" y="1872287"/>
                </a:ln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3102D663-9447-4D20-A18B-C973332589CB}"/>
              </a:ext>
            </a:extLst>
          </p:cNvPr>
          <p:cNvCxnSpPr>
            <a:cxnSpLocks/>
          </p:cNvCxnSpPr>
          <p:nvPr/>
        </p:nvCxnSpPr>
        <p:spPr>
          <a:xfrm flipH="1">
            <a:off x="2545608" y="4918575"/>
            <a:ext cx="8325592" cy="0"/>
          </a:xfrm>
          <a:prstGeom prst="line">
            <a:avLst/>
          </a:prstGeom>
          <a:ln>
            <a:solidFill>
              <a:srgbClr val="605E87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734A4068-ED46-4F16-84F1-04A1E9C0A24A}"/>
              </a:ext>
            </a:extLst>
          </p:cNvPr>
          <p:cNvGrpSpPr/>
          <p:nvPr/>
        </p:nvGrpSpPr>
        <p:grpSpPr>
          <a:xfrm>
            <a:off x="404257" y="927879"/>
            <a:ext cx="6727459" cy="4452645"/>
            <a:chOff x="335909" y="695307"/>
            <a:chExt cx="7400205" cy="4897909"/>
          </a:xfrm>
        </p:grpSpPr>
        <p:grpSp>
          <p:nvGrpSpPr>
            <p:cNvPr id="10" name="Group 208">
              <a:extLst>
                <a:ext uri="{FF2B5EF4-FFF2-40B4-BE49-F238E27FC236}">
                  <a16:creationId xmlns:a16="http://schemas.microsoft.com/office/drawing/2014/main" id="{8F2A6668-2334-4094-8545-E5EBB7BACCB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5909" y="695307"/>
              <a:ext cx="7400205" cy="4897909"/>
              <a:chOff x="722" y="94"/>
              <a:chExt cx="6243" cy="4132"/>
            </a:xfrm>
          </p:grpSpPr>
          <p:sp>
            <p:nvSpPr>
              <p:cNvPr id="75" name="Oval 8">
                <a:extLst>
                  <a:ext uri="{FF2B5EF4-FFF2-40B4-BE49-F238E27FC236}">
                    <a16:creationId xmlns:a16="http://schemas.microsoft.com/office/drawing/2014/main" id="{E092A569-AB4B-4717-A69F-6A0F106E8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" y="3908"/>
                <a:ext cx="2102" cy="318"/>
              </a:xfrm>
              <a:prstGeom prst="ellipse">
                <a:avLst/>
              </a:prstGeom>
              <a:solidFill>
                <a:srgbClr val="8A8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9">
                <a:extLst>
                  <a:ext uri="{FF2B5EF4-FFF2-40B4-BE49-F238E27FC236}">
                    <a16:creationId xmlns:a16="http://schemas.microsoft.com/office/drawing/2014/main" id="{02DEF437-4AF8-4364-9E1B-B94A1F6576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" y="3492"/>
                <a:ext cx="6236" cy="10"/>
              </a:xfrm>
              <a:custGeom>
                <a:avLst/>
                <a:gdLst>
                  <a:gd name="T0" fmla="*/ 0 w 6236"/>
                  <a:gd name="T1" fmla="*/ 5 h 10"/>
                  <a:gd name="T2" fmla="*/ 781 w 6236"/>
                  <a:gd name="T3" fmla="*/ 3 h 10"/>
                  <a:gd name="T4" fmla="*/ 1559 w 6236"/>
                  <a:gd name="T5" fmla="*/ 3 h 10"/>
                  <a:gd name="T6" fmla="*/ 3118 w 6236"/>
                  <a:gd name="T7" fmla="*/ 0 h 10"/>
                  <a:gd name="T8" fmla="*/ 4677 w 6236"/>
                  <a:gd name="T9" fmla="*/ 3 h 10"/>
                  <a:gd name="T10" fmla="*/ 5455 w 6236"/>
                  <a:gd name="T11" fmla="*/ 3 h 10"/>
                  <a:gd name="T12" fmla="*/ 6236 w 6236"/>
                  <a:gd name="T13" fmla="*/ 5 h 10"/>
                  <a:gd name="T14" fmla="*/ 5455 w 6236"/>
                  <a:gd name="T15" fmla="*/ 7 h 10"/>
                  <a:gd name="T16" fmla="*/ 4677 w 6236"/>
                  <a:gd name="T17" fmla="*/ 7 h 10"/>
                  <a:gd name="T18" fmla="*/ 3118 w 6236"/>
                  <a:gd name="T19" fmla="*/ 10 h 10"/>
                  <a:gd name="T20" fmla="*/ 1559 w 6236"/>
                  <a:gd name="T21" fmla="*/ 7 h 10"/>
                  <a:gd name="T22" fmla="*/ 781 w 6236"/>
                  <a:gd name="T23" fmla="*/ 7 h 10"/>
                  <a:gd name="T24" fmla="*/ 0 w 6236"/>
                  <a:gd name="T2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36" h="10">
                    <a:moveTo>
                      <a:pt x="0" y="5"/>
                    </a:moveTo>
                    <a:lnTo>
                      <a:pt x="781" y="3"/>
                    </a:lnTo>
                    <a:lnTo>
                      <a:pt x="1559" y="3"/>
                    </a:lnTo>
                    <a:lnTo>
                      <a:pt x="3118" y="0"/>
                    </a:lnTo>
                    <a:lnTo>
                      <a:pt x="4677" y="3"/>
                    </a:lnTo>
                    <a:lnTo>
                      <a:pt x="5455" y="3"/>
                    </a:lnTo>
                    <a:lnTo>
                      <a:pt x="6236" y="5"/>
                    </a:lnTo>
                    <a:lnTo>
                      <a:pt x="5455" y="7"/>
                    </a:lnTo>
                    <a:lnTo>
                      <a:pt x="4677" y="7"/>
                    </a:lnTo>
                    <a:lnTo>
                      <a:pt x="3118" y="10"/>
                    </a:lnTo>
                    <a:lnTo>
                      <a:pt x="1559" y="7"/>
                    </a:lnTo>
                    <a:lnTo>
                      <a:pt x="781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10">
                <a:extLst>
                  <a:ext uri="{FF2B5EF4-FFF2-40B4-BE49-F238E27FC236}">
                    <a16:creationId xmlns:a16="http://schemas.microsoft.com/office/drawing/2014/main" id="{88BFC05D-0C5E-4E86-8198-E24412344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" y="3492"/>
                <a:ext cx="6236" cy="10"/>
              </a:xfrm>
              <a:custGeom>
                <a:avLst/>
                <a:gdLst>
                  <a:gd name="T0" fmla="*/ 0 w 6236"/>
                  <a:gd name="T1" fmla="*/ 5 h 10"/>
                  <a:gd name="T2" fmla="*/ 781 w 6236"/>
                  <a:gd name="T3" fmla="*/ 3 h 10"/>
                  <a:gd name="T4" fmla="*/ 1559 w 6236"/>
                  <a:gd name="T5" fmla="*/ 3 h 10"/>
                  <a:gd name="T6" fmla="*/ 3118 w 6236"/>
                  <a:gd name="T7" fmla="*/ 0 h 10"/>
                  <a:gd name="T8" fmla="*/ 4677 w 6236"/>
                  <a:gd name="T9" fmla="*/ 3 h 10"/>
                  <a:gd name="T10" fmla="*/ 5455 w 6236"/>
                  <a:gd name="T11" fmla="*/ 3 h 10"/>
                  <a:gd name="T12" fmla="*/ 6236 w 6236"/>
                  <a:gd name="T13" fmla="*/ 5 h 10"/>
                  <a:gd name="T14" fmla="*/ 5455 w 6236"/>
                  <a:gd name="T15" fmla="*/ 7 h 10"/>
                  <a:gd name="T16" fmla="*/ 4677 w 6236"/>
                  <a:gd name="T17" fmla="*/ 7 h 10"/>
                  <a:gd name="T18" fmla="*/ 3118 w 6236"/>
                  <a:gd name="T19" fmla="*/ 10 h 10"/>
                  <a:gd name="T20" fmla="*/ 1559 w 6236"/>
                  <a:gd name="T21" fmla="*/ 7 h 10"/>
                  <a:gd name="T22" fmla="*/ 781 w 6236"/>
                  <a:gd name="T23" fmla="*/ 7 h 10"/>
                  <a:gd name="T24" fmla="*/ 0 w 6236"/>
                  <a:gd name="T2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36" h="10">
                    <a:moveTo>
                      <a:pt x="0" y="5"/>
                    </a:moveTo>
                    <a:lnTo>
                      <a:pt x="781" y="3"/>
                    </a:lnTo>
                    <a:lnTo>
                      <a:pt x="1559" y="3"/>
                    </a:lnTo>
                    <a:lnTo>
                      <a:pt x="3118" y="0"/>
                    </a:lnTo>
                    <a:lnTo>
                      <a:pt x="4677" y="3"/>
                    </a:lnTo>
                    <a:lnTo>
                      <a:pt x="5455" y="3"/>
                    </a:lnTo>
                    <a:lnTo>
                      <a:pt x="6236" y="5"/>
                    </a:lnTo>
                    <a:lnTo>
                      <a:pt x="5455" y="7"/>
                    </a:lnTo>
                    <a:lnTo>
                      <a:pt x="4677" y="7"/>
                    </a:lnTo>
                    <a:lnTo>
                      <a:pt x="3118" y="10"/>
                    </a:lnTo>
                    <a:lnTo>
                      <a:pt x="1559" y="7"/>
                    </a:lnTo>
                    <a:lnTo>
                      <a:pt x="781" y="7"/>
                    </a:lnTo>
                    <a:lnTo>
                      <a:pt x="0" y="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11">
                <a:extLst>
                  <a:ext uri="{FF2B5EF4-FFF2-40B4-BE49-F238E27FC236}">
                    <a16:creationId xmlns:a16="http://schemas.microsoft.com/office/drawing/2014/main" id="{954DAA14-53C8-41D5-B867-6D532A9EFC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1120"/>
                <a:ext cx="3624" cy="2424"/>
              </a:xfrm>
              <a:prstGeom prst="rect">
                <a:avLst/>
              </a:pr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12">
                <a:extLst>
                  <a:ext uri="{FF2B5EF4-FFF2-40B4-BE49-F238E27FC236}">
                    <a16:creationId xmlns:a16="http://schemas.microsoft.com/office/drawing/2014/main" id="{8653D8D0-6119-4B22-84A5-F100A0E872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1120"/>
                <a:ext cx="3624" cy="24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13">
                <a:extLst>
                  <a:ext uri="{FF2B5EF4-FFF2-40B4-BE49-F238E27FC236}">
                    <a16:creationId xmlns:a16="http://schemas.microsoft.com/office/drawing/2014/main" id="{BB5068A5-41AF-49E1-9A85-B651F78D2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1" y="1148"/>
                <a:ext cx="3571" cy="236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14">
                <a:extLst>
                  <a:ext uri="{FF2B5EF4-FFF2-40B4-BE49-F238E27FC236}">
                    <a16:creationId xmlns:a16="http://schemas.microsoft.com/office/drawing/2014/main" id="{6CF7018A-8A64-456B-8225-5B4A1B79D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1" y="1148"/>
                <a:ext cx="3571" cy="23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15">
                <a:extLst>
                  <a:ext uri="{FF2B5EF4-FFF2-40B4-BE49-F238E27FC236}">
                    <a16:creationId xmlns:a16="http://schemas.microsoft.com/office/drawing/2014/main" id="{C92D0E7B-6D78-44C7-8472-391D80C08E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3" y="3727"/>
                <a:ext cx="4568" cy="167"/>
              </a:xfrm>
              <a:prstGeom prst="rect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6">
                <a:extLst>
                  <a:ext uri="{FF2B5EF4-FFF2-40B4-BE49-F238E27FC236}">
                    <a16:creationId xmlns:a16="http://schemas.microsoft.com/office/drawing/2014/main" id="{0A28DEEC-4167-4857-84B6-C13B9C260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3544"/>
                <a:ext cx="4568" cy="183"/>
              </a:xfrm>
              <a:custGeom>
                <a:avLst/>
                <a:gdLst>
                  <a:gd name="T0" fmla="*/ 0 w 4568"/>
                  <a:gd name="T1" fmla="*/ 183 h 183"/>
                  <a:gd name="T2" fmla="*/ 472 w 4568"/>
                  <a:gd name="T3" fmla="*/ 0 h 183"/>
                  <a:gd name="T4" fmla="*/ 4096 w 4568"/>
                  <a:gd name="T5" fmla="*/ 0 h 183"/>
                  <a:gd name="T6" fmla="*/ 4568 w 4568"/>
                  <a:gd name="T7" fmla="*/ 183 h 183"/>
                  <a:gd name="T8" fmla="*/ 0 w 4568"/>
                  <a:gd name="T9" fmla="*/ 18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68" h="183">
                    <a:moveTo>
                      <a:pt x="0" y="183"/>
                    </a:moveTo>
                    <a:lnTo>
                      <a:pt x="472" y="0"/>
                    </a:lnTo>
                    <a:lnTo>
                      <a:pt x="4096" y="0"/>
                    </a:lnTo>
                    <a:lnTo>
                      <a:pt x="4568" y="183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7">
                <a:extLst>
                  <a:ext uri="{FF2B5EF4-FFF2-40B4-BE49-F238E27FC236}">
                    <a16:creationId xmlns:a16="http://schemas.microsoft.com/office/drawing/2014/main" id="{F5E91349-FDD1-4BBF-9B6E-235330858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3544"/>
                <a:ext cx="3538" cy="119"/>
              </a:xfrm>
              <a:custGeom>
                <a:avLst/>
                <a:gdLst>
                  <a:gd name="T0" fmla="*/ 0 w 3538"/>
                  <a:gd name="T1" fmla="*/ 119 h 119"/>
                  <a:gd name="T2" fmla="*/ 304 w 3538"/>
                  <a:gd name="T3" fmla="*/ 0 h 119"/>
                  <a:gd name="T4" fmla="*/ 3234 w 3538"/>
                  <a:gd name="T5" fmla="*/ 0 h 119"/>
                  <a:gd name="T6" fmla="*/ 3538 w 3538"/>
                  <a:gd name="T7" fmla="*/ 119 h 119"/>
                  <a:gd name="T8" fmla="*/ 0 w 3538"/>
                  <a:gd name="T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38" h="119">
                    <a:moveTo>
                      <a:pt x="0" y="119"/>
                    </a:moveTo>
                    <a:lnTo>
                      <a:pt x="304" y="0"/>
                    </a:lnTo>
                    <a:lnTo>
                      <a:pt x="3234" y="0"/>
                    </a:lnTo>
                    <a:lnTo>
                      <a:pt x="3538" y="119"/>
                    </a:lnTo>
                    <a:lnTo>
                      <a:pt x="0" y="119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18">
                <a:extLst>
                  <a:ext uri="{FF2B5EF4-FFF2-40B4-BE49-F238E27FC236}">
                    <a16:creationId xmlns:a16="http://schemas.microsoft.com/office/drawing/2014/main" id="{328DBA1C-5D4A-4BA6-9570-DE6DA05AD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3" y="1329"/>
                <a:ext cx="3168" cy="200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19">
                <a:extLst>
                  <a:ext uri="{FF2B5EF4-FFF2-40B4-BE49-F238E27FC236}">
                    <a16:creationId xmlns:a16="http://schemas.microsoft.com/office/drawing/2014/main" id="{A8DB95E2-C346-4B84-9302-A4680970B3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3" y="1329"/>
                <a:ext cx="3168" cy="20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20">
                <a:extLst>
                  <a:ext uri="{FF2B5EF4-FFF2-40B4-BE49-F238E27FC236}">
                    <a16:creationId xmlns:a16="http://schemas.microsoft.com/office/drawing/2014/main" id="{3C625ACB-37A2-4DE8-B272-E87B3AE202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1" y="1329"/>
                <a:ext cx="3170" cy="78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21">
                <a:extLst>
                  <a:ext uri="{FF2B5EF4-FFF2-40B4-BE49-F238E27FC236}">
                    <a16:creationId xmlns:a16="http://schemas.microsoft.com/office/drawing/2014/main" id="{889C78AD-6348-451F-BE91-94067BABC0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1" y="1329"/>
                <a:ext cx="3170" cy="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Oval 22">
                <a:extLst>
                  <a:ext uri="{FF2B5EF4-FFF2-40B4-BE49-F238E27FC236}">
                    <a16:creationId xmlns:a16="http://schemas.microsoft.com/office/drawing/2014/main" id="{724A3FDF-CDFB-4E30-BBEF-A75B96249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4" y="1348"/>
                <a:ext cx="38" cy="38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Oval 23">
                <a:extLst>
                  <a:ext uri="{FF2B5EF4-FFF2-40B4-BE49-F238E27FC236}">
                    <a16:creationId xmlns:a16="http://schemas.microsoft.com/office/drawing/2014/main" id="{93F49F05-2C45-49AF-9B9C-A011E71293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3" y="1348"/>
                <a:ext cx="38" cy="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Oval 24">
                <a:extLst>
                  <a:ext uri="{FF2B5EF4-FFF2-40B4-BE49-F238E27FC236}">
                    <a16:creationId xmlns:a16="http://schemas.microsoft.com/office/drawing/2014/main" id="{04AD8A8E-07F5-437E-B907-0945B7DF4E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1" y="1348"/>
                <a:ext cx="38" cy="38"/>
              </a:xfrm>
              <a:prstGeom prst="ellipse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25">
                <a:extLst>
                  <a:ext uri="{FF2B5EF4-FFF2-40B4-BE49-F238E27FC236}">
                    <a16:creationId xmlns:a16="http://schemas.microsoft.com/office/drawing/2014/main" id="{81062EFD-198F-44E4-AA66-751E357CB3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5" y="2630"/>
                <a:ext cx="480" cy="330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6">
                <a:extLst>
                  <a:ext uri="{FF2B5EF4-FFF2-40B4-BE49-F238E27FC236}">
                    <a16:creationId xmlns:a16="http://schemas.microsoft.com/office/drawing/2014/main" id="{A32B37BF-BEB6-49FE-AE30-070B186BA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2656"/>
                <a:ext cx="480" cy="157"/>
              </a:xfrm>
              <a:custGeom>
                <a:avLst/>
                <a:gdLst>
                  <a:gd name="T0" fmla="*/ 0 w 202"/>
                  <a:gd name="T1" fmla="*/ 0 h 66"/>
                  <a:gd name="T2" fmla="*/ 26 w 202"/>
                  <a:gd name="T3" fmla="*/ 15 h 66"/>
                  <a:gd name="T4" fmla="*/ 51 w 202"/>
                  <a:gd name="T5" fmla="*/ 30 h 66"/>
                  <a:gd name="T6" fmla="*/ 102 w 202"/>
                  <a:gd name="T7" fmla="*/ 62 h 66"/>
                  <a:gd name="T8" fmla="*/ 100 w 202"/>
                  <a:gd name="T9" fmla="*/ 62 h 66"/>
                  <a:gd name="T10" fmla="*/ 151 w 202"/>
                  <a:gd name="T11" fmla="*/ 30 h 66"/>
                  <a:gd name="T12" fmla="*/ 177 w 202"/>
                  <a:gd name="T13" fmla="*/ 15 h 66"/>
                  <a:gd name="T14" fmla="*/ 202 w 202"/>
                  <a:gd name="T15" fmla="*/ 0 h 66"/>
                  <a:gd name="T16" fmla="*/ 178 w 202"/>
                  <a:gd name="T17" fmla="*/ 16 h 66"/>
                  <a:gd name="T18" fmla="*/ 153 w 202"/>
                  <a:gd name="T19" fmla="*/ 33 h 66"/>
                  <a:gd name="T20" fmla="*/ 102 w 202"/>
                  <a:gd name="T21" fmla="*/ 66 h 66"/>
                  <a:gd name="T22" fmla="*/ 101 w 202"/>
                  <a:gd name="T23" fmla="*/ 66 h 66"/>
                  <a:gd name="T24" fmla="*/ 100 w 202"/>
                  <a:gd name="T25" fmla="*/ 66 h 66"/>
                  <a:gd name="T26" fmla="*/ 49 w 202"/>
                  <a:gd name="T27" fmla="*/ 33 h 66"/>
                  <a:gd name="T28" fmla="*/ 24 w 202"/>
                  <a:gd name="T29" fmla="*/ 16 h 66"/>
                  <a:gd name="T30" fmla="*/ 0 w 202"/>
                  <a:gd name="T3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2" h="66">
                    <a:moveTo>
                      <a:pt x="0" y="0"/>
                    </a:moveTo>
                    <a:cubicBezTo>
                      <a:pt x="8" y="4"/>
                      <a:pt x="17" y="10"/>
                      <a:pt x="26" y="15"/>
                    </a:cubicBezTo>
                    <a:cubicBezTo>
                      <a:pt x="34" y="20"/>
                      <a:pt x="43" y="25"/>
                      <a:pt x="51" y="30"/>
                    </a:cubicBezTo>
                    <a:cubicBezTo>
                      <a:pt x="68" y="41"/>
                      <a:pt x="85" y="51"/>
                      <a:pt x="102" y="62"/>
                    </a:cubicBezTo>
                    <a:cubicBezTo>
                      <a:pt x="100" y="62"/>
                      <a:pt x="100" y="62"/>
                      <a:pt x="100" y="62"/>
                    </a:cubicBezTo>
                    <a:cubicBezTo>
                      <a:pt x="117" y="51"/>
                      <a:pt x="134" y="41"/>
                      <a:pt x="151" y="30"/>
                    </a:cubicBezTo>
                    <a:cubicBezTo>
                      <a:pt x="159" y="25"/>
                      <a:pt x="168" y="20"/>
                      <a:pt x="177" y="15"/>
                    </a:cubicBezTo>
                    <a:cubicBezTo>
                      <a:pt x="185" y="10"/>
                      <a:pt x="194" y="4"/>
                      <a:pt x="202" y="0"/>
                    </a:cubicBezTo>
                    <a:cubicBezTo>
                      <a:pt x="194" y="5"/>
                      <a:pt x="186" y="11"/>
                      <a:pt x="178" y="16"/>
                    </a:cubicBezTo>
                    <a:cubicBezTo>
                      <a:pt x="169" y="22"/>
                      <a:pt x="161" y="28"/>
                      <a:pt x="153" y="33"/>
                    </a:cubicBezTo>
                    <a:cubicBezTo>
                      <a:pt x="136" y="44"/>
                      <a:pt x="119" y="55"/>
                      <a:pt x="102" y="66"/>
                    </a:cubicBezTo>
                    <a:cubicBezTo>
                      <a:pt x="101" y="66"/>
                      <a:pt x="101" y="66"/>
                      <a:pt x="101" y="66"/>
                    </a:cubicBezTo>
                    <a:cubicBezTo>
                      <a:pt x="100" y="66"/>
                      <a:pt x="100" y="66"/>
                      <a:pt x="100" y="66"/>
                    </a:cubicBezTo>
                    <a:cubicBezTo>
                      <a:pt x="83" y="55"/>
                      <a:pt x="66" y="44"/>
                      <a:pt x="49" y="33"/>
                    </a:cubicBezTo>
                    <a:cubicBezTo>
                      <a:pt x="41" y="28"/>
                      <a:pt x="33" y="22"/>
                      <a:pt x="24" y="16"/>
                    </a:cubicBezTo>
                    <a:cubicBezTo>
                      <a:pt x="16" y="11"/>
                      <a:pt x="8" y="5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7">
                <a:extLst>
                  <a:ext uri="{FF2B5EF4-FFF2-40B4-BE49-F238E27FC236}">
                    <a16:creationId xmlns:a16="http://schemas.microsoft.com/office/drawing/2014/main" id="{CB078B43-9ECC-4E63-865F-9330F75F5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2770"/>
                <a:ext cx="190" cy="133"/>
              </a:xfrm>
              <a:custGeom>
                <a:avLst/>
                <a:gdLst>
                  <a:gd name="T0" fmla="*/ 0 w 80"/>
                  <a:gd name="T1" fmla="*/ 56 h 56"/>
                  <a:gd name="T2" fmla="*/ 19 w 80"/>
                  <a:gd name="T3" fmla="*/ 40 h 56"/>
                  <a:gd name="T4" fmla="*/ 39 w 80"/>
                  <a:gd name="T5" fmla="*/ 26 h 56"/>
                  <a:gd name="T6" fmla="*/ 59 w 80"/>
                  <a:gd name="T7" fmla="*/ 12 h 56"/>
                  <a:gd name="T8" fmla="*/ 80 w 80"/>
                  <a:gd name="T9" fmla="*/ 0 h 56"/>
                  <a:gd name="T10" fmla="*/ 61 w 80"/>
                  <a:gd name="T11" fmla="*/ 15 h 56"/>
                  <a:gd name="T12" fmla="*/ 41 w 80"/>
                  <a:gd name="T13" fmla="*/ 29 h 56"/>
                  <a:gd name="T14" fmla="*/ 21 w 80"/>
                  <a:gd name="T15" fmla="*/ 43 h 56"/>
                  <a:gd name="T16" fmla="*/ 0 w 80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56">
                    <a:moveTo>
                      <a:pt x="0" y="56"/>
                    </a:moveTo>
                    <a:cubicBezTo>
                      <a:pt x="6" y="50"/>
                      <a:pt x="13" y="45"/>
                      <a:pt x="19" y="40"/>
                    </a:cubicBezTo>
                    <a:cubicBezTo>
                      <a:pt x="26" y="35"/>
                      <a:pt x="32" y="31"/>
                      <a:pt x="39" y="26"/>
                    </a:cubicBezTo>
                    <a:cubicBezTo>
                      <a:pt x="46" y="21"/>
                      <a:pt x="52" y="17"/>
                      <a:pt x="59" y="12"/>
                    </a:cubicBezTo>
                    <a:cubicBezTo>
                      <a:pt x="66" y="8"/>
                      <a:pt x="73" y="4"/>
                      <a:pt x="80" y="0"/>
                    </a:cubicBezTo>
                    <a:cubicBezTo>
                      <a:pt x="74" y="5"/>
                      <a:pt x="67" y="10"/>
                      <a:pt x="61" y="15"/>
                    </a:cubicBezTo>
                    <a:cubicBezTo>
                      <a:pt x="55" y="20"/>
                      <a:pt x="48" y="25"/>
                      <a:pt x="41" y="29"/>
                    </a:cubicBezTo>
                    <a:cubicBezTo>
                      <a:pt x="35" y="34"/>
                      <a:pt x="28" y="39"/>
                      <a:pt x="21" y="43"/>
                    </a:cubicBezTo>
                    <a:cubicBezTo>
                      <a:pt x="14" y="47"/>
                      <a:pt x="7" y="52"/>
                      <a:pt x="0" y="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8">
                <a:extLst>
                  <a:ext uri="{FF2B5EF4-FFF2-40B4-BE49-F238E27FC236}">
                    <a16:creationId xmlns:a16="http://schemas.microsoft.com/office/drawing/2014/main" id="{775B2B8A-DEA6-493E-8B0A-D0B5E11A7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70"/>
                <a:ext cx="190" cy="133"/>
              </a:xfrm>
              <a:custGeom>
                <a:avLst/>
                <a:gdLst>
                  <a:gd name="T0" fmla="*/ 80 w 80"/>
                  <a:gd name="T1" fmla="*/ 56 h 56"/>
                  <a:gd name="T2" fmla="*/ 59 w 80"/>
                  <a:gd name="T3" fmla="*/ 43 h 56"/>
                  <a:gd name="T4" fmla="*/ 39 w 80"/>
                  <a:gd name="T5" fmla="*/ 29 h 56"/>
                  <a:gd name="T6" fmla="*/ 19 w 80"/>
                  <a:gd name="T7" fmla="*/ 15 h 56"/>
                  <a:gd name="T8" fmla="*/ 0 w 80"/>
                  <a:gd name="T9" fmla="*/ 0 h 56"/>
                  <a:gd name="T10" fmla="*/ 21 w 80"/>
                  <a:gd name="T11" fmla="*/ 12 h 56"/>
                  <a:gd name="T12" fmla="*/ 41 w 80"/>
                  <a:gd name="T13" fmla="*/ 26 h 56"/>
                  <a:gd name="T14" fmla="*/ 61 w 80"/>
                  <a:gd name="T15" fmla="*/ 40 h 56"/>
                  <a:gd name="T16" fmla="*/ 80 w 80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56">
                    <a:moveTo>
                      <a:pt x="80" y="56"/>
                    </a:moveTo>
                    <a:cubicBezTo>
                      <a:pt x="73" y="52"/>
                      <a:pt x="66" y="47"/>
                      <a:pt x="59" y="43"/>
                    </a:cubicBezTo>
                    <a:cubicBezTo>
                      <a:pt x="52" y="39"/>
                      <a:pt x="46" y="34"/>
                      <a:pt x="39" y="29"/>
                    </a:cubicBezTo>
                    <a:cubicBezTo>
                      <a:pt x="32" y="25"/>
                      <a:pt x="26" y="20"/>
                      <a:pt x="19" y="15"/>
                    </a:cubicBezTo>
                    <a:cubicBezTo>
                      <a:pt x="13" y="10"/>
                      <a:pt x="6" y="5"/>
                      <a:pt x="0" y="0"/>
                    </a:cubicBezTo>
                    <a:cubicBezTo>
                      <a:pt x="7" y="4"/>
                      <a:pt x="14" y="8"/>
                      <a:pt x="21" y="12"/>
                    </a:cubicBezTo>
                    <a:cubicBezTo>
                      <a:pt x="28" y="17"/>
                      <a:pt x="35" y="21"/>
                      <a:pt x="41" y="26"/>
                    </a:cubicBezTo>
                    <a:cubicBezTo>
                      <a:pt x="48" y="31"/>
                      <a:pt x="55" y="35"/>
                      <a:pt x="61" y="40"/>
                    </a:cubicBezTo>
                    <a:cubicBezTo>
                      <a:pt x="67" y="45"/>
                      <a:pt x="74" y="50"/>
                      <a:pt x="80" y="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9">
                <a:extLst>
                  <a:ext uri="{FF2B5EF4-FFF2-40B4-BE49-F238E27FC236}">
                    <a16:creationId xmlns:a16="http://schemas.microsoft.com/office/drawing/2014/main" id="{FBF8F31E-9CF9-4FFF-AD1C-CE609BAA2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5" y="2877"/>
                <a:ext cx="145" cy="245"/>
              </a:xfrm>
              <a:custGeom>
                <a:avLst/>
                <a:gdLst>
                  <a:gd name="T0" fmla="*/ 80 w 145"/>
                  <a:gd name="T1" fmla="*/ 159 h 245"/>
                  <a:gd name="T2" fmla="*/ 111 w 145"/>
                  <a:gd name="T3" fmla="*/ 233 h 245"/>
                  <a:gd name="T4" fmla="*/ 80 w 145"/>
                  <a:gd name="T5" fmla="*/ 245 h 245"/>
                  <a:gd name="T6" fmla="*/ 50 w 145"/>
                  <a:gd name="T7" fmla="*/ 171 h 245"/>
                  <a:gd name="T8" fmla="*/ 0 w 145"/>
                  <a:gd name="T9" fmla="*/ 209 h 245"/>
                  <a:gd name="T10" fmla="*/ 0 w 145"/>
                  <a:gd name="T11" fmla="*/ 0 h 245"/>
                  <a:gd name="T12" fmla="*/ 145 w 145"/>
                  <a:gd name="T13" fmla="*/ 150 h 245"/>
                  <a:gd name="T14" fmla="*/ 80 w 145"/>
                  <a:gd name="T15" fmla="*/ 159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245">
                    <a:moveTo>
                      <a:pt x="80" y="159"/>
                    </a:moveTo>
                    <a:lnTo>
                      <a:pt x="111" y="233"/>
                    </a:lnTo>
                    <a:lnTo>
                      <a:pt x="80" y="245"/>
                    </a:lnTo>
                    <a:lnTo>
                      <a:pt x="50" y="171"/>
                    </a:lnTo>
                    <a:lnTo>
                      <a:pt x="0" y="209"/>
                    </a:lnTo>
                    <a:lnTo>
                      <a:pt x="0" y="0"/>
                    </a:lnTo>
                    <a:lnTo>
                      <a:pt x="145" y="150"/>
                    </a:lnTo>
                    <a:lnTo>
                      <a:pt x="80" y="159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30">
                <a:extLst>
                  <a:ext uri="{FF2B5EF4-FFF2-40B4-BE49-F238E27FC236}">
                    <a16:creationId xmlns:a16="http://schemas.microsoft.com/office/drawing/2014/main" id="{1AD1D5F1-812D-4A49-92C9-A0E689690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5" y="2877"/>
                <a:ext cx="145" cy="245"/>
              </a:xfrm>
              <a:custGeom>
                <a:avLst/>
                <a:gdLst>
                  <a:gd name="T0" fmla="*/ 80 w 145"/>
                  <a:gd name="T1" fmla="*/ 159 h 245"/>
                  <a:gd name="T2" fmla="*/ 111 w 145"/>
                  <a:gd name="T3" fmla="*/ 233 h 245"/>
                  <a:gd name="T4" fmla="*/ 80 w 145"/>
                  <a:gd name="T5" fmla="*/ 245 h 245"/>
                  <a:gd name="T6" fmla="*/ 50 w 145"/>
                  <a:gd name="T7" fmla="*/ 171 h 245"/>
                  <a:gd name="T8" fmla="*/ 0 w 145"/>
                  <a:gd name="T9" fmla="*/ 209 h 245"/>
                  <a:gd name="T10" fmla="*/ 0 w 145"/>
                  <a:gd name="T11" fmla="*/ 0 h 245"/>
                  <a:gd name="T12" fmla="*/ 145 w 145"/>
                  <a:gd name="T13" fmla="*/ 150 h 245"/>
                  <a:gd name="T14" fmla="*/ 80 w 145"/>
                  <a:gd name="T15" fmla="*/ 159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245">
                    <a:moveTo>
                      <a:pt x="80" y="159"/>
                    </a:moveTo>
                    <a:lnTo>
                      <a:pt x="111" y="233"/>
                    </a:lnTo>
                    <a:lnTo>
                      <a:pt x="80" y="245"/>
                    </a:lnTo>
                    <a:lnTo>
                      <a:pt x="50" y="171"/>
                    </a:lnTo>
                    <a:lnTo>
                      <a:pt x="0" y="209"/>
                    </a:lnTo>
                    <a:lnTo>
                      <a:pt x="0" y="0"/>
                    </a:lnTo>
                    <a:lnTo>
                      <a:pt x="145" y="150"/>
                    </a:lnTo>
                    <a:lnTo>
                      <a:pt x="80" y="15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1">
                <a:extLst>
                  <a:ext uri="{FF2B5EF4-FFF2-40B4-BE49-F238E27FC236}">
                    <a16:creationId xmlns:a16="http://schemas.microsoft.com/office/drawing/2014/main" id="{12DBB7F2-546E-4BA8-ACFE-24360FD09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2834"/>
                <a:ext cx="5" cy="22"/>
              </a:xfrm>
              <a:custGeom>
                <a:avLst/>
                <a:gdLst>
                  <a:gd name="T0" fmla="*/ 1 w 2"/>
                  <a:gd name="T1" fmla="*/ 9 h 9"/>
                  <a:gd name="T2" fmla="*/ 0 w 2"/>
                  <a:gd name="T3" fmla="*/ 4 h 9"/>
                  <a:gd name="T4" fmla="*/ 1 w 2"/>
                  <a:gd name="T5" fmla="*/ 0 h 9"/>
                  <a:gd name="T6" fmla="*/ 2 w 2"/>
                  <a:gd name="T7" fmla="*/ 4 h 9"/>
                  <a:gd name="T8" fmla="*/ 1 w 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1" y="9"/>
                    </a:moveTo>
                    <a:cubicBezTo>
                      <a:pt x="0" y="7"/>
                      <a:pt x="0" y="6"/>
                      <a:pt x="0" y="4"/>
                    </a:cubicBezTo>
                    <a:cubicBezTo>
                      <a:pt x="0" y="3"/>
                      <a:pt x="0" y="2"/>
                      <a:pt x="1" y="0"/>
                    </a:cubicBezTo>
                    <a:cubicBezTo>
                      <a:pt x="2" y="2"/>
                      <a:pt x="2" y="3"/>
                      <a:pt x="2" y="4"/>
                    </a:cubicBezTo>
                    <a:cubicBezTo>
                      <a:pt x="2" y="6"/>
                      <a:pt x="2" y="7"/>
                      <a:pt x="1" y="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2">
                <a:extLst>
                  <a:ext uri="{FF2B5EF4-FFF2-40B4-BE49-F238E27FC236}">
                    <a16:creationId xmlns:a16="http://schemas.microsoft.com/office/drawing/2014/main" id="{1D4785CF-8303-4D60-ACC8-E534D3660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2" y="2849"/>
                <a:ext cx="14" cy="14"/>
              </a:xfrm>
              <a:custGeom>
                <a:avLst/>
                <a:gdLst>
                  <a:gd name="T0" fmla="*/ 6 w 6"/>
                  <a:gd name="T1" fmla="*/ 6 h 6"/>
                  <a:gd name="T2" fmla="*/ 3 w 6"/>
                  <a:gd name="T3" fmla="*/ 3 h 6"/>
                  <a:gd name="T4" fmla="*/ 0 w 6"/>
                  <a:gd name="T5" fmla="*/ 0 h 6"/>
                  <a:gd name="T6" fmla="*/ 4 w 6"/>
                  <a:gd name="T7" fmla="*/ 2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cubicBezTo>
                      <a:pt x="5" y="5"/>
                      <a:pt x="4" y="5"/>
                      <a:pt x="3" y="3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2" y="0"/>
                      <a:pt x="3" y="1"/>
                      <a:pt x="4" y="2"/>
                    </a:cubicBezTo>
                    <a:cubicBezTo>
                      <a:pt x="5" y="3"/>
                      <a:pt x="6" y="5"/>
                      <a:pt x="6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3">
                <a:extLst>
                  <a:ext uri="{FF2B5EF4-FFF2-40B4-BE49-F238E27FC236}">
                    <a16:creationId xmlns:a16="http://schemas.microsoft.com/office/drawing/2014/main" id="{D13F80F8-4928-4929-9944-6C0EE8E35C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0" y="2880"/>
                <a:ext cx="19" cy="2"/>
              </a:xfrm>
              <a:custGeom>
                <a:avLst/>
                <a:gdLst>
                  <a:gd name="T0" fmla="*/ 8 w 8"/>
                  <a:gd name="T1" fmla="*/ 1 h 1"/>
                  <a:gd name="T2" fmla="*/ 4 w 8"/>
                  <a:gd name="T3" fmla="*/ 1 h 1"/>
                  <a:gd name="T4" fmla="*/ 0 w 8"/>
                  <a:gd name="T5" fmla="*/ 1 h 1"/>
                  <a:gd name="T6" fmla="*/ 4 w 8"/>
                  <a:gd name="T7" fmla="*/ 0 h 1"/>
                  <a:gd name="T8" fmla="*/ 8 w 8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cubicBezTo>
                      <a:pt x="7" y="1"/>
                      <a:pt x="5" y="1"/>
                      <a:pt x="4" y="1"/>
                    </a:cubicBezTo>
                    <a:cubicBezTo>
                      <a:pt x="2" y="1"/>
                      <a:pt x="1" y="1"/>
                      <a:pt x="0" y="1"/>
                    </a:cubicBezTo>
                    <a:cubicBezTo>
                      <a:pt x="1" y="0"/>
                      <a:pt x="2" y="0"/>
                      <a:pt x="4" y="0"/>
                    </a:cubicBezTo>
                    <a:cubicBezTo>
                      <a:pt x="5" y="0"/>
                      <a:pt x="7" y="0"/>
                      <a:pt x="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34">
                <a:extLst>
                  <a:ext uri="{FF2B5EF4-FFF2-40B4-BE49-F238E27FC236}">
                    <a16:creationId xmlns:a16="http://schemas.microsoft.com/office/drawing/2014/main" id="{9F4E80BE-05DB-4CB1-9B64-8A73667AF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2" y="2899"/>
                <a:ext cx="14" cy="14"/>
              </a:xfrm>
              <a:custGeom>
                <a:avLst/>
                <a:gdLst>
                  <a:gd name="T0" fmla="*/ 6 w 6"/>
                  <a:gd name="T1" fmla="*/ 0 h 6"/>
                  <a:gd name="T2" fmla="*/ 4 w 6"/>
                  <a:gd name="T3" fmla="*/ 4 h 6"/>
                  <a:gd name="T4" fmla="*/ 0 w 6"/>
                  <a:gd name="T5" fmla="*/ 6 h 6"/>
                  <a:gd name="T6" fmla="*/ 3 w 6"/>
                  <a:gd name="T7" fmla="*/ 3 h 6"/>
                  <a:gd name="T8" fmla="*/ 6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cubicBezTo>
                      <a:pt x="6" y="2"/>
                      <a:pt x="5" y="3"/>
                      <a:pt x="4" y="4"/>
                    </a:cubicBezTo>
                    <a:cubicBezTo>
                      <a:pt x="3" y="5"/>
                      <a:pt x="2" y="6"/>
                      <a:pt x="0" y="6"/>
                    </a:cubicBezTo>
                    <a:cubicBezTo>
                      <a:pt x="1" y="5"/>
                      <a:pt x="2" y="4"/>
                      <a:pt x="3" y="3"/>
                    </a:cubicBezTo>
                    <a:cubicBezTo>
                      <a:pt x="4" y="2"/>
                      <a:pt x="5" y="1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35">
                <a:extLst>
                  <a:ext uri="{FF2B5EF4-FFF2-40B4-BE49-F238E27FC236}">
                    <a16:creationId xmlns:a16="http://schemas.microsoft.com/office/drawing/2014/main" id="{8613CEC0-0D7E-4052-94BE-B286B49B7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1" y="2880"/>
                <a:ext cx="21" cy="2"/>
              </a:xfrm>
              <a:custGeom>
                <a:avLst/>
                <a:gdLst>
                  <a:gd name="T0" fmla="*/ 0 w 9"/>
                  <a:gd name="T1" fmla="*/ 1 h 1"/>
                  <a:gd name="T2" fmla="*/ 4 w 9"/>
                  <a:gd name="T3" fmla="*/ 0 h 1"/>
                  <a:gd name="T4" fmla="*/ 9 w 9"/>
                  <a:gd name="T5" fmla="*/ 1 h 1"/>
                  <a:gd name="T6" fmla="*/ 4 w 9"/>
                  <a:gd name="T7" fmla="*/ 1 h 1"/>
                  <a:gd name="T8" fmla="*/ 0 w 9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">
                    <a:moveTo>
                      <a:pt x="0" y="1"/>
                    </a:moveTo>
                    <a:cubicBezTo>
                      <a:pt x="1" y="0"/>
                      <a:pt x="3" y="0"/>
                      <a:pt x="4" y="0"/>
                    </a:cubicBezTo>
                    <a:cubicBezTo>
                      <a:pt x="6" y="0"/>
                      <a:pt x="7" y="0"/>
                      <a:pt x="9" y="1"/>
                    </a:cubicBezTo>
                    <a:cubicBezTo>
                      <a:pt x="7" y="1"/>
                      <a:pt x="6" y="1"/>
                      <a:pt x="4" y="1"/>
                    </a:cubicBezTo>
                    <a:cubicBezTo>
                      <a:pt x="3" y="1"/>
                      <a:pt x="1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36">
                <a:extLst>
                  <a:ext uri="{FF2B5EF4-FFF2-40B4-BE49-F238E27FC236}">
                    <a16:creationId xmlns:a16="http://schemas.microsoft.com/office/drawing/2014/main" id="{CFE5D00F-645F-4BA0-9FA3-27FF445F1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" y="2849"/>
                <a:ext cx="14" cy="14"/>
              </a:xfrm>
              <a:custGeom>
                <a:avLst/>
                <a:gdLst>
                  <a:gd name="T0" fmla="*/ 0 w 6"/>
                  <a:gd name="T1" fmla="*/ 6 h 6"/>
                  <a:gd name="T2" fmla="*/ 2 w 6"/>
                  <a:gd name="T3" fmla="*/ 2 h 6"/>
                  <a:gd name="T4" fmla="*/ 6 w 6"/>
                  <a:gd name="T5" fmla="*/ 0 h 6"/>
                  <a:gd name="T6" fmla="*/ 3 w 6"/>
                  <a:gd name="T7" fmla="*/ 3 h 6"/>
                  <a:gd name="T8" fmla="*/ 0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cubicBezTo>
                      <a:pt x="0" y="5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2" y="5"/>
                      <a:pt x="1" y="5"/>
                      <a:pt x="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37">
                <a:extLst>
                  <a:ext uri="{FF2B5EF4-FFF2-40B4-BE49-F238E27FC236}">
                    <a16:creationId xmlns:a16="http://schemas.microsoft.com/office/drawing/2014/main" id="{BA90977B-2B72-4546-8F4E-FCC053886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3" y="2542"/>
                <a:ext cx="453" cy="551"/>
              </a:xfrm>
              <a:custGeom>
                <a:avLst/>
                <a:gdLst>
                  <a:gd name="T0" fmla="*/ 358 w 453"/>
                  <a:gd name="T1" fmla="*/ 551 h 551"/>
                  <a:gd name="T2" fmla="*/ 0 w 453"/>
                  <a:gd name="T3" fmla="*/ 461 h 551"/>
                  <a:gd name="T4" fmla="*/ 116 w 453"/>
                  <a:gd name="T5" fmla="*/ 0 h 551"/>
                  <a:gd name="T6" fmla="*/ 382 w 453"/>
                  <a:gd name="T7" fmla="*/ 69 h 551"/>
                  <a:gd name="T8" fmla="*/ 453 w 453"/>
                  <a:gd name="T9" fmla="*/ 181 h 551"/>
                  <a:gd name="T10" fmla="*/ 358 w 453"/>
                  <a:gd name="T11" fmla="*/ 551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3" h="551">
                    <a:moveTo>
                      <a:pt x="358" y="551"/>
                    </a:moveTo>
                    <a:lnTo>
                      <a:pt x="0" y="461"/>
                    </a:lnTo>
                    <a:lnTo>
                      <a:pt x="116" y="0"/>
                    </a:lnTo>
                    <a:lnTo>
                      <a:pt x="382" y="69"/>
                    </a:lnTo>
                    <a:lnTo>
                      <a:pt x="453" y="181"/>
                    </a:lnTo>
                    <a:lnTo>
                      <a:pt x="358" y="55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8">
                <a:extLst>
                  <a:ext uri="{FF2B5EF4-FFF2-40B4-BE49-F238E27FC236}">
                    <a16:creationId xmlns:a16="http://schemas.microsoft.com/office/drawing/2014/main" id="{DDF5445E-BFF6-4974-BB69-28A4350B0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3" y="2542"/>
                <a:ext cx="453" cy="551"/>
              </a:xfrm>
              <a:custGeom>
                <a:avLst/>
                <a:gdLst>
                  <a:gd name="T0" fmla="*/ 358 w 453"/>
                  <a:gd name="T1" fmla="*/ 551 h 551"/>
                  <a:gd name="T2" fmla="*/ 0 w 453"/>
                  <a:gd name="T3" fmla="*/ 461 h 551"/>
                  <a:gd name="T4" fmla="*/ 116 w 453"/>
                  <a:gd name="T5" fmla="*/ 0 h 551"/>
                  <a:gd name="T6" fmla="*/ 382 w 453"/>
                  <a:gd name="T7" fmla="*/ 69 h 551"/>
                  <a:gd name="T8" fmla="*/ 453 w 453"/>
                  <a:gd name="T9" fmla="*/ 181 h 551"/>
                  <a:gd name="T10" fmla="*/ 358 w 453"/>
                  <a:gd name="T11" fmla="*/ 551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3" h="551">
                    <a:moveTo>
                      <a:pt x="358" y="551"/>
                    </a:moveTo>
                    <a:lnTo>
                      <a:pt x="0" y="461"/>
                    </a:lnTo>
                    <a:lnTo>
                      <a:pt x="116" y="0"/>
                    </a:lnTo>
                    <a:lnTo>
                      <a:pt x="382" y="69"/>
                    </a:lnTo>
                    <a:lnTo>
                      <a:pt x="453" y="181"/>
                    </a:lnTo>
                    <a:lnTo>
                      <a:pt x="358" y="55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9">
                <a:extLst>
                  <a:ext uri="{FF2B5EF4-FFF2-40B4-BE49-F238E27FC236}">
                    <a16:creationId xmlns:a16="http://schemas.microsoft.com/office/drawing/2014/main" id="{47D8F44E-660A-4461-8F26-69726C1CF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4" y="2611"/>
                <a:ext cx="92" cy="112"/>
              </a:xfrm>
              <a:custGeom>
                <a:avLst/>
                <a:gdLst>
                  <a:gd name="T0" fmla="*/ 21 w 92"/>
                  <a:gd name="T1" fmla="*/ 0 h 112"/>
                  <a:gd name="T2" fmla="*/ 92 w 92"/>
                  <a:gd name="T3" fmla="*/ 112 h 112"/>
                  <a:gd name="T4" fmla="*/ 0 w 92"/>
                  <a:gd name="T5" fmla="*/ 88 h 112"/>
                  <a:gd name="T6" fmla="*/ 21 w 92"/>
                  <a:gd name="T7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" h="112">
                    <a:moveTo>
                      <a:pt x="21" y="0"/>
                    </a:moveTo>
                    <a:lnTo>
                      <a:pt x="92" y="112"/>
                    </a:lnTo>
                    <a:lnTo>
                      <a:pt x="0" y="88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40">
                <a:extLst>
                  <a:ext uri="{FF2B5EF4-FFF2-40B4-BE49-F238E27FC236}">
                    <a16:creationId xmlns:a16="http://schemas.microsoft.com/office/drawing/2014/main" id="{BA459F73-155A-45BF-A9C9-A08D9374D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3" y="2628"/>
                <a:ext cx="202" cy="64"/>
              </a:xfrm>
              <a:custGeom>
                <a:avLst/>
                <a:gdLst>
                  <a:gd name="T0" fmla="*/ 3 w 202"/>
                  <a:gd name="T1" fmla="*/ 0 h 64"/>
                  <a:gd name="T2" fmla="*/ 202 w 202"/>
                  <a:gd name="T3" fmla="*/ 52 h 64"/>
                  <a:gd name="T4" fmla="*/ 197 w 202"/>
                  <a:gd name="T5" fmla="*/ 64 h 64"/>
                  <a:gd name="T6" fmla="*/ 0 w 202"/>
                  <a:gd name="T7" fmla="*/ 12 h 64"/>
                  <a:gd name="T8" fmla="*/ 3 w 202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64">
                    <a:moveTo>
                      <a:pt x="3" y="0"/>
                    </a:moveTo>
                    <a:lnTo>
                      <a:pt x="202" y="52"/>
                    </a:lnTo>
                    <a:lnTo>
                      <a:pt x="197" y="64"/>
                    </a:lnTo>
                    <a:lnTo>
                      <a:pt x="0" y="1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41">
                <a:extLst>
                  <a:ext uri="{FF2B5EF4-FFF2-40B4-BE49-F238E27FC236}">
                    <a16:creationId xmlns:a16="http://schemas.microsoft.com/office/drawing/2014/main" id="{CDD80E1A-29AC-4916-A105-23DCA5529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" y="2659"/>
                <a:ext cx="202" cy="61"/>
              </a:xfrm>
              <a:custGeom>
                <a:avLst/>
                <a:gdLst>
                  <a:gd name="T0" fmla="*/ 5 w 202"/>
                  <a:gd name="T1" fmla="*/ 0 h 61"/>
                  <a:gd name="T2" fmla="*/ 202 w 202"/>
                  <a:gd name="T3" fmla="*/ 50 h 61"/>
                  <a:gd name="T4" fmla="*/ 199 w 202"/>
                  <a:gd name="T5" fmla="*/ 61 h 61"/>
                  <a:gd name="T6" fmla="*/ 0 w 202"/>
                  <a:gd name="T7" fmla="*/ 12 h 61"/>
                  <a:gd name="T8" fmla="*/ 5 w 202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61">
                    <a:moveTo>
                      <a:pt x="5" y="0"/>
                    </a:moveTo>
                    <a:lnTo>
                      <a:pt x="202" y="50"/>
                    </a:lnTo>
                    <a:lnTo>
                      <a:pt x="199" y="61"/>
                    </a:lnTo>
                    <a:lnTo>
                      <a:pt x="0" y="1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42">
                <a:extLst>
                  <a:ext uri="{FF2B5EF4-FFF2-40B4-BE49-F238E27FC236}">
                    <a16:creationId xmlns:a16="http://schemas.microsoft.com/office/drawing/2014/main" id="{B5362CBA-4AFB-492E-A96B-425FF47B5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7" y="2687"/>
                <a:ext cx="202" cy="64"/>
              </a:xfrm>
              <a:custGeom>
                <a:avLst/>
                <a:gdLst>
                  <a:gd name="T0" fmla="*/ 2 w 202"/>
                  <a:gd name="T1" fmla="*/ 0 h 64"/>
                  <a:gd name="T2" fmla="*/ 202 w 202"/>
                  <a:gd name="T3" fmla="*/ 52 h 64"/>
                  <a:gd name="T4" fmla="*/ 199 w 202"/>
                  <a:gd name="T5" fmla="*/ 64 h 64"/>
                  <a:gd name="T6" fmla="*/ 0 w 202"/>
                  <a:gd name="T7" fmla="*/ 12 h 64"/>
                  <a:gd name="T8" fmla="*/ 2 w 202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64">
                    <a:moveTo>
                      <a:pt x="2" y="0"/>
                    </a:moveTo>
                    <a:lnTo>
                      <a:pt x="202" y="52"/>
                    </a:lnTo>
                    <a:lnTo>
                      <a:pt x="199" y="64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43">
                <a:extLst>
                  <a:ext uri="{FF2B5EF4-FFF2-40B4-BE49-F238E27FC236}">
                    <a16:creationId xmlns:a16="http://schemas.microsoft.com/office/drawing/2014/main" id="{1172E7A3-A5D8-4E4B-93F7-F4309A615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0" y="2718"/>
                <a:ext cx="294" cy="88"/>
              </a:xfrm>
              <a:custGeom>
                <a:avLst/>
                <a:gdLst>
                  <a:gd name="T0" fmla="*/ 2 w 294"/>
                  <a:gd name="T1" fmla="*/ 0 h 88"/>
                  <a:gd name="T2" fmla="*/ 294 w 294"/>
                  <a:gd name="T3" fmla="*/ 76 h 88"/>
                  <a:gd name="T4" fmla="*/ 292 w 294"/>
                  <a:gd name="T5" fmla="*/ 88 h 88"/>
                  <a:gd name="T6" fmla="*/ 0 w 294"/>
                  <a:gd name="T7" fmla="*/ 12 h 88"/>
                  <a:gd name="T8" fmla="*/ 2 w 294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8">
                    <a:moveTo>
                      <a:pt x="2" y="0"/>
                    </a:moveTo>
                    <a:lnTo>
                      <a:pt x="294" y="76"/>
                    </a:lnTo>
                    <a:lnTo>
                      <a:pt x="292" y="88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44">
                <a:extLst>
                  <a:ext uri="{FF2B5EF4-FFF2-40B4-BE49-F238E27FC236}">
                    <a16:creationId xmlns:a16="http://schemas.microsoft.com/office/drawing/2014/main" id="{4226F4B9-AD58-4F97-A7B8-5688949B6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" y="2749"/>
                <a:ext cx="294" cy="85"/>
              </a:xfrm>
              <a:custGeom>
                <a:avLst/>
                <a:gdLst>
                  <a:gd name="T0" fmla="*/ 2 w 294"/>
                  <a:gd name="T1" fmla="*/ 0 h 85"/>
                  <a:gd name="T2" fmla="*/ 294 w 294"/>
                  <a:gd name="T3" fmla="*/ 74 h 85"/>
                  <a:gd name="T4" fmla="*/ 291 w 294"/>
                  <a:gd name="T5" fmla="*/ 85 h 85"/>
                  <a:gd name="T6" fmla="*/ 0 w 294"/>
                  <a:gd name="T7" fmla="*/ 12 h 85"/>
                  <a:gd name="T8" fmla="*/ 2 w 294"/>
                  <a:gd name="T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5">
                    <a:moveTo>
                      <a:pt x="2" y="0"/>
                    </a:moveTo>
                    <a:lnTo>
                      <a:pt x="294" y="74"/>
                    </a:lnTo>
                    <a:lnTo>
                      <a:pt x="291" y="85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45">
                <a:extLst>
                  <a:ext uri="{FF2B5EF4-FFF2-40B4-BE49-F238E27FC236}">
                    <a16:creationId xmlns:a16="http://schemas.microsoft.com/office/drawing/2014/main" id="{B101627C-A7B7-41A5-B621-DD64E1629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3" y="2777"/>
                <a:ext cx="297" cy="88"/>
              </a:xfrm>
              <a:custGeom>
                <a:avLst/>
                <a:gdLst>
                  <a:gd name="T0" fmla="*/ 5 w 297"/>
                  <a:gd name="T1" fmla="*/ 0 h 88"/>
                  <a:gd name="T2" fmla="*/ 297 w 297"/>
                  <a:gd name="T3" fmla="*/ 76 h 88"/>
                  <a:gd name="T4" fmla="*/ 292 w 297"/>
                  <a:gd name="T5" fmla="*/ 88 h 88"/>
                  <a:gd name="T6" fmla="*/ 0 w 297"/>
                  <a:gd name="T7" fmla="*/ 12 h 88"/>
                  <a:gd name="T8" fmla="*/ 5 w 297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" h="88">
                    <a:moveTo>
                      <a:pt x="5" y="0"/>
                    </a:moveTo>
                    <a:lnTo>
                      <a:pt x="297" y="76"/>
                    </a:lnTo>
                    <a:lnTo>
                      <a:pt x="292" y="88"/>
                    </a:lnTo>
                    <a:lnTo>
                      <a:pt x="0" y="1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46">
                <a:extLst>
                  <a:ext uri="{FF2B5EF4-FFF2-40B4-BE49-F238E27FC236}">
                    <a16:creationId xmlns:a16="http://schemas.microsoft.com/office/drawing/2014/main" id="{BB53D716-0A76-49A7-89E8-5DE36424E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" y="2808"/>
                <a:ext cx="294" cy="86"/>
              </a:xfrm>
              <a:custGeom>
                <a:avLst/>
                <a:gdLst>
                  <a:gd name="T0" fmla="*/ 5 w 294"/>
                  <a:gd name="T1" fmla="*/ 0 h 86"/>
                  <a:gd name="T2" fmla="*/ 294 w 294"/>
                  <a:gd name="T3" fmla="*/ 74 h 86"/>
                  <a:gd name="T4" fmla="*/ 292 w 294"/>
                  <a:gd name="T5" fmla="*/ 86 h 86"/>
                  <a:gd name="T6" fmla="*/ 0 w 294"/>
                  <a:gd name="T7" fmla="*/ 12 h 86"/>
                  <a:gd name="T8" fmla="*/ 5 w 294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6">
                    <a:moveTo>
                      <a:pt x="5" y="0"/>
                    </a:moveTo>
                    <a:lnTo>
                      <a:pt x="294" y="74"/>
                    </a:lnTo>
                    <a:lnTo>
                      <a:pt x="292" y="86"/>
                    </a:lnTo>
                    <a:lnTo>
                      <a:pt x="0" y="1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47">
                <a:extLst>
                  <a:ext uri="{FF2B5EF4-FFF2-40B4-BE49-F238E27FC236}">
                    <a16:creationId xmlns:a16="http://schemas.microsoft.com/office/drawing/2014/main" id="{A4526220-07DB-43FE-BC37-F05A8BE29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" y="2837"/>
                <a:ext cx="294" cy="88"/>
              </a:xfrm>
              <a:custGeom>
                <a:avLst/>
                <a:gdLst>
                  <a:gd name="T0" fmla="*/ 2 w 294"/>
                  <a:gd name="T1" fmla="*/ 0 h 88"/>
                  <a:gd name="T2" fmla="*/ 294 w 294"/>
                  <a:gd name="T3" fmla="*/ 76 h 88"/>
                  <a:gd name="T4" fmla="*/ 292 w 294"/>
                  <a:gd name="T5" fmla="*/ 88 h 88"/>
                  <a:gd name="T6" fmla="*/ 0 w 294"/>
                  <a:gd name="T7" fmla="*/ 12 h 88"/>
                  <a:gd name="T8" fmla="*/ 2 w 294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8">
                    <a:moveTo>
                      <a:pt x="2" y="0"/>
                    </a:moveTo>
                    <a:lnTo>
                      <a:pt x="294" y="76"/>
                    </a:lnTo>
                    <a:lnTo>
                      <a:pt x="292" y="88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48">
                <a:extLst>
                  <a:ext uri="{FF2B5EF4-FFF2-40B4-BE49-F238E27FC236}">
                    <a16:creationId xmlns:a16="http://schemas.microsoft.com/office/drawing/2014/main" id="{8168BC5E-481D-4C1E-A88D-676F9B72B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2868"/>
                <a:ext cx="294" cy="85"/>
              </a:xfrm>
              <a:custGeom>
                <a:avLst/>
                <a:gdLst>
                  <a:gd name="T0" fmla="*/ 2 w 294"/>
                  <a:gd name="T1" fmla="*/ 0 h 85"/>
                  <a:gd name="T2" fmla="*/ 294 w 294"/>
                  <a:gd name="T3" fmla="*/ 73 h 85"/>
                  <a:gd name="T4" fmla="*/ 292 w 294"/>
                  <a:gd name="T5" fmla="*/ 85 h 85"/>
                  <a:gd name="T6" fmla="*/ 0 w 294"/>
                  <a:gd name="T7" fmla="*/ 12 h 85"/>
                  <a:gd name="T8" fmla="*/ 2 w 294"/>
                  <a:gd name="T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5">
                    <a:moveTo>
                      <a:pt x="2" y="0"/>
                    </a:moveTo>
                    <a:lnTo>
                      <a:pt x="294" y="73"/>
                    </a:lnTo>
                    <a:lnTo>
                      <a:pt x="292" y="85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49">
                <a:extLst>
                  <a:ext uri="{FF2B5EF4-FFF2-40B4-BE49-F238E27FC236}">
                    <a16:creationId xmlns:a16="http://schemas.microsoft.com/office/drawing/2014/main" id="{B08AD7B5-C6C0-4E80-BCD8-92A30D137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2" y="2868"/>
                <a:ext cx="294" cy="85"/>
              </a:xfrm>
              <a:custGeom>
                <a:avLst/>
                <a:gdLst>
                  <a:gd name="T0" fmla="*/ 2 w 294"/>
                  <a:gd name="T1" fmla="*/ 0 h 85"/>
                  <a:gd name="T2" fmla="*/ 294 w 294"/>
                  <a:gd name="T3" fmla="*/ 73 h 85"/>
                  <a:gd name="T4" fmla="*/ 292 w 294"/>
                  <a:gd name="T5" fmla="*/ 85 h 85"/>
                  <a:gd name="T6" fmla="*/ 0 w 294"/>
                  <a:gd name="T7" fmla="*/ 12 h 85"/>
                  <a:gd name="T8" fmla="*/ 2 w 294"/>
                  <a:gd name="T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5">
                    <a:moveTo>
                      <a:pt x="2" y="0"/>
                    </a:moveTo>
                    <a:lnTo>
                      <a:pt x="294" y="73"/>
                    </a:lnTo>
                    <a:lnTo>
                      <a:pt x="292" y="85"/>
                    </a:lnTo>
                    <a:lnTo>
                      <a:pt x="0" y="1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50">
                <a:extLst>
                  <a:ext uri="{FF2B5EF4-FFF2-40B4-BE49-F238E27FC236}">
                    <a16:creationId xmlns:a16="http://schemas.microsoft.com/office/drawing/2014/main" id="{600DB0C7-CEA9-4DC2-BA84-F2335138E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" y="2896"/>
                <a:ext cx="294" cy="88"/>
              </a:xfrm>
              <a:custGeom>
                <a:avLst/>
                <a:gdLst>
                  <a:gd name="T0" fmla="*/ 2 w 294"/>
                  <a:gd name="T1" fmla="*/ 0 h 88"/>
                  <a:gd name="T2" fmla="*/ 294 w 294"/>
                  <a:gd name="T3" fmla="*/ 76 h 88"/>
                  <a:gd name="T4" fmla="*/ 289 w 294"/>
                  <a:gd name="T5" fmla="*/ 88 h 88"/>
                  <a:gd name="T6" fmla="*/ 0 w 294"/>
                  <a:gd name="T7" fmla="*/ 12 h 88"/>
                  <a:gd name="T8" fmla="*/ 2 w 294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8">
                    <a:moveTo>
                      <a:pt x="2" y="0"/>
                    </a:moveTo>
                    <a:lnTo>
                      <a:pt x="294" y="76"/>
                    </a:lnTo>
                    <a:lnTo>
                      <a:pt x="289" y="88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51">
                <a:extLst>
                  <a:ext uri="{FF2B5EF4-FFF2-40B4-BE49-F238E27FC236}">
                    <a16:creationId xmlns:a16="http://schemas.microsoft.com/office/drawing/2014/main" id="{317B9D3B-40E0-44DA-867C-C1CAB5AB3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" y="2896"/>
                <a:ext cx="294" cy="88"/>
              </a:xfrm>
              <a:custGeom>
                <a:avLst/>
                <a:gdLst>
                  <a:gd name="T0" fmla="*/ 2 w 294"/>
                  <a:gd name="T1" fmla="*/ 0 h 88"/>
                  <a:gd name="T2" fmla="*/ 294 w 294"/>
                  <a:gd name="T3" fmla="*/ 76 h 88"/>
                  <a:gd name="T4" fmla="*/ 289 w 294"/>
                  <a:gd name="T5" fmla="*/ 88 h 88"/>
                  <a:gd name="T6" fmla="*/ 0 w 294"/>
                  <a:gd name="T7" fmla="*/ 12 h 88"/>
                  <a:gd name="T8" fmla="*/ 2 w 294"/>
                  <a:gd name="T9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8">
                    <a:moveTo>
                      <a:pt x="2" y="0"/>
                    </a:moveTo>
                    <a:lnTo>
                      <a:pt x="294" y="76"/>
                    </a:lnTo>
                    <a:lnTo>
                      <a:pt x="289" y="88"/>
                    </a:lnTo>
                    <a:lnTo>
                      <a:pt x="0" y="12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52">
                <a:extLst>
                  <a:ext uri="{FF2B5EF4-FFF2-40B4-BE49-F238E27FC236}">
                    <a16:creationId xmlns:a16="http://schemas.microsoft.com/office/drawing/2014/main" id="{125A8CA7-9BD4-4E42-B0B7-045F4149D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5" y="2927"/>
                <a:ext cx="294" cy="86"/>
              </a:xfrm>
              <a:custGeom>
                <a:avLst/>
                <a:gdLst>
                  <a:gd name="T0" fmla="*/ 5 w 294"/>
                  <a:gd name="T1" fmla="*/ 0 h 86"/>
                  <a:gd name="T2" fmla="*/ 294 w 294"/>
                  <a:gd name="T3" fmla="*/ 74 h 86"/>
                  <a:gd name="T4" fmla="*/ 292 w 294"/>
                  <a:gd name="T5" fmla="*/ 86 h 86"/>
                  <a:gd name="T6" fmla="*/ 0 w 294"/>
                  <a:gd name="T7" fmla="*/ 12 h 86"/>
                  <a:gd name="T8" fmla="*/ 5 w 294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6">
                    <a:moveTo>
                      <a:pt x="5" y="0"/>
                    </a:moveTo>
                    <a:lnTo>
                      <a:pt x="294" y="74"/>
                    </a:lnTo>
                    <a:lnTo>
                      <a:pt x="292" y="86"/>
                    </a:lnTo>
                    <a:lnTo>
                      <a:pt x="0" y="1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53">
                <a:extLst>
                  <a:ext uri="{FF2B5EF4-FFF2-40B4-BE49-F238E27FC236}">
                    <a16:creationId xmlns:a16="http://schemas.microsoft.com/office/drawing/2014/main" id="{2D7413A3-F872-420C-A33A-7A203D05A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5" y="2927"/>
                <a:ext cx="294" cy="86"/>
              </a:xfrm>
              <a:custGeom>
                <a:avLst/>
                <a:gdLst>
                  <a:gd name="T0" fmla="*/ 5 w 294"/>
                  <a:gd name="T1" fmla="*/ 0 h 86"/>
                  <a:gd name="T2" fmla="*/ 294 w 294"/>
                  <a:gd name="T3" fmla="*/ 74 h 86"/>
                  <a:gd name="T4" fmla="*/ 292 w 294"/>
                  <a:gd name="T5" fmla="*/ 86 h 86"/>
                  <a:gd name="T6" fmla="*/ 0 w 294"/>
                  <a:gd name="T7" fmla="*/ 12 h 86"/>
                  <a:gd name="T8" fmla="*/ 5 w 294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6">
                    <a:moveTo>
                      <a:pt x="5" y="0"/>
                    </a:moveTo>
                    <a:lnTo>
                      <a:pt x="294" y="74"/>
                    </a:lnTo>
                    <a:lnTo>
                      <a:pt x="292" y="86"/>
                    </a:lnTo>
                    <a:lnTo>
                      <a:pt x="0" y="12"/>
                    </a:lnTo>
                    <a:lnTo>
                      <a:pt x="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54">
                <a:extLst>
                  <a:ext uri="{FF2B5EF4-FFF2-40B4-BE49-F238E27FC236}">
                    <a16:creationId xmlns:a16="http://schemas.microsoft.com/office/drawing/2014/main" id="{D11D6A2D-AD97-49B7-A6BE-B9F385D31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" y="2956"/>
                <a:ext cx="294" cy="87"/>
              </a:xfrm>
              <a:custGeom>
                <a:avLst/>
                <a:gdLst>
                  <a:gd name="T0" fmla="*/ 2 w 294"/>
                  <a:gd name="T1" fmla="*/ 0 h 87"/>
                  <a:gd name="T2" fmla="*/ 294 w 294"/>
                  <a:gd name="T3" fmla="*/ 76 h 87"/>
                  <a:gd name="T4" fmla="*/ 292 w 294"/>
                  <a:gd name="T5" fmla="*/ 87 h 87"/>
                  <a:gd name="T6" fmla="*/ 0 w 294"/>
                  <a:gd name="T7" fmla="*/ 11 h 87"/>
                  <a:gd name="T8" fmla="*/ 2 w 294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7">
                    <a:moveTo>
                      <a:pt x="2" y="0"/>
                    </a:moveTo>
                    <a:lnTo>
                      <a:pt x="294" y="76"/>
                    </a:lnTo>
                    <a:lnTo>
                      <a:pt x="292" y="87"/>
                    </a:lnTo>
                    <a:lnTo>
                      <a:pt x="0" y="1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55">
                <a:extLst>
                  <a:ext uri="{FF2B5EF4-FFF2-40B4-BE49-F238E27FC236}">
                    <a16:creationId xmlns:a16="http://schemas.microsoft.com/office/drawing/2014/main" id="{6161B6A1-CF21-439F-88FA-3D2E0E2B6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" y="2956"/>
                <a:ext cx="294" cy="87"/>
              </a:xfrm>
              <a:custGeom>
                <a:avLst/>
                <a:gdLst>
                  <a:gd name="T0" fmla="*/ 2 w 294"/>
                  <a:gd name="T1" fmla="*/ 0 h 87"/>
                  <a:gd name="T2" fmla="*/ 294 w 294"/>
                  <a:gd name="T3" fmla="*/ 76 h 87"/>
                  <a:gd name="T4" fmla="*/ 292 w 294"/>
                  <a:gd name="T5" fmla="*/ 87 h 87"/>
                  <a:gd name="T6" fmla="*/ 0 w 294"/>
                  <a:gd name="T7" fmla="*/ 11 h 87"/>
                  <a:gd name="T8" fmla="*/ 2 w 294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7">
                    <a:moveTo>
                      <a:pt x="2" y="0"/>
                    </a:moveTo>
                    <a:lnTo>
                      <a:pt x="294" y="76"/>
                    </a:lnTo>
                    <a:lnTo>
                      <a:pt x="292" y="87"/>
                    </a:lnTo>
                    <a:lnTo>
                      <a:pt x="0" y="11"/>
                    </a:lnTo>
                    <a:lnTo>
                      <a:pt x="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56">
                <a:extLst>
                  <a:ext uri="{FF2B5EF4-FFF2-40B4-BE49-F238E27FC236}">
                    <a16:creationId xmlns:a16="http://schemas.microsoft.com/office/drawing/2014/main" id="{0379BA23-04D3-4727-8D1A-954A1A4F1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5" y="2136"/>
                <a:ext cx="475" cy="326"/>
              </a:xfrm>
              <a:custGeom>
                <a:avLst/>
                <a:gdLst>
                  <a:gd name="T0" fmla="*/ 0 w 475"/>
                  <a:gd name="T1" fmla="*/ 309 h 326"/>
                  <a:gd name="T2" fmla="*/ 463 w 475"/>
                  <a:gd name="T3" fmla="*/ 326 h 326"/>
                  <a:gd name="T4" fmla="*/ 475 w 475"/>
                  <a:gd name="T5" fmla="*/ 17 h 326"/>
                  <a:gd name="T6" fmla="*/ 12 w 475"/>
                  <a:gd name="T7" fmla="*/ 0 h 326"/>
                  <a:gd name="T8" fmla="*/ 0 w 475"/>
                  <a:gd name="T9" fmla="*/ 309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5" h="326">
                    <a:moveTo>
                      <a:pt x="0" y="309"/>
                    </a:moveTo>
                    <a:lnTo>
                      <a:pt x="463" y="326"/>
                    </a:lnTo>
                    <a:lnTo>
                      <a:pt x="475" y="17"/>
                    </a:lnTo>
                    <a:lnTo>
                      <a:pt x="12" y="0"/>
                    </a:lnTo>
                    <a:lnTo>
                      <a:pt x="0" y="309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57">
                <a:extLst>
                  <a:ext uri="{FF2B5EF4-FFF2-40B4-BE49-F238E27FC236}">
                    <a16:creationId xmlns:a16="http://schemas.microsoft.com/office/drawing/2014/main" id="{EC1E25BC-7054-4BCD-B56A-BDE535D75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7" y="2155"/>
                <a:ext cx="432" cy="288"/>
              </a:xfrm>
              <a:custGeom>
                <a:avLst/>
                <a:gdLst>
                  <a:gd name="T0" fmla="*/ 0 w 432"/>
                  <a:gd name="T1" fmla="*/ 271 h 288"/>
                  <a:gd name="T2" fmla="*/ 422 w 432"/>
                  <a:gd name="T3" fmla="*/ 288 h 288"/>
                  <a:gd name="T4" fmla="*/ 432 w 432"/>
                  <a:gd name="T5" fmla="*/ 17 h 288"/>
                  <a:gd name="T6" fmla="*/ 9 w 432"/>
                  <a:gd name="T7" fmla="*/ 0 h 288"/>
                  <a:gd name="T8" fmla="*/ 0 w 432"/>
                  <a:gd name="T9" fmla="*/ 271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288">
                    <a:moveTo>
                      <a:pt x="0" y="271"/>
                    </a:moveTo>
                    <a:lnTo>
                      <a:pt x="422" y="288"/>
                    </a:lnTo>
                    <a:lnTo>
                      <a:pt x="432" y="17"/>
                    </a:lnTo>
                    <a:lnTo>
                      <a:pt x="9" y="0"/>
                    </a:lnTo>
                    <a:lnTo>
                      <a:pt x="0" y="27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58">
                <a:extLst>
                  <a:ext uri="{FF2B5EF4-FFF2-40B4-BE49-F238E27FC236}">
                    <a16:creationId xmlns:a16="http://schemas.microsoft.com/office/drawing/2014/main" id="{AA47E318-EDBF-4BBD-A95F-CBFEC6150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0" y="2196"/>
                <a:ext cx="94" cy="95"/>
              </a:xfrm>
              <a:custGeom>
                <a:avLst/>
                <a:gdLst>
                  <a:gd name="T0" fmla="*/ 1 w 40"/>
                  <a:gd name="T1" fmla="*/ 20 h 40"/>
                  <a:gd name="T2" fmla="*/ 19 w 40"/>
                  <a:gd name="T3" fmla="*/ 40 h 40"/>
                  <a:gd name="T4" fmla="*/ 39 w 40"/>
                  <a:gd name="T5" fmla="*/ 21 h 40"/>
                  <a:gd name="T6" fmla="*/ 21 w 40"/>
                  <a:gd name="T7" fmla="*/ 1 h 40"/>
                  <a:gd name="T8" fmla="*/ 1 w 40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1" y="20"/>
                    </a:moveTo>
                    <a:cubicBezTo>
                      <a:pt x="0" y="30"/>
                      <a:pt x="8" y="39"/>
                      <a:pt x="19" y="40"/>
                    </a:cubicBezTo>
                    <a:cubicBezTo>
                      <a:pt x="30" y="40"/>
                      <a:pt x="39" y="32"/>
                      <a:pt x="39" y="21"/>
                    </a:cubicBezTo>
                    <a:cubicBezTo>
                      <a:pt x="40" y="10"/>
                      <a:pt x="31" y="1"/>
                      <a:pt x="21" y="1"/>
                    </a:cubicBezTo>
                    <a:cubicBezTo>
                      <a:pt x="10" y="0"/>
                      <a:pt x="1" y="9"/>
                      <a:pt x="1" y="20"/>
                    </a:cubicBez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59">
                <a:extLst>
                  <a:ext uri="{FF2B5EF4-FFF2-40B4-BE49-F238E27FC236}">
                    <a16:creationId xmlns:a16="http://schemas.microsoft.com/office/drawing/2014/main" id="{EE355125-ED31-4E7A-90BC-43E5B6D7A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" y="2241"/>
                <a:ext cx="292" cy="202"/>
              </a:xfrm>
              <a:custGeom>
                <a:avLst/>
                <a:gdLst>
                  <a:gd name="T0" fmla="*/ 0 w 292"/>
                  <a:gd name="T1" fmla="*/ 192 h 202"/>
                  <a:gd name="T2" fmla="*/ 292 w 292"/>
                  <a:gd name="T3" fmla="*/ 202 h 202"/>
                  <a:gd name="T4" fmla="*/ 155 w 292"/>
                  <a:gd name="T5" fmla="*/ 0 h 202"/>
                  <a:gd name="T6" fmla="*/ 0 w 292"/>
                  <a:gd name="T7" fmla="*/ 19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2" h="202">
                    <a:moveTo>
                      <a:pt x="0" y="192"/>
                    </a:moveTo>
                    <a:lnTo>
                      <a:pt x="292" y="202"/>
                    </a:lnTo>
                    <a:lnTo>
                      <a:pt x="155" y="0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60">
                <a:extLst>
                  <a:ext uri="{FF2B5EF4-FFF2-40B4-BE49-F238E27FC236}">
                    <a16:creationId xmlns:a16="http://schemas.microsoft.com/office/drawing/2014/main" id="{47EFC7CE-96EC-4717-B752-A87792956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" y="2302"/>
                <a:ext cx="240" cy="136"/>
              </a:xfrm>
              <a:custGeom>
                <a:avLst/>
                <a:gdLst>
                  <a:gd name="T0" fmla="*/ 0 w 240"/>
                  <a:gd name="T1" fmla="*/ 126 h 136"/>
                  <a:gd name="T2" fmla="*/ 240 w 240"/>
                  <a:gd name="T3" fmla="*/ 136 h 136"/>
                  <a:gd name="T4" fmla="*/ 126 w 240"/>
                  <a:gd name="T5" fmla="*/ 0 h 136"/>
                  <a:gd name="T6" fmla="*/ 0 w 240"/>
                  <a:gd name="T7" fmla="*/ 12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0" h="136">
                    <a:moveTo>
                      <a:pt x="0" y="126"/>
                    </a:moveTo>
                    <a:lnTo>
                      <a:pt x="240" y="136"/>
                    </a:lnTo>
                    <a:lnTo>
                      <a:pt x="126" y="0"/>
                    </a:lnTo>
                    <a:lnTo>
                      <a:pt x="0" y="126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61">
                <a:extLst>
                  <a:ext uri="{FF2B5EF4-FFF2-40B4-BE49-F238E27FC236}">
                    <a16:creationId xmlns:a16="http://schemas.microsoft.com/office/drawing/2014/main" id="{F03D6251-A434-4439-9EF1-041A6E6FD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" y="2269"/>
                <a:ext cx="515" cy="397"/>
              </a:xfrm>
              <a:custGeom>
                <a:avLst/>
                <a:gdLst>
                  <a:gd name="T0" fmla="*/ 62 w 515"/>
                  <a:gd name="T1" fmla="*/ 397 h 397"/>
                  <a:gd name="T2" fmla="*/ 515 w 515"/>
                  <a:gd name="T3" fmla="*/ 302 h 397"/>
                  <a:gd name="T4" fmla="*/ 453 w 515"/>
                  <a:gd name="T5" fmla="*/ 0 h 397"/>
                  <a:gd name="T6" fmla="*/ 0 w 515"/>
                  <a:gd name="T7" fmla="*/ 93 h 397"/>
                  <a:gd name="T8" fmla="*/ 62 w 515"/>
                  <a:gd name="T9" fmla="*/ 397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5" h="397">
                    <a:moveTo>
                      <a:pt x="62" y="397"/>
                    </a:moveTo>
                    <a:lnTo>
                      <a:pt x="515" y="302"/>
                    </a:lnTo>
                    <a:lnTo>
                      <a:pt x="453" y="0"/>
                    </a:lnTo>
                    <a:lnTo>
                      <a:pt x="0" y="93"/>
                    </a:lnTo>
                    <a:lnTo>
                      <a:pt x="62" y="397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62">
                <a:extLst>
                  <a:ext uri="{FF2B5EF4-FFF2-40B4-BE49-F238E27FC236}">
                    <a16:creationId xmlns:a16="http://schemas.microsoft.com/office/drawing/2014/main" id="{3220F587-D46F-45D8-B858-0238A03F1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0" y="2291"/>
                <a:ext cx="472" cy="351"/>
              </a:xfrm>
              <a:custGeom>
                <a:avLst/>
                <a:gdLst>
                  <a:gd name="T0" fmla="*/ 56 w 472"/>
                  <a:gd name="T1" fmla="*/ 351 h 351"/>
                  <a:gd name="T2" fmla="*/ 472 w 472"/>
                  <a:gd name="T3" fmla="*/ 266 h 351"/>
                  <a:gd name="T4" fmla="*/ 415 w 472"/>
                  <a:gd name="T5" fmla="*/ 0 h 351"/>
                  <a:gd name="T6" fmla="*/ 0 w 472"/>
                  <a:gd name="T7" fmla="*/ 87 h 351"/>
                  <a:gd name="T8" fmla="*/ 56 w 472"/>
                  <a:gd name="T9" fmla="*/ 351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2" h="351">
                    <a:moveTo>
                      <a:pt x="56" y="351"/>
                    </a:moveTo>
                    <a:lnTo>
                      <a:pt x="472" y="266"/>
                    </a:lnTo>
                    <a:lnTo>
                      <a:pt x="415" y="0"/>
                    </a:lnTo>
                    <a:lnTo>
                      <a:pt x="0" y="87"/>
                    </a:lnTo>
                    <a:lnTo>
                      <a:pt x="56" y="3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63">
                <a:extLst>
                  <a:ext uri="{FF2B5EF4-FFF2-40B4-BE49-F238E27FC236}">
                    <a16:creationId xmlns:a16="http://schemas.microsoft.com/office/drawing/2014/main" id="{BC3FC9E6-7EF7-42C2-BC1D-1090EFC33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2393"/>
                <a:ext cx="102" cy="99"/>
              </a:xfrm>
              <a:custGeom>
                <a:avLst/>
                <a:gdLst>
                  <a:gd name="T0" fmla="*/ 2 w 43"/>
                  <a:gd name="T1" fmla="*/ 25 h 42"/>
                  <a:gd name="T2" fmla="*/ 25 w 43"/>
                  <a:gd name="T3" fmla="*/ 40 h 42"/>
                  <a:gd name="T4" fmla="*/ 41 w 43"/>
                  <a:gd name="T5" fmla="*/ 17 h 42"/>
                  <a:gd name="T6" fmla="*/ 18 w 43"/>
                  <a:gd name="T7" fmla="*/ 2 h 42"/>
                  <a:gd name="T8" fmla="*/ 2 w 43"/>
                  <a:gd name="T9" fmla="*/ 2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2">
                    <a:moveTo>
                      <a:pt x="2" y="25"/>
                    </a:moveTo>
                    <a:cubicBezTo>
                      <a:pt x="5" y="36"/>
                      <a:pt x="15" y="42"/>
                      <a:pt x="25" y="40"/>
                    </a:cubicBezTo>
                    <a:cubicBezTo>
                      <a:pt x="36" y="38"/>
                      <a:pt x="43" y="28"/>
                      <a:pt x="41" y="17"/>
                    </a:cubicBezTo>
                    <a:cubicBezTo>
                      <a:pt x="38" y="7"/>
                      <a:pt x="28" y="0"/>
                      <a:pt x="18" y="2"/>
                    </a:cubicBezTo>
                    <a:cubicBezTo>
                      <a:pt x="7" y="4"/>
                      <a:pt x="0" y="15"/>
                      <a:pt x="2" y="25"/>
                    </a:cubicBez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64">
                <a:extLst>
                  <a:ext uri="{FF2B5EF4-FFF2-40B4-BE49-F238E27FC236}">
                    <a16:creationId xmlns:a16="http://schemas.microsoft.com/office/drawing/2014/main" id="{63ABFA39-6A7D-4599-8E59-BDE9DB22E4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5" y="2393"/>
                <a:ext cx="287" cy="223"/>
              </a:xfrm>
              <a:custGeom>
                <a:avLst/>
                <a:gdLst>
                  <a:gd name="T0" fmla="*/ 0 w 287"/>
                  <a:gd name="T1" fmla="*/ 223 h 223"/>
                  <a:gd name="T2" fmla="*/ 287 w 287"/>
                  <a:gd name="T3" fmla="*/ 164 h 223"/>
                  <a:gd name="T4" fmla="*/ 102 w 287"/>
                  <a:gd name="T5" fmla="*/ 0 h 223"/>
                  <a:gd name="T6" fmla="*/ 0 w 287"/>
                  <a:gd name="T7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7" h="223">
                    <a:moveTo>
                      <a:pt x="0" y="223"/>
                    </a:moveTo>
                    <a:lnTo>
                      <a:pt x="287" y="164"/>
                    </a:lnTo>
                    <a:lnTo>
                      <a:pt x="102" y="0"/>
                    </a:lnTo>
                    <a:lnTo>
                      <a:pt x="0" y="223"/>
                    </a:lnTo>
                    <a:close/>
                  </a:path>
                </a:pathLst>
              </a:custGeom>
              <a:solidFill>
                <a:srgbClr val="DB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65">
                <a:extLst>
                  <a:ext uri="{FF2B5EF4-FFF2-40B4-BE49-F238E27FC236}">
                    <a16:creationId xmlns:a16="http://schemas.microsoft.com/office/drawing/2014/main" id="{77F377CF-9C10-4569-A79C-48C29AA9B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88"/>
                <a:ext cx="235" cy="152"/>
              </a:xfrm>
              <a:custGeom>
                <a:avLst/>
                <a:gdLst>
                  <a:gd name="T0" fmla="*/ 0 w 235"/>
                  <a:gd name="T1" fmla="*/ 152 h 152"/>
                  <a:gd name="T2" fmla="*/ 235 w 235"/>
                  <a:gd name="T3" fmla="*/ 102 h 152"/>
                  <a:gd name="T4" fmla="*/ 93 w 235"/>
                  <a:gd name="T5" fmla="*/ 0 h 152"/>
                  <a:gd name="T6" fmla="*/ 0 w 235"/>
                  <a:gd name="T7" fmla="*/ 15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5" h="152">
                    <a:moveTo>
                      <a:pt x="0" y="152"/>
                    </a:moveTo>
                    <a:lnTo>
                      <a:pt x="235" y="102"/>
                    </a:lnTo>
                    <a:lnTo>
                      <a:pt x="93" y="0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66">
                <a:extLst>
                  <a:ext uri="{FF2B5EF4-FFF2-40B4-BE49-F238E27FC236}">
                    <a16:creationId xmlns:a16="http://schemas.microsoft.com/office/drawing/2014/main" id="{03695523-5B8E-459A-904B-3399C203B4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" y="2424"/>
                <a:ext cx="501" cy="380"/>
              </a:xfrm>
              <a:custGeom>
                <a:avLst/>
                <a:gdLst>
                  <a:gd name="T0" fmla="*/ 0 w 211"/>
                  <a:gd name="T1" fmla="*/ 94 h 160"/>
                  <a:gd name="T2" fmla="*/ 142 w 211"/>
                  <a:gd name="T3" fmla="*/ 18 h 160"/>
                  <a:gd name="T4" fmla="*/ 166 w 211"/>
                  <a:gd name="T5" fmla="*/ 139 h 160"/>
                  <a:gd name="T6" fmla="*/ 54 w 211"/>
                  <a:gd name="T7" fmla="*/ 86 h 160"/>
                  <a:gd name="T8" fmla="*/ 0 w 211"/>
                  <a:gd name="T9" fmla="*/ 9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1" h="160">
                    <a:moveTo>
                      <a:pt x="0" y="94"/>
                    </a:moveTo>
                    <a:cubicBezTo>
                      <a:pt x="30" y="32"/>
                      <a:pt x="83" y="0"/>
                      <a:pt x="142" y="18"/>
                    </a:cubicBezTo>
                    <a:cubicBezTo>
                      <a:pt x="202" y="35"/>
                      <a:pt x="211" y="118"/>
                      <a:pt x="166" y="139"/>
                    </a:cubicBezTo>
                    <a:cubicBezTo>
                      <a:pt x="122" y="160"/>
                      <a:pt x="78" y="99"/>
                      <a:pt x="54" y="86"/>
                    </a:cubicBezTo>
                    <a:cubicBezTo>
                      <a:pt x="31" y="74"/>
                      <a:pt x="0" y="94"/>
                      <a:pt x="0" y="94"/>
                    </a:cubicBezTo>
                    <a:close/>
                  </a:path>
                </a:pathLst>
              </a:custGeom>
              <a:solidFill>
                <a:srgbClr val="81E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67">
                <a:extLst>
                  <a:ext uri="{FF2B5EF4-FFF2-40B4-BE49-F238E27FC236}">
                    <a16:creationId xmlns:a16="http://schemas.microsoft.com/office/drawing/2014/main" id="{94679C49-3C86-4EBE-9D0E-88DF0EAECB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3" y="2488"/>
                <a:ext cx="460" cy="605"/>
              </a:xfrm>
              <a:custGeom>
                <a:avLst/>
                <a:gdLst>
                  <a:gd name="T0" fmla="*/ 1 w 194"/>
                  <a:gd name="T1" fmla="*/ 232 h 255"/>
                  <a:gd name="T2" fmla="*/ 1 w 194"/>
                  <a:gd name="T3" fmla="*/ 209 h 255"/>
                  <a:gd name="T4" fmla="*/ 3 w 194"/>
                  <a:gd name="T5" fmla="*/ 165 h 255"/>
                  <a:gd name="T6" fmla="*/ 18 w 194"/>
                  <a:gd name="T7" fmla="*/ 85 h 255"/>
                  <a:gd name="T8" fmla="*/ 66 w 194"/>
                  <a:gd name="T9" fmla="*/ 30 h 255"/>
                  <a:gd name="T10" fmla="*/ 91 w 194"/>
                  <a:gd name="T11" fmla="*/ 19 h 255"/>
                  <a:gd name="T12" fmla="*/ 120 w 194"/>
                  <a:gd name="T13" fmla="*/ 3 h 255"/>
                  <a:gd name="T14" fmla="*/ 162 w 194"/>
                  <a:gd name="T15" fmla="*/ 2 h 255"/>
                  <a:gd name="T16" fmla="*/ 162 w 194"/>
                  <a:gd name="T17" fmla="*/ 3 h 255"/>
                  <a:gd name="T18" fmla="*/ 123 w 194"/>
                  <a:gd name="T19" fmla="*/ 6 h 255"/>
                  <a:gd name="T20" fmla="*/ 107 w 194"/>
                  <a:gd name="T21" fmla="*/ 12 h 255"/>
                  <a:gd name="T22" fmla="*/ 98 w 194"/>
                  <a:gd name="T23" fmla="*/ 18 h 255"/>
                  <a:gd name="T24" fmla="*/ 134 w 194"/>
                  <a:gd name="T25" fmla="*/ 18 h 255"/>
                  <a:gd name="T26" fmla="*/ 146 w 194"/>
                  <a:gd name="T27" fmla="*/ 22 h 255"/>
                  <a:gd name="T28" fmla="*/ 156 w 194"/>
                  <a:gd name="T29" fmla="*/ 22 h 255"/>
                  <a:gd name="T30" fmla="*/ 169 w 194"/>
                  <a:gd name="T31" fmla="*/ 23 h 255"/>
                  <a:gd name="T32" fmla="*/ 194 w 194"/>
                  <a:gd name="T33" fmla="*/ 34 h 255"/>
                  <a:gd name="T34" fmla="*/ 193 w 194"/>
                  <a:gd name="T35" fmla="*/ 35 h 255"/>
                  <a:gd name="T36" fmla="*/ 169 w 194"/>
                  <a:gd name="T37" fmla="*/ 26 h 255"/>
                  <a:gd name="T38" fmla="*/ 157 w 194"/>
                  <a:gd name="T39" fmla="*/ 24 h 255"/>
                  <a:gd name="T40" fmla="*/ 150 w 194"/>
                  <a:gd name="T41" fmla="*/ 24 h 255"/>
                  <a:gd name="T42" fmla="*/ 189 w 194"/>
                  <a:gd name="T43" fmla="*/ 62 h 255"/>
                  <a:gd name="T44" fmla="*/ 188 w 194"/>
                  <a:gd name="T45" fmla="*/ 63 h 255"/>
                  <a:gd name="T46" fmla="*/ 139 w 194"/>
                  <a:gd name="T47" fmla="*/ 23 h 255"/>
                  <a:gd name="T48" fmla="*/ 135 w 194"/>
                  <a:gd name="T49" fmla="*/ 23 h 255"/>
                  <a:gd name="T50" fmla="*/ 136 w 194"/>
                  <a:gd name="T51" fmla="*/ 29 h 255"/>
                  <a:gd name="T52" fmla="*/ 137 w 194"/>
                  <a:gd name="T53" fmla="*/ 38 h 255"/>
                  <a:gd name="T54" fmla="*/ 142 w 194"/>
                  <a:gd name="T55" fmla="*/ 56 h 255"/>
                  <a:gd name="T56" fmla="*/ 149 w 194"/>
                  <a:gd name="T57" fmla="*/ 73 h 255"/>
                  <a:gd name="T58" fmla="*/ 159 w 194"/>
                  <a:gd name="T59" fmla="*/ 90 h 255"/>
                  <a:gd name="T60" fmla="*/ 159 w 194"/>
                  <a:gd name="T61" fmla="*/ 91 h 255"/>
                  <a:gd name="T62" fmla="*/ 148 w 194"/>
                  <a:gd name="T63" fmla="*/ 74 h 255"/>
                  <a:gd name="T64" fmla="*/ 140 w 194"/>
                  <a:gd name="T65" fmla="*/ 57 h 255"/>
                  <a:gd name="T66" fmla="*/ 134 w 194"/>
                  <a:gd name="T67" fmla="*/ 38 h 255"/>
                  <a:gd name="T68" fmla="*/ 133 w 194"/>
                  <a:gd name="T69" fmla="*/ 28 h 255"/>
                  <a:gd name="T70" fmla="*/ 132 w 194"/>
                  <a:gd name="T71" fmla="*/ 22 h 255"/>
                  <a:gd name="T72" fmla="*/ 111 w 194"/>
                  <a:gd name="T73" fmla="*/ 22 h 255"/>
                  <a:gd name="T74" fmla="*/ 125 w 194"/>
                  <a:gd name="T75" fmla="*/ 65 h 255"/>
                  <a:gd name="T76" fmla="*/ 124 w 194"/>
                  <a:gd name="T77" fmla="*/ 65 h 255"/>
                  <a:gd name="T78" fmla="*/ 114 w 194"/>
                  <a:gd name="T79" fmla="*/ 44 h 255"/>
                  <a:gd name="T80" fmla="*/ 109 w 194"/>
                  <a:gd name="T81" fmla="*/ 22 h 255"/>
                  <a:gd name="T82" fmla="*/ 74 w 194"/>
                  <a:gd name="T83" fmla="*/ 34 h 255"/>
                  <a:gd name="T84" fmla="*/ 28 w 194"/>
                  <a:gd name="T85" fmla="*/ 84 h 255"/>
                  <a:gd name="T86" fmla="*/ 11 w 194"/>
                  <a:gd name="T87" fmla="*/ 157 h 255"/>
                  <a:gd name="T88" fmla="*/ 5 w 194"/>
                  <a:gd name="T89" fmla="*/ 252 h 255"/>
                  <a:gd name="T90" fmla="*/ 1 w 194"/>
                  <a:gd name="T91" fmla="*/ 253 h 255"/>
                  <a:gd name="T92" fmla="*/ 1 w 194"/>
                  <a:gd name="T93" fmla="*/ 23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4" h="255">
                    <a:moveTo>
                      <a:pt x="1" y="232"/>
                    </a:moveTo>
                    <a:cubicBezTo>
                      <a:pt x="1" y="224"/>
                      <a:pt x="1" y="217"/>
                      <a:pt x="1" y="209"/>
                    </a:cubicBezTo>
                    <a:cubicBezTo>
                      <a:pt x="2" y="194"/>
                      <a:pt x="2" y="179"/>
                      <a:pt x="3" y="165"/>
                    </a:cubicBezTo>
                    <a:cubicBezTo>
                      <a:pt x="4" y="137"/>
                      <a:pt x="7" y="110"/>
                      <a:pt x="18" y="85"/>
                    </a:cubicBezTo>
                    <a:cubicBezTo>
                      <a:pt x="28" y="63"/>
                      <a:pt x="45" y="43"/>
                      <a:pt x="66" y="30"/>
                    </a:cubicBezTo>
                    <a:cubicBezTo>
                      <a:pt x="74" y="25"/>
                      <a:pt x="82" y="22"/>
                      <a:pt x="91" y="19"/>
                    </a:cubicBezTo>
                    <a:cubicBezTo>
                      <a:pt x="99" y="11"/>
                      <a:pt x="110" y="6"/>
                      <a:pt x="120" y="3"/>
                    </a:cubicBezTo>
                    <a:cubicBezTo>
                      <a:pt x="134" y="0"/>
                      <a:pt x="148" y="1"/>
                      <a:pt x="162" y="2"/>
                    </a:cubicBezTo>
                    <a:cubicBezTo>
                      <a:pt x="163" y="2"/>
                      <a:pt x="163" y="3"/>
                      <a:pt x="162" y="3"/>
                    </a:cubicBezTo>
                    <a:cubicBezTo>
                      <a:pt x="149" y="1"/>
                      <a:pt x="136" y="2"/>
                      <a:pt x="123" y="6"/>
                    </a:cubicBezTo>
                    <a:cubicBezTo>
                      <a:pt x="117" y="7"/>
                      <a:pt x="112" y="9"/>
                      <a:pt x="107" y="12"/>
                    </a:cubicBezTo>
                    <a:cubicBezTo>
                      <a:pt x="104" y="14"/>
                      <a:pt x="101" y="16"/>
                      <a:pt x="98" y="18"/>
                    </a:cubicBezTo>
                    <a:cubicBezTo>
                      <a:pt x="109" y="15"/>
                      <a:pt x="122" y="15"/>
                      <a:pt x="134" y="18"/>
                    </a:cubicBezTo>
                    <a:cubicBezTo>
                      <a:pt x="138" y="19"/>
                      <a:pt x="142" y="21"/>
                      <a:pt x="146" y="22"/>
                    </a:cubicBezTo>
                    <a:cubicBezTo>
                      <a:pt x="150" y="22"/>
                      <a:pt x="153" y="21"/>
                      <a:pt x="156" y="22"/>
                    </a:cubicBezTo>
                    <a:cubicBezTo>
                      <a:pt x="161" y="22"/>
                      <a:pt x="165" y="22"/>
                      <a:pt x="169" y="23"/>
                    </a:cubicBezTo>
                    <a:cubicBezTo>
                      <a:pt x="178" y="26"/>
                      <a:pt x="186" y="30"/>
                      <a:pt x="194" y="34"/>
                    </a:cubicBezTo>
                    <a:cubicBezTo>
                      <a:pt x="194" y="34"/>
                      <a:pt x="194" y="35"/>
                      <a:pt x="193" y="35"/>
                    </a:cubicBezTo>
                    <a:cubicBezTo>
                      <a:pt x="186" y="31"/>
                      <a:pt x="178" y="28"/>
                      <a:pt x="169" y="26"/>
                    </a:cubicBezTo>
                    <a:cubicBezTo>
                      <a:pt x="165" y="25"/>
                      <a:pt x="161" y="24"/>
                      <a:pt x="157" y="24"/>
                    </a:cubicBezTo>
                    <a:cubicBezTo>
                      <a:pt x="155" y="24"/>
                      <a:pt x="153" y="24"/>
                      <a:pt x="150" y="24"/>
                    </a:cubicBezTo>
                    <a:cubicBezTo>
                      <a:pt x="167" y="32"/>
                      <a:pt x="181" y="45"/>
                      <a:pt x="189" y="62"/>
                    </a:cubicBezTo>
                    <a:cubicBezTo>
                      <a:pt x="189" y="63"/>
                      <a:pt x="188" y="63"/>
                      <a:pt x="188" y="63"/>
                    </a:cubicBezTo>
                    <a:cubicBezTo>
                      <a:pt x="179" y="43"/>
                      <a:pt x="160" y="29"/>
                      <a:pt x="139" y="23"/>
                    </a:cubicBezTo>
                    <a:cubicBezTo>
                      <a:pt x="138" y="23"/>
                      <a:pt x="136" y="23"/>
                      <a:pt x="135" y="23"/>
                    </a:cubicBezTo>
                    <a:cubicBezTo>
                      <a:pt x="136" y="25"/>
                      <a:pt x="136" y="27"/>
                      <a:pt x="136" y="29"/>
                    </a:cubicBezTo>
                    <a:cubicBezTo>
                      <a:pt x="136" y="32"/>
                      <a:pt x="137" y="35"/>
                      <a:pt x="137" y="38"/>
                    </a:cubicBezTo>
                    <a:cubicBezTo>
                      <a:pt x="139" y="44"/>
                      <a:pt x="140" y="50"/>
                      <a:pt x="142" y="56"/>
                    </a:cubicBezTo>
                    <a:cubicBezTo>
                      <a:pt x="144" y="62"/>
                      <a:pt x="147" y="68"/>
                      <a:pt x="149" y="73"/>
                    </a:cubicBezTo>
                    <a:cubicBezTo>
                      <a:pt x="152" y="79"/>
                      <a:pt x="155" y="85"/>
                      <a:pt x="159" y="90"/>
                    </a:cubicBezTo>
                    <a:cubicBezTo>
                      <a:pt x="160" y="91"/>
                      <a:pt x="159" y="91"/>
                      <a:pt x="159" y="91"/>
                    </a:cubicBezTo>
                    <a:cubicBezTo>
                      <a:pt x="155" y="85"/>
                      <a:pt x="151" y="80"/>
                      <a:pt x="148" y="74"/>
                    </a:cubicBezTo>
                    <a:cubicBezTo>
                      <a:pt x="145" y="69"/>
                      <a:pt x="142" y="63"/>
                      <a:pt x="140" y="57"/>
                    </a:cubicBezTo>
                    <a:cubicBezTo>
                      <a:pt x="137" y="51"/>
                      <a:pt x="136" y="45"/>
                      <a:pt x="134" y="38"/>
                    </a:cubicBezTo>
                    <a:cubicBezTo>
                      <a:pt x="134" y="35"/>
                      <a:pt x="133" y="32"/>
                      <a:pt x="133" y="28"/>
                    </a:cubicBezTo>
                    <a:cubicBezTo>
                      <a:pt x="133" y="26"/>
                      <a:pt x="132" y="24"/>
                      <a:pt x="132" y="22"/>
                    </a:cubicBezTo>
                    <a:cubicBezTo>
                      <a:pt x="126" y="21"/>
                      <a:pt x="118" y="21"/>
                      <a:pt x="111" y="22"/>
                    </a:cubicBezTo>
                    <a:cubicBezTo>
                      <a:pt x="114" y="36"/>
                      <a:pt x="117" y="52"/>
                      <a:pt x="125" y="65"/>
                    </a:cubicBezTo>
                    <a:cubicBezTo>
                      <a:pt x="125" y="65"/>
                      <a:pt x="125" y="66"/>
                      <a:pt x="124" y="65"/>
                    </a:cubicBezTo>
                    <a:cubicBezTo>
                      <a:pt x="121" y="58"/>
                      <a:pt x="117" y="51"/>
                      <a:pt x="114" y="44"/>
                    </a:cubicBezTo>
                    <a:cubicBezTo>
                      <a:pt x="112" y="37"/>
                      <a:pt x="110" y="29"/>
                      <a:pt x="109" y="22"/>
                    </a:cubicBezTo>
                    <a:cubicBezTo>
                      <a:pt x="97" y="24"/>
                      <a:pt x="85" y="28"/>
                      <a:pt x="74" y="34"/>
                    </a:cubicBezTo>
                    <a:cubicBezTo>
                      <a:pt x="54" y="45"/>
                      <a:pt x="38" y="63"/>
                      <a:pt x="28" y="84"/>
                    </a:cubicBezTo>
                    <a:cubicBezTo>
                      <a:pt x="17" y="107"/>
                      <a:pt x="12" y="132"/>
                      <a:pt x="11" y="157"/>
                    </a:cubicBezTo>
                    <a:cubicBezTo>
                      <a:pt x="9" y="189"/>
                      <a:pt x="8" y="221"/>
                      <a:pt x="5" y="252"/>
                    </a:cubicBezTo>
                    <a:cubicBezTo>
                      <a:pt x="5" y="254"/>
                      <a:pt x="2" y="255"/>
                      <a:pt x="1" y="253"/>
                    </a:cubicBezTo>
                    <a:cubicBezTo>
                      <a:pt x="0" y="246"/>
                      <a:pt x="1" y="239"/>
                      <a:pt x="1" y="23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68">
                <a:extLst>
                  <a:ext uri="{FF2B5EF4-FFF2-40B4-BE49-F238E27FC236}">
                    <a16:creationId xmlns:a16="http://schemas.microsoft.com/office/drawing/2014/main" id="{62DAE1C9-926D-4C2C-8EE1-8C53AF689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" y="2500"/>
                <a:ext cx="79" cy="49"/>
              </a:xfrm>
              <a:custGeom>
                <a:avLst/>
                <a:gdLst>
                  <a:gd name="T0" fmla="*/ 0 w 33"/>
                  <a:gd name="T1" fmla="*/ 20 h 21"/>
                  <a:gd name="T2" fmla="*/ 7 w 33"/>
                  <a:gd name="T3" fmla="*/ 14 h 21"/>
                  <a:gd name="T4" fmla="*/ 15 w 33"/>
                  <a:gd name="T5" fmla="*/ 8 h 21"/>
                  <a:gd name="T6" fmla="*/ 32 w 33"/>
                  <a:gd name="T7" fmla="*/ 0 h 21"/>
                  <a:gd name="T8" fmla="*/ 32 w 33"/>
                  <a:gd name="T9" fmla="*/ 1 h 21"/>
                  <a:gd name="T10" fmla="*/ 15 w 33"/>
                  <a:gd name="T11" fmla="*/ 9 h 21"/>
                  <a:gd name="T12" fmla="*/ 8 w 33"/>
                  <a:gd name="T13" fmla="*/ 15 h 21"/>
                  <a:gd name="T14" fmla="*/ 1 w 33"/>
                  <a:gd name="T15" fmla="*/ 21 h 21"/>
                  <a:gd name="T16" fmla="*/ 0 w 33"/>
                  <a:gd name="T17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1">
                    <a:moveTo>
                      <a:pt x="0" y="20"/>
                    </a:moveTo>
                    <a:cubicBezTo>
                      <a:pt x="2" y="18"/>
                      <a:pt x="5" y="16"/>
                      <a:pt x="7" y="14"/>
                    </a:cubicBezTo>
                    <a:cubicBezTo>
                      <a:pt x="10" y="12"/>
                      <a:pt x="12" y="10"/>
                      <a:pt x="15" y="8"/>
                    </a:cubicBezTo>
                    <a:cubicBezTo>
                      <a:pt x="20" y="5"/>
                      <a:pt x="26" y="2"/>
                      <a:pt x="32" y="0"/>
                    </a:cubicBezTo>
                    <a:cubicBezTo>
                      <a:pt x="32" y="0"/>
                      <a:pt x="33" y="1"/>
                      <a:pt x="32" y="1"/>
                    </a:cubicBezTo>
                    <a:cubicBezTo>
                      <a:pt x="26" y="2"/>
                      <a:pt x="20" y="6"/>
                      <a:pt x="15" y="9"/>
                    </a:cubicBezTo>
                    <a:cubicBezTo>
                      <a:pt x="13" y="11"/>
                      <a:pt x="10" y="13"/>
                      <a:pt x="8" y="15"/>
                    </a:cubicBezTo>
                    <a:cubicBezTo>
                      <a:pt x="6" y="17"/>
                      <a:pt x="4" y="20"/>
                      <a:pt x="1" y="21"/>
                    </a:cubicBezTo>
                    <a:cubicBezTo>
                      <a:pt x="1" y="21"/>
                      <a:pt x="0" y="21"/>
                      <a:pt x="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69">
                <a:extLst>
                  <a:ext uri="{FF2B5EF4-FFF2-40B4-BE49-F238E27FC236}">
                    <a16:creationId xmlns:a16="http://schemas.microsoft.com/office/drawing/2014/main" id="{E18C1239-BDDA-4E07-A334-98571BC175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7" y="2599"/>
                <a:ext cx="59" cy="95"/>
              </a:xfrm>
              <a:custGeom>
                <a:avLst/>
                <a:gdLst>
                  <a:gd name="T0" fmla="*/ 1 w 25"/>
                  <a:gd name="T1" fmla="*/ 1 h 40"/>
                  <a:gd name="T2" fmla="*/ 14 w 25"/>
                  <a:gd name="T3" fmla="*/ 19 h 40"/>
                  <a:gd name="T4" fmla="*/ 25 w 25"/>
                  <a:gd name="T5" fmla="*/ 39 h 40"/>
                  <a:gd name="T6" fmla="*/ 24 w 25"/>
                  <a:gd name="T7" fmla="*/ 40 h 40"/>
                  <a:gd name="T8" fmla="*/ 0 w 25"/>
                  <a:gd name="T9" fmla="*/ 1 h 40"/>
                  <a:gd name="T10" fmla="*/ 1 w 25"/>
                  <a:gd name="T11" fmla="*/ 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40">
                    <a:moveTo>
                      <a:pt x="1" y="1"/>
                    </a:moveTo>
                    <a:cubicBezTo>
                      <a:pt x="5" y="7"/>
                      <a:pt x="10" y="13"/>
                      <a:pt x="14" y="19"/>
                    </a:cubicBezTo>
                    <a:cubicBezTo>
                      <a:pt x="18" y="25"/>
                      <a:pt x="22" y="32"/>
                      <a:pt x="25" y="39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17" y="26"/>
                      <a:pt x="10" y="13"/>
                      <a:pt x="0" y="1"/>
                    </a:cubicBezTo>
                    <a:cubicBezTo>
                      <a:pt x="0" y="1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70">
                <a:extLst>
                  <a:ext uri="{FF2B5EF4-FFF2-40B4-BE49-F238E27FC236}">
                    <a16:creationId xmlns:a16="http://schemas.microsoft.com/office/drawing/2014/main" id="{C13F17EB-8382-43D1-B025-CC2632F08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3" y="2585"/>
                <a:ext cx="24" cy="52"/>
              </a:xfrm>
              <a:custGeom>
                <a:avLst/>
                <a:gdLst>
                  <a:gd name="T0" fmla="*/ 1 w 10"/>
                  <a:gd name="T1" fmla="*/ 1 h 22"/>
                  <a:gd name="T2" fmla="*/ 4 w 10"/>
                  <a:gd name="T3" fmla="*/ 12 h 22"/>
                  <a:gd name="T4" fmla="*/ 10 w 10"/>
                  <a:gd name="T5" fmla="*/ 22 h 22"/>
                  <a:gd name="T6" fmla="*/ 9 w 10"/>
                  <a:gd name="T7" fmla="*/ 22 h 22"/>
                  <a:gd name="T8" fmla="*/ 0 w 10"/>
                  <a:gd name="T9" fmla="*/ 1 h 22"/>
                  <a:gd name="T10" fmla="*/ 1 w 10"/>
                  <a:gd name="T11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2">
                    <a:moveTo>
                      <a:pt x="1" y="1"/>
                    </a:moveTo>
                    <a:cubicBezTo>
                      <a:pt x="1" y="4"/>
                      <a:pt x="2" y="8"/>
                      <a:pt x="4" y="12"/>
                    </a:cubicBezTo>
                    <a:cubicBezTo>
                      <a:pt x="6" y="15"/>
                      <a:pt x="8" y="19"/>
                      <a:pt x="10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4" y="16"/>
                      <a:pt x="1" y="8"/>
                      <a:pt x="0" y="1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71">
                <a:extLst>
                  <a:ext uri="{FF2B5EF4-FFF2-40B4-BE49-F238E27FC236}">
                    <a16:creationId xmlns:a16="http://schemas.microsoft.com/office/drawing/2014/main" id="{6D435565-C658-4770-BEEF-8223458E0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6" y="2523"/>
                <a:ext cx="569" cy="511"/>
              </a:xfrm>
              <a:custGeom>
                <a:avLst/>
                <a:gdLst>
                  <a:gd name="T0" fmla="*/ 240 w 240"/>
                  <a:gd name="T1" fmla="*/ 53 h 215"/>
                  <a:gd name="T2" fmla="*/ 115 w 240"/>
                  <a:gd name="T3" fmla="*/ 19 h 215"/>
                  <a:gd name="T4" fmla="*/ 80 w 240"/>
                  <a:gd name="T5" fmla="*/ 197 h 215"/>
                  <a:gd name="T6" fmla="*/ 174 w 240"/>
                  <a:gd name="T7" fmla="*/ 59 h 215"/>
                  <a:gd name="T8" fmla="*/ 240 w 240"/>
                  <a:gd name="T9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15">
                    <a:moveTo>
                      <a:pt x="240" y="53"/>
                    </a:moveTo>
                    <a:cubicBezTo>
                      <a:pt x="240" y="53"/>
                      <a:pt x="197" y="0"/>
                      <a:pt x="115" y="19"/>
                    </a:cubicBezTo>
                    <a:cubicBezTo>
                      <a:pt x="37" y="37"/>
                      <a:pt x="0" y="180"/>
                      <a:pt x="80" y="197"/>
                    </a:cubicBezTo>
                    <a:cubicBezTo>
                      <a:pt x="159" y="215"/>
                      <a:pt x="145" y="82"/>
                      <a:pt x="174" y="59"/>
                    </a:cubicBezTo>
                    <a:cubicBezTo>
                      <a:pt x="195" y="43"/>
                      <a:pt x="225" y="46"/>
                      <a:pt x="240" y="53"/>
                    </a:cubicBezTo>
                    <a:close/>
                  </a:path>
                </a:pathLst>
              </a:custGeom>
              <a:solidFill>
                <a:srgbClr val="81E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72">
                <a:extLst>
                  <a:ext uri="{FF2B5EF4-FFF2-40B4-BE49-F238E27FC236}">
                    <a16:creationId xmlns:a16="http://schemas.microsoft.com/office/drawing/2014/main" id="{A24CC490-D5D4-4F4A-B9F3-08AFA75F9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" y="2585"/>
                <a:ext cx="545" cy="570"/>
              </a:xfrm>
              <a:custGeom>
                <a:avLst/>
                <a:gdLst>
                  <a:gd name="T0" fmla="*/ 17 w 230"/>
                  <a:gd name="T1" fmla="*/ 58 h 240"/>
                  <a:gd name="T2" fmla="*/ 46 w 230"/>
                  <a:gd name="T3" fmla="*/ 35 h 240"/>
                  <a:gd name="T4" fmla="*/ 68 w 230"/>
                  <a:gd name="T5" fmla="*/ 15 h 240"/>
                  <a:gd name="T6" fmla="*/ 30 w 230"/>
                  <a:gd name="T7" fmla="*/ 22 h 240"/>
                  <a:gd name="T8" fmla="*/ 55 w 230"/>
                  <a:gd name="T9" fmla="*/ 13 h 240"/>
                  <a:gd name="T10" fmla="*/ 75 w 230"/>
                  <a:gd name="T11" fmla="*/ 13 h 240"/>
                  <a:gd name="T12" fmla="*/ 100 w 230"/>
                  <a:gd name="T13" fmla="*/ 4 h 240"/>
                  <a:gd name="T14" fmla="*/ 85 w 230"/>
                  <a:gd name="T15" fmla="*/ 1 h 240"/>
                  <a:gd name="T16" fmla="*/ 61 w 230"/>
                  <a:gd name="T17" fmla="*/ 1 h 240"/>
                  <a:gd name="T18" fmla="*/ 106 w 230"/>
                  <a:gd name="T19" fmla="*/ 3 h 240"/>
                  <a:gd name="T20" fmla="*/ 199 w 230"/>
                  <a:gd name="T21" fmla="*/ 34 h 240"/>
                  <a:gd name="T22" fmla="*/ 226 w 230"/>
                  <a:gd name="T23" fmla="*/ 237 h 240"/>
                  <a:gd name="T24" fmla="*/ 217 w 230"/>
                  <a:gd name="T25" fmla="*/ 136 h 240"/>
                  <a:gd name="T26" fmla="*/ 200 w 230"/>
                  <a:gd name="T27" fmla="*/ 50 h 240"/>
                  <a:gd name="T28" fmla="*/ 133 w 230"/>
                  <a:gd name="T29" fmla="*/ 8 h 240"/>
                  <a:gd name="T30" fmla="*/ 96 w 230"/>
                  <a:gd name="T31" fmla="*/ 19 h 240"/>
                  <a:gd name="T32" fmla="*/ 91 w 230"/>
                  <a:gd name="T33" fmla="*/ 36 h 240"/>
                  <a:gd name="T34" fmla="*/ 85 w 230"/>
                  <a:gd name="T35" fmla="*/ 44 h 240"/>
                  <a:gd name="T36" fmla="*/ 93 w 230"/>
                  <a:gd name="T37" fmla="*/ 19 h 240"/>
                  <a:gd name="T38" fmla="*/ 57 w 230"/>
                  <a:gd name="T39" fmla="*/ 32 h 240"/>
                  <a:gd name="T40" fmla="*/ 58 w 230"/>
                  <a:gd name="T41" fmla="*/ 45 h 240"/>
                  <a:gd name="T42" fmla="*/ 73 w 230"/>
                  <a:gd name="T43" fmla="*/ 87 h 240"/>
                  <a:gd name="T44" fmla="*/ 63 w 230"/>
                  <a:gd name="T45" fmla="*/ 60 h 240"/>
                  <a:gd name="T46" fmla="*/ 51 w 230"/>
                  <a:gd name="T47" fmla="*/ 42 h 240"/>
                  <a:gd name="T48" fmla="*/ 25 w 230"/>
                  <a:gd name="T49" fmla="*/ 72 h 240"/>
                  <a:gd name="T50" fmla="*/ 35 w 230"/>
                  <a:gd name="T51" fmla="*/ 86 h 240"/>
                  <a:gd name="T52" fmla="*/ 52 w 230"/>
                  <a:gd name="T53" fmla="*/ 136 h 240"/>
                  <a:gd name="T54" fmla="*/ 40 w 230"/>
                  <a:gd name="T55" fmla="*/ 103 h 240"/>
                  <a:gd name="T56" fmla="*/ 24 w 230"/>
                  <a:gd name="T57" fmla="*/ 73 h 240"/>
                  <a:gd name="T58" fmla="*/ 14 w 230"/>
                  <a:gd name="T59" fmla="*/ 111 h 240"/>
                  <a:gd name="T60" fmla="*/ 18 w 230"/>
                  <a:gd name="T61" fmla="*/ 60 h 240"/>
                  <a:gd name="T62" fmla="*/ 0 w 230"/>
                  <a:gd name="T63" fmla="*/ 7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0" h="240">
                    <a:moveTo>
                      <a:pt x="0" y="71"/>
                    </a:moveTo>
                    <a:cubicBezTo>
                      <a:pt x="6" y="66"/>
                      <a:pt x="11" y="62"/>
                      <a:pt x="17" y="58"/>
                    </a:cubicBezTo>
                    <a:cubicBezTo>
                      <a:pt x="23" y="54"/>
                      <a:pt x="29" y="51"/>
                      <a:pt x="35" y="49"/>
                    </a:cubicBezTo>
                    <a:cubicBezTo>
                      <a:pt x="39" y="44"/>
                      <a:pt x="42" y="39"/>
                      <a:pt x="46" y="35"/>
                    </a:cubicBezTo>
                    <a:cubicBezTo>
                      <a:pt x="53" y="27"/>
                      <a:pt x="62" y="21"/>
                      <a:pt x="71" y="15"/>
                    </a:cubicBezTo>
                    <a:cubicBezTo>
                      <a:pt x="70" y="15"/>
                      <a:pt x="69" y="15"/>
                      <a:pt x="68" y="15"/>
                    </a:cubicBezTo>
                    <a:cubicBezTo>
                      <a:pt x="64" y="15"/>
                      <a:pt x="60" y="15"/>
                      <a:pt x="55" y="15"/>
                    </a:cubicBezTo>
                    <a:cubicBezTo>
                      <a:pt x="47" y="16"/>
                      <a:pt x="38" y="18"/>
                      <a:pt x="30" y="22"/>
                    </a:cubicBezTo>
                    <a:cubicBezTo>
                      <a:pt x="29" y="22"/>
                      <a:pt x="29" y="21"/>
                      <a:pt x="30" y="21"/>
                    </a:cubicBezTo>
                    <a:cubicBezTo>
                      <a:pt x="38" y="18"/>
                      <a:pt x="46" y="15"/>
                      <a:pt x="55" y="13"/>
                    </a:cubicBezTo>
                    <a:cubicBezTo>
                      <a:pt x="59" y="13"/>
                      <a:pt x="64" y="12"/>
                      <a:pt x="68" y="12"/>
                    </a:cubicBezTo>
                    <a:cubicBezTo>
                      <a:pt x="70" y="12"/>
                      <a:pt x="72" y="12"/>
                      <a:pt x="75" y="13"/>
                    </a:cubicBezTo>
                    <a:cubicBezTo>
                      <a:pt x="75" y="13"/>
                      <a:pt x="76" y="13"/>
                      <a:pt x="76" y="13"/>
                    </a:cubicBezTo>
                    <a:cubicBezTo>
                      <a:pt x="84" y="9"/>
                      <a:pt x="92" y="6"/>
                      <a:pt x="100" y="4"/>
                    </a:cubicBezTo>
                    <a:cubicBezTo>
                      <a:pt x="99" y="4"/>
                      <a:pt x="98" y="4"/>
                      <a:pt x="98" y="3"/>
                    </a:cubicBezTo>
                    <a:cubicBezTo>
                      <a:pt x="94" y="2"/>
                      <a:pt x="89" y="2"/>
                      <a:pt x="85" y="1"/>
                    </a:cubicBezTo>
                    <a:cubicBezTo>
                      <a:pt x="77" y="0"/>
                      <a:pt x="69" y="1"/>
                      <a:pt x="61" y="2"/>
                    </a:cubicBezTo>
                    <a:cubicBezTo>
                      <a:pt x="60" y="2"/>
                      <a:pt x="60" y="1"/>
                      <a:pt x="61" y="1"/>
                    </a:cubicBezTo>
                    <a:cubicBezTo>
                      <a:pt x="69" y="0"/>
                      <a:pt x="77" y="0"/>
                      <a:pt x="85" y="0"/>
                    </a:cubicBezTo>
                    <a:cubicBezTo>
                      <a:pt x="92" y="0"/>
                      <a:pt x="99" y="1"/>
                      <a:pt x="106" y="3"/>
                    </a:cubicBezTo>
                    <a:cubicBezTo>
                      <a:pt x="111" y="2"/>
                      <a:pt x="116" y="1"/>
                      <a:pt x="121" y="1"/>
                    </a:cubicBezTo>
                    <a:cubicBezTo>
                      <a:pt x="150" y="0"/>
                      <a:pt x="181" y="10"/>
                      <a:pt x="199" y="34"/>
                    </a:cubicBezTo>
                    <a:cubicBezTo>
                      <a:pt x="217" y="58"/>
                      <a:pt x="220" y="89"/>
                      <a:pt x="223" y="118"/>
                    </a:cubicBezTo>
                    <a:cubicBezTo>
                      <a:pt x="228" y="157"/>
                      <a:pt x="230" y="198"/>
                      <a:pt x="226" y="237"/>
                    </a:cubicBezTo>
                    <a:cubicBezTo>
                      <a:pt x="226" y="240"/>
                      <a:pt x="223" y="239"/>
                      <a:pt x="223" y="237"/>
                    </a:cubicBezTo>
                    <a:cubicBezTo>
                      <a:pt x="222" y="203"/>
                      <a:pt x="220" y="169"/>
                      <a:pt x="217" y="136"/>
                    </a:cubicBezTo>
                    <a:cubicBezTo>
                      <a:pt x="216" y="120"/>
                      <a:pt x="214" y="104"/>
                      <a:pt x="211" y="89"/>
                    </a:cubicBezTo>
                    <a:cubicBezTo>
                      <a:pt x="209" y="76"/>
                      <a:pt x="206" y="62"/>
                      <a:pt x="200" y="50"/>
                    </a:cubicBezTo>
                    <a:cubicBezTo>
                      <a:pt x="194" y="38"/>
                      <a:pt x="184" y="28"/>
                      <a:pt x="172" y="20"/>
                    </a:cubicBezTo>
                    <a:cubicBezTo>
                      <a:pt x="160" y="13"/>
                      <a:pt x="147" y="10"/>
                      <a:pt x="133" y="8"/>
                    </a:cubicBezTo>
                    <a:cubicBezTo>
                      <a:pt x="120" y="7"/>
                      <a:pt x="108" y="9"/>
                      <a:pt x="96" y="12"/>
                    </a:cubicBezTo>
                    <a:cubicBezTo>
                      <a:pt x="97" y="14"/>
                      <a:pt x="96" y="17"/>
                      <a:pt x="96" y="19"/>
                    </a:cubicBezTo>
                    <a:cubicBezTo>
                      <a:pt x="96" y="22"/>
                      <a:pt x="95" y="25"/>
                      <a:pt x="94" y="28"/>
                    </a:cubicBezTo>
                    <a:cubicBezTo>
                      <a:pt x="94" y="31"/>
                      <a:pt x="92" y="34"/>
                      <a:pt x="91" y="36"/>
                    </a:cubicBezTo>
                    <a:cubicBezTo>
                      <a:pt x="89" y="39"/>
                      <a:pt x="88" y="41"/>
                      <a:pt x="86" y="44"/>
                    </a:cubicBezTo>
                    <a:cubicBezTo>
                      <a:pt x="86" y="45"/>
                      <a:pt x="85" y="44"/>
                      <a:pt x="85" y="44"/>
                    </a:cubicBezTo>
                    <a:cubicBezTo>
                      <a:pt x="89" y="39"/>
                      <a:pt x="91" y="33"/>
                      <a:pt x="92" y="27"/>
                    </a:cubicBezTo>
                    <a:cubicBezTo>
                      <a:pt x="92" y="25"/>
                      <a:pt x="92" y="22"/>
                      <a:pt x="93" y="19"/>
                    </a:cubicBezTo>
                    <a:cubicBezTo>
                      <a:pt x="93" y="17"/>
                      <a:pt x="92" y="15"/>
                      <a:pt x="93" y="13"/>
                    </a:cubicBezTo>
                    <a:cubicBezTo>
                      <a:pt x="80" y="17"/>
                      <a:pt x="67" y="23"/>
                      <a:pt x="57" y="32"/>
                    </a:cubicBezTo>
                    <a:cubicBezTo>
                      <a:pt x="55" y="33"/>
                      <a:pt x="53" y="35"/>
                      <a:pt x="51" y="37"/>
                    </a:cubicBezTo>
                    <a:cubicBezTo>
                      <a:pt x="54" y="39"/>
                      <a:pt x="56" y="43"/>
                      <a:pt x="58" y="45"/>
                    </a:cubicBezTo>
                    <a:cubicBezTo>
                      <a:pt x="61" y="49"/>
                      <a:pt x="63" y="54"/>
                      <a:pt x="65" y="58"/>
                    </a:cubicBezTo>
                    <a:cubicBezTo>
                      <a:pt x="69" y="67"/>
                      <a:pt x="71" y="77"/>
                      <a:pt x="73" y="87"/>
                    </a:cubicBezTo>
                    <a:cubicBezTo>
                      <a:pt x="73" y="88"/>
                      <a:pt x="72" y="88"/>
                      <a:pt x="72" y="87"/>
                    </a:cubicBezTo>
                    <a:cubicBezTo>
                      <a:pt x="71" y="78"/>
                      <a:pt x="67" y="69"/>
                      <a:pt x="63" y="60"/>
                    </a:cubicBezTo>
                    <a:cubicBezTo>
                      <a:pt x="60" y="56"/>
                      <a:pt x="58" y="52"/>
                      <a:pt x="55" y="48"/>
                    </a:cubicBezTo>
                    <a:cubicBezTo>
                      <a:pt x="54" y="46"/>
                      <a:pt x="52" y="44"/>
                      <a:pt x="51" y="42"/>
                    </a:cubicBezTo>
                    <a:cubicBezTo>
                      <a:pt x="50" y="41"/>
                      <a:pt x="49" y="40"/>
                      <a:pt x="48" y="39"/>
                    </a:cubicBezTo>
                    <a:cubicBezTo>
                      <a:pt x="39" y="48"/>
                      <a:pt x="31" y="60"/>
                      <a:pt x="25" y="72"/>
                    </a:cubicBezTo>
                    <a:cubicBezTo>
                      <a:pt x="25" y="72"/>
                      <a:pt x="25" y="72"/>
                      <a:pt x="25" y="72"/>
                    </a:cubicBezTo>
                    <a:cubicBezTo>
                      <a:pt x="29" y="76"/>
                      <a:pt x="32" y="81"/>
                      <a:pt x="35" y="86"/>
                    </a:cubicBezTo>
                    <a:cubicBezTo>
                      <a:pt x="38" y="91"/>
                      <a:pt x="40" y="97"/>
                      <a:pt x="43" y="102"/>
                    </a:cubicBezTo>
                    <a:cubicBezTo>
                      <a:pt x="47" y="113"/>
                      <a:pt x="50" y="125"/>
                      <a:pt x="52" y="136"/>
                    </a:cubicBezTo>
                    <a:cubicBezTo>
                      <a:pt x="53" y="136"/>
                      <a:pt x="52" y="136"/>
                      <a:pt x="52" y="136"/>
                    </a:cubicBezTo>
                    <a:cubicBezTo>
                      <a:pt x="49" y="124"/>
                      <a:pt x="45" y="114"/>
                      <a:pt x="40" y="103"/>
                    </a:cubicBezTo>
                    <a:cubicBezTo>
                      <a:pt x="38" y="98"/>
                      <a:pt x="35" y="93"/>
                      <a:pt x="32" y="88"/>
                    </a:cubicBezTo>
                    <a:cubicBezTo>
                      <a:pt x="30" y="83"/>
                      <a:pt x="27" y="78"/>
                      <a:pt x="24" y="73"/>
                    </a:cubicBezTo>
                    <a:cubicBezTo>
                      <a:pt x="19" y="85"/>
                      <a:pt x="16" y="98"/>
                      <a:pt x="15" y="111"/>
                    </a:cubicBezTo>
                    <a:cubicBezTo>
                      <a:pt x="15" y="112"/>
                      <a:pt x="14" y="112"/>
                      <a:pt x="14" y="111"/>
                    </a:cubicBezTo>
                    <a:cubicBezTo>
                      <a:pt x="16" y="91"/>
                      <a:pt x="22" y="70"/>
                      <a:pt x="33" y="53"/>
                    </a:cubicBezTo>
                    <a:cubicBezTo>
                      <a:pt x="28" y="55"/>
                      <a:pt x="23" y="57"/>
                      <a:pt x="18" y="60"/>
                    </a:cubicBezTo>
                    <a:cubicBezTo>
                      <a:pt x="12" y="63"/>
                      <a:pt x="6" y="67"/>
                      <a:pt x="1" y="72"/>
                    </a:cubicBezTo>
                    <a:cubicBezTo>
                      <a:pt x="0" y="72"/>
                      <a:pt x="0" y="71"/>
                      <a:pt x="0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73">
                <a:extLst>
                  <a:ext uri="{FF2B5EF4-FFF2-40B4-BE49-F238E27FC236}">
                    <a16:creationId xmlns:a16="http://schemas.microsoft.com/office/drawing/2014/main" id="{54D9367A-5E2C-4025-B0EF-7C830E69E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" y="2761"/>
                <a:ext cx="28" cy="116"/>
              </a:xfrm>
              <a:custGeom>
                <a:avLst/>
                <a:gdLst>
                  <a:gd name="T0" fmla="*/ 1 w 12"/>
                  <a:gd name="T1" fmla="*/ 0 h 49"/>
                  <a:gd name="T2" fmla="*/ 8 w 12"/>
                  <a:gd name="T3" fmla="*/ 24 h 49"/>
                  <a:gd name="T4" fmla="*/ 12 w 12"/>
                  <a:gd name="T5" fmla="*/ 49 h 49"/>
                  <a:gd name="T6" fmla="*/ 12 w 12"/>
                  <a:gd name="T7" fmla="*/ 49 h 49"/>
                  <a:gd name="T8" fmla="*/ 0 w 12"/>
                  <a:gd name="T9" fmla="*/ 0 h 49"/>
                  <a:gd name="T10" fmla="*/ 1 w 12"/>
                  <a:gd name="T11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9">
                    <a:moveTo>
                      <a:pt x="1" y="0"/>
                    </a:moveTo>
                    <a:cubicBezTo>
                      <a:pt x="3" y="8"/>
                      <a:pt x="6" y="16"/>
                      <a:pt x="8" y="24"/>
                    </a:cubicBezTo>
                    <a:cubicBezTo>
                      <a:pt x="11" y="32"/>
                      <a:pt x="12" y="40"/>
                      <a:pt x="12" y="49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9" y="32"/>
                      <a:pt x="6" y="16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74">
                <a:extLst>
                  <a:ext uri="{FF2B5EF4-FFF2-40B4-BE49-F238E27FC236}">
                    <a16:creationId xmlns:a16="http://schemas.microsoft.com/office/drawing/2014/main" id="{DB0FE676-8353-4EE3-B478-475A2432A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6" y="2685"/>
                <a:ext cx="59" cy="28"/>
              </a:xfrm>
              <a:custGeom>
                <a:avLst/>
                <a:gdLst>
                  <a:gd name="T0" fmla="*/ 0 w 25"/>
                  <a:gd name="T1" fmla="*/ 12 h 12"/>
                  <a:gd name="T2" fmla="*/ 11 w 25"/>
                  <a:gd name="T3" fmla="*/ 4 h 12"/>
                  <a:gd name="T4" fmla="*/ 24 w 25"/>
                  <a:gd name="T5" fmla="*/ 0 h 12"/>
                  <a:gd name="T6" fmla="*/ 24 w 25"/>
                  <a:gd name="T7" fmla="*/ 0 h 12"/>
                  <a:gd name="T8" fmla="*/ 12 w 25"/>
                  <a:gd name="T9" fmla="*/ 5 h 12"/>
                  <a:gd name="T10" fmla="*/ 1 w 25"/>
                  <a:gd name="T11" fmla="*/ 12 h 12"/>
                  <a:gd name="T12" fmla="*/ 0 w 25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12">
                    <a:moveTo>
                      <a:pt x="0" y="12"/>
                    </a:moveTo>
                    <a:cubicBezTo>
                      <a:pt x="4" y="9"/>
                      <a:pt x="7" y="6"/>
                      <a:pt x="11" y="4"/>
                    </a:cubicBezTo>
                    <a:cubicBezTo>
                      <a:pt x="15" y="2"/>
                      <a:pt x="20" y="1"/>
                      <a:pt x="24" y="0"/>
                    </a:cubicBezTo>
                    <a:cubicBezTo>
                      <a:pt x="24" y="0"/>
                      <a:pt x="25" y="0"/>
                      <a:pt x="24" y="0"/>
                    </a:cubicBezTo>
                    <a:cubicBezTo>
                      <a:pt x="20" y="1"/>
                      <a:pt x="16" y="3"/>
                      <a:pt x="12" y="5"/>
                    </a:cubicBezTo>
                    <a:cubicBezTo>
                      <a:pt x="8" y="7"/>
                      <a:pt x="4" y="10"/>
                      <a:pt x="1" y="12"/>
                    </a:cubicBez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75">
                <a:extLst>
                  <a:ext uri="{FF2B5EF4-FFF2-40B4-BE49-F238E27FC236}">
                    <a16:creationId xmlns:a16="http://schemas.microsoft.com/office/drawing/2014/main" id="{86FFF609-457D-4993-84BF-04AA74660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7" y="2115"/>
                <a:ext cx="411" cy="366"/>
              </a:xfrm>
              <a:custGeom>
                <a:avLst/>
                <a:gdLst>
                  <a:gd name="T0" fmla="*/ 173 w 173"/>
                  <a:gd name="T1" fmla="*/ 154 h 154"/>
                  <a:gd name="T2" fmla="*/ 94 w 173"/>
                  <a:gd name="T3" fmla="*/ 26 h 154"/>
                  <a:gd name="T4" fmla="*/ 42 w 173"/>
                  <a:gd name="T5" fmla="*/ 108 h 154"/>
                  <a:gd name="T6" fmla="*/ 173 w 173"/>
                  <a:gd name="T7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3" h="154">
                    <a:moveTo>
                      <a:pt x="173" y="154"/>
                    </a:moveTo>
                    <a:cubicBezTo>
                      <a:pt x="173" y="154"/>
                      <a:pt x="165" y="57"/>
                      <a:pt x="94" y="26"/>
                    </a:cubicBezTo>
                    <a:cubicBezTo>
                      <a:pt x="34" y="0"/>
                      <a:pt x="0" y="67"/>
                      <a:pt x="42" y="108"/>
                    </a:cubicBezTo>
                    <a:cubicBezTo>
                      <a:pt x="76" y="142"/>
                      <a:pt x="131" y="127"/>
                      <a:pt x="173" y="154"/>
                    </a:cubicBezTo>
                    <a:close/>
                  </a:path>
                </a:pathLst>
              </a:custGeom>
              <a:solidFill>
                <a:srgbClr val="81E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76">
                <a:extLst>
                  <a:ext uri="{FF2B5EF4-FFF2-40B4-BE49-F238E27FC236}">
                    <a16:creationId xmlns:a16="http://schemas.microsoft.com/office/drawing/2014/main" id="{B55B845D-DCCE-4495-8367-CF9BD36B1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8" y="2203"/>
                <a:ext cx="382" cy="807"/>
              </a:xfrm>
              <a:custGeom>
                <a:avLst/>
                <a:gdLst>
                  <a:gd name="T0" fmla="*/ 0 w 161"/>
                  <a:gd name="T1" fmla="*/ 8 h 340"/>
                  <a:gd name="T2" fmla="*/ 32 w 161"/>
                  <a:gd name="T3" fmla="*/ 23 h 340"/>
                  <a:gd name="T4" fmla="*/ 57 w 161"/>
                  <a:gd name="T5" fmla="*/ 39 h 340"/>
                  <a:gd name="T6" fmla="*/ 53 w 161"/>
                  <a:gd name="T7" fmla="*/ 32 h 340"/>
                  <a:gd name="T8" fmla="*/ 47 w 161"/>
                  <a:gd name="T9" fmla="*/ 21 h 340"/>
                  <a:gd name="T10" fmla="*/ 32 w 161"/>
                  <a:gd name="T11" fmla="*/ 1 h 340"/>
                  <a:gd name="T12" fmla="*/ 32 w 161"/>
                  <a:gd name="T13" fmla="*/ 0 h 340"/>
                  <a:gd name="T14" fmla="*/ 49 w 161"/>
                  <a:gd name="T15" fmla="*/ 20 h 340"/>
                  <a:gd name="T16" fmla="*/ 56 w 161"/>
                  <a:gd name="T17" fmla="*/ 31 h 340"/>
                  <a:gd name="T18" fmla="*/ 60 w 161"/>
                  <a:gd name="T19" fmla="*/ 42 h 340"/>
                  <a:gd name="T20" fmla="*/ 61 w 161"/>
                  <a:gd name="T21" fmla="*/ 42 h 340"/>
                  <a:gd name="T22" fmla="*/ 95 w 161"/>
                  <a:gd name="T23" fmla="*/ 76 h 340"/>
                  <a:gd name="T24" fmla="*/ 95 w 161"/>
                  <a:gd name="T25" fmla="*/ 73 h 340"/>
                  <a:gd name="T26" fmla="*/ 90 w 161"/>
                  <a:gd name="T27" fmla="*/ 59 h 340"/>
                  <a:gd name="T28" fmla="*/ 77 w 161"/>
                  <a:gd name="T29" fmla="*/ 31 h 340"/>
                  <a:gd name="T30" fmla="*/ 78 w 161"/>
                  <a:gd name="T31" fmla="*/ 31 h 340"/>
                  <a:gd name="T32" fmla="*/ 93 w 161"/>
                  <a:gd name="T33" fmla="*/ 58 h 340"/>
                  <a:gd name="T34" fmla="*/ 98 w 161"/>
                  <a:gd name="T35" fmla="*/ 72 h 340"/>
                  <a:gd name="T36" fmla="*/ 100 w 161"/>
                  <a:gd name="T37" fmla="*/ 82 h 340"/>
                  <a:gd name="T38" fmla="*/ 110 w 161"/>
                  <a:gd name="T39" fmla="*/ 94 h 340"/>
                  <a:gd name="T40" fmla="*/ 159 w 161"/>
                  <a:gd name="T41" fmla="*/ 244 h 340"/>
                  <a:gd name="T42" fmla="*/ 160 w 161"/>
                  <a:gd name="T43" fmla="*/ 291 h 340"/>
                  <a:gd name="T44" fmla="*/ 156 w 161"/>
                  <a:gd name="T45" fmla="*/ 339 h 340"/>
                  <a:gd name="T46" fmla="*/ 154 w 161"/>
                  <a:gd name="T47" fmla="*/ 338 h 340"/>
                  <a:gd name="T48" fmla="*/ 156 w 161"/>
                  <a:gd name="T49" fmla="*/ 297 h 340"/>
                  <a:gd name="T50" fmla="*/ 155 w 161"/>
                  <a:gd name="T51" fmla="*/ 255 h 340"/>
                  <a:gd name="T52" fmla="*/ 139 w 161"/>
                  <a:gd name="T53" fmla="*/ 173 h 340"/>
                  <a:gd name="T54" fmla="*/ 103 w 161"/>
                  <a:gd name="T55" fmla="*/ 96 h 340"/>
                  <a:gd name="T56" fmla="*/ 94 w 161"/>
                  <a:gd name="T57" fmla="*/ 94 h 340"/>
                  <a:gd name="T58" fmla="*/ 83 w 161"/>
                  <a:gd name="T59" fmla="*/ 91 h 340"/>
                  <a:gd name="T60" fmla="*/ 63 w 161"/>
                  <a:gd name="T61" fmla="*/ 84 h 340"/>
                  <a:gd name="T62" fmla="*/ 64 w 161"/>
                  <a:gd name="T63" fmla="*/ 83 h 340"/>
                  <a:gd name="T64" fmla="*/ 84 w 161"/>
                  <a:gd name="T65" fmla="*/ 90 h 340"/>
                  <a:gd name="T66" fmla="*/ 101 w 161"/>
                  <a:gd name="T67" fmla="*/ 93 h 340"/>
                  <a:gd name="T68" fmla="*/ 84 w 161"/>
                  <a:gd name="T69" fmla="*/ 71 h 340"/>
                  <a:gd name="T70" fmla="*/ 44 w 161"/>
                  <a:gd name="T71" fmla="*/ 68 h 340"/>
                  <a:gd name="T72" fmla="*/ 23 w 161"/>
                  <a:gd name="T73" fmla="*/ 62 h 340"/>
                  <a:gd name="T74" fmla="*/ 2 w 161"/>
                  <a:gd name="T75" fmla="*/ 52 h 340"/>
                  <a:gd name="T76" fmla="*/ 2 w 161"/>
                  <a:gd name="T77" fmla="*/ 52 h 340"/>
                  <a:gd name="T78" fmla="*/ 43 w 161"/>
                  <a:gd name="T79" fmla="*/ 65 h 340"/>
                  <a:gd name="T80" fmla="*/ 82 w 161"/>
                  <a:gd name="T81" fmla="*/ 68 h 340"/>
                  <a:gd name="T82" fmla="*/ 66 w 161"/>
                  <a:gd name="T83" fmla="*/ 51 h 340"/>
                  <a:gd name="T84" fmla="*/ 0 w 161"/>
                  <a:gd name="T85" fmla="*/ 8 h 340"/>
                  <a:gd name="T86" fmla="*/ 0 w 161"/>
                  <a:gd name="T87" fmla="*/ 8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61" h="340">
                    <a:moveTo>
                      <a:pt x="0" y="8"/>
                    </a:moveTo>
                    <a:cubicBezTo>
                      <a:pt x="11" y="12"/>
                      <a:pt x="22" y="17"/>
                      <a:pt x="32" y="23"/>
                    </a:cubicBezTo>
                    <a:cubicBezTo>
                      <a:pt x="41" y="28"/>
                      <a:pt x="49" y="33"/>
                      <a:pt x="57" y="39"/>
                    </a:cubicBezTo>
                    <a:cubicBezTo>
                      <a:pt x="56" y="37"/>
                      <a:pt x="55" y="34"/>
                      <a:pt x="53" y="32"/>
                    </a:cubicBezTo>
                    <a:cubicBezTo>
                      <a:pt x="52" y="28"/>
                      <a:pt x="50" y="24"/>
                      <a:pt x="47" y="21"/>
                    </a:cubicBezTo>
                    <a:cubicBezTo>
                      <a:pt x="43" y="14"/>
                      <a:pt x="38" y="7"/>
                      <a:pt x="32" y="1"/>
                    </a:cubicBezTo>
                    <a:cubicBezTo>
                      <a:pt x="31" y="1"/>
                      <a:pt x="32" y="0"/>
                      <a:pt x="32" y="0"/>
                    </a:cubicBezTo>
                    <a:cubicBezTo>
                      <a:pt x="38" y="7"/>
                      <a:pt x="44" y="13"/>
                      <a:pt x="49" y="20"/>
                    </a:cubicBezTo>
                    <a:cubicBezTo>
                      <a:pt x="51" y="23"/>
                      <a:pt x="54" y="27"/>
                      <a:pt x="56" y="31"/>
                    </a:cubicBezTo>
                    <a:cubicBezTo>
                      <a:pt x="57" y="34"/>
                      <a:pt x="60" y="38"/>
                      <a:pt x="60" y="42"/>
                    </a:cubicBezTo>
                    <a:cubicBezTo>
                      <a:pt x="61" y="42"/>
                      <a:pt x="61" y="42"/>
                      <a:pt x="61" y="42"/>
                    </a:cubicBezTo>
                    <a:cubicBezTo>
                      <a:pt x="74" y="52"/>
                      <a:pt x="85" y="64"/>
                      <a:pt x="95" y="76"/>
                    </a:cubicBezTo>
                    <a:cubicBezTo>
                      <a:pt x="95" y="75"/>
                      <a:pt x="95" y="74"/>
                      <a:pt x="95" y="73"/>
                    </a:cubicBezTo>
                    <a:cubicBezTo>
                      <a:pt x="93" y="68"/>
                      <a:pt x="92" y="64"/>
                      <a:pt x="90" y="59"/>
                    </a:cubicBezTo>
                    <a:cubicBezTo>
                      <a:pt x="87" y="49"/>
                      <a:pt x="83" y="40"/>
                      <a:pt x="77" y="31"/>
                    </a:cubicBezTo>
                    <a:cubicBezTo>
                      <a:pt x="77" y="31"/>
                      <a:pt x="78" y="30"/>
                      <a:pt x="78" y="31"/>
                    </a:cubicBezTo>
                    <a:cubicBezTo>
                      <a:pt x="84" y="40"/>
                      <a:pt x="89" y="48"/>
                      <a:pt x="93" y="58"/>
                    </a:cubicBezTo>
                    <a:cubicBezTo>
                      <a:pt x="95" y="63"/>
                      <a:pt x="97" y="67"/>
                      <a:pt x="98" y="72"/>
                    </a:cubicBezTo>
                    <a:cubicBezTo>
                      <a:pt x="99" y="75"/>
                      <a:pt x="100" y="79"/>
                      <a:pt x="100" y="82"/>
                    </a:cubicBezTo>
                    <a:cubicBezTo>
                      <a:pt x="104" y="86"/>
                      <a:pt x="107" y="90"/>
                      <a:pt x="110" y="94"/>
                    </a:cubicBezTo>
                    <a:cubicBezTo>
                      <a:pt x="140" y="138"/>
                      <a:pt x="156" y="191"/>
                      <a:pt x="159" y="244"/>
                    </a:cubicBezTo>
                    <a:cubicBezTo>
                      <a:pt x="161" y="259"/>
                      <a:pt x="161" y="275"/>
                      <a:pt x="160" y="291"/>
                    </a:cubicBezTo>
                    <a:cubicBezTo>
                      <a:pt x="160" y="307"/>
                      <a:pt x="159" y="323"/>
                      <a:pt x="156" y="339"/>
                    </a:cubicBezTo>
                    <a:cubicBezTo>
                      <a:pt x="156" y="340"/>
                      <a:pt x="154" y="339"/>
                      <a:pt x="154" y="338"/>
                    </a:cubicBezTo>
                    <a:cubicBezTo>
                      <a:pt x="155" y="325"/>
                      <a:pt x="156" y="311"/>
                      <a:pt x="156" y="297"/>
                    </a:cubicBezTo>
                    <a:cubicBezTo>
                      <a:pt x="157" y="283"/>
                      <a:pt x="156" y="269"/>
                      <a:pt x="155" y="255"/>
                    </a:cubicBezTo>
                    <a:cubicBezTo>
                      <a:pt x="153" y="227"/>
                      <a:pt x="147" y="200"/>
                      <a:pt x="139" y="173"/>
                    </a:cubicBezTo>
                    <a:cubicBezTo>
                      <a:pt x="131" y="146"/>
                      <a:pt x="119" y="120"/>
                      <a:pt x="103" y="96"/>
                    </a:cubicBezTo>
                    <a:cubicBezTo>
                      <a:pt x="100" y="95"/>
                      <a:pt x="97" y="94"/>
                      <a:pt x="94" y="94"/>
                    </a:cubicBezTo>
                    <a:cubicBezTo>
                      <a:pt x="90" y="93"/>
                      <a:pt x="87" y="92"/>
                      <a:pt x="83" y="91"/>
                    </a:cubicBezTo>
                    <a:cubicBezTo>
                      <a:pt x="76" y="89"/>
                      <a:pt x="70" y="87"/>
                      <a:pt x="63" y="84"/>
                    </a:cubicBezTo>
                    <a:cubicBezTo>
                      <a:pt x="63" y="83"/>
                      <a:pt x="63" y="83"/>
                      <a:pt x="64" y="83"/>
                    </a:cubicBezTo>
                    <a:cubicBezTo>
                      <a:pt x="70" y="87"/>
                      <a:pt x="77" y="88"/>
                      <a:pt x="84" y="90"/>
                    </a:cubicBezTo>
                    <a:cubicBezTo>
                      <a:pt x="90" y="91"/>
                      <a:pt x="95" y="92"/>
                      <a:pt x="101" y="93"/>
                    </a:cubicBezTo>
                    <a:cubicBezTo>
                      <a:pt x="96" y="85"/>
                      <a:pt x="90" y="78"/>
                      <a:pt x="84" y="71"/>
                    </a:cubicBezTo>
                    <a:cubicBezTo>
                      <a:pt x="71" y="72"/>
                      <a:pt x="57" y="71"/>
                      <a:pt x="44" y="68"/>
                    </a:cubicBezTo>
                    <a:cubicBezTo>
                      <a:pt x="37" y="66"/>
                      <a:pt x="30" y="64"/>
                      <a:pt x="23" y="62"/>
                    </a:cubicBezTo>
                    <a:cubicBezTo>
                      <a:pt x="16" y="59"/>
                      <a:pt x="9" y="55"/>
                      <a:pt x="2" y="52"/>
                    </a:cubicBezTo>
                    <a:cubicBezTo>
                      <a:pt x="1" y="52"/>
                      <a:pt x="2" y="51"/>
                      <a:pt x="2" y="52"/>
                    </a:cubicBezTo>
                    <a:cubicBezTo>
                      <a:pt x="14" y="59"/>
                      <a:pt x="29" y="63"/>
                      <a:pt x="43" y="65"/>
                    </a:cubicBezTo>
                    <a:cubicBezTo>
                      <a:pt x="56" y="67"/>
                      <a:pt x="69" y="68"/>
                      <a:pt x="82" y="68"/>
                    </a:cubicBezTo>
                    <a:cubicBezTo>
                      <a:pt x="77" y="62"/>
                      <a:pt x="72" y="57"/>
                      <a:pt x="66" y="51"/>
                    </a:cubicBezTo>
                    <a:cubicBezTo>
                      <a:pt x="47" y="34"/>
                      <a:pt x="25" y="17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77">
                <a:extLst>
                  <a:ext uri="{FF2B5EF4-FFF2-40B4-BE49-F238E27FC236}">
                    <a16:creationId xmlns:a16="http://schemas.microsoft.com/office/drawing/2014/main" id="{38E987EE-54A3-4E20-8FBE-7D7880291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" y="2222"/>
                <a:ext cx="38" cy="66"/>
              </a:xfrm>
              <a:custGeom>
                <a:avLst/>
                <a:gdLst>
                  <a:gd name="T0" fmla="*/ 1 w 16"/>
                  <a:gd name="T1" fmla="*/ 0 h 28"/>
                  <a:gd name="T2" fmla="*/ 9 w 16"/>
                  <a:gd name="T3" fmla="*/ 13 h 28"/>
                  <a:gd name="T4" fmla="*/ 16 w 16"/>
                  <a:gd name="T5" fmla="*/ 28 h 28"/>
                  <a:gd name="T6" fmla="*/ 15 w 16"/>
                  <a:gd name="T7" fmla="*/ 28 h 28"/>
                  <a:gd name="T8" fmla="*/ 9 w 16"/>
                  <a:gd name="T9" fmla="*/ 14 h 28"/>
                  <a:gd name="T10" fmla="*/ 0 w 16"/>
                  <a:gd name="T11" fmla="*/ 1 h 28"/>
                  <a:gd name="T12" fmla="*/ 1 w 16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28">
                    <a:moveTo>
                      <a:pt x="1" y="0"/>
                    </a:moveTo>
                    <a:cubicBezTo>
                      <a:pt x="4" y="4"/>
                      <a:pt x="7" y="8"/>
                      <a:pt x="9" y="13"/>
                    </a:cubicBezTo>
                    <a:cubicBezTo>
                      <a:pt x="12" y="18"/>
                      <a:pt x="14" y="23"/>
                      <a:pt x="16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3" y="23"/>
                      <a:pt x="11" y="18"/>
                      <a:pt x="9" y="14"/>
                    </a:cubicBezTo>
                    <a:cubicBezTo>
                      <a:pt x="6" y="9"/>
                      <a:pt x="3" y="5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78">
                <a:extLst>
                  <a:ext uri="{FF2B5EF4-FFF2-40B4-BE49-F238E27FC236}">
                    <a16:creationId xmlns:a16="http://schemas.microsoft.com/office/drawing/2014/main" id="{ACBD6462-CB5D-4F88-B196-3E45070F3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6" y="2298"/>
                <a:ext cx="74" cy="26"/>
              </a:xfrm>
              <a:custGeom>
                <a:avLst/>
                <a:gdLst>
                  <a:gd name="T0" fmla="*/ 1 w 31"/>
                  <a:gd name="T1" fmla="*/ 0 h 11"/>
                  <a:gd name="T2" fmla="*/ 16 w 31"/>
                  <a:gd name="T3" fmla="*/ 6 h 11"/>
                  <a:gd name="T4" fmla="*/ 31 w 31"/>
                  <a:gd name="T5" fmla="*/ 10 h 11"/>
                  <a:gd name="T6" fmla="*/ 31 w 31"/>
                  <a:gd name="T7" fmla="*/ 11 h 11"/>
                  <a:gd name="T8" fmla="*/ 15 w 31"/>
                  <a:gd name="T9" fmla="*/ 7 h 11"/>
                  <a:gd name="T10" fmla="*/ 1 w 31"/>
                  <a:gd name="T11" fmla="*/ 1 h 11"/>
                  <a:gd name="T12" fmla="*/ 1 w 31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1">
                    <a:moveTo>
                      <a:pt x="1" y="0"/>
                    </a:moveTo>
                    <a:cubicBezTo>
                      <a:pt x="6" y="3"/>
                      <a:pt x="11" y="5"/>
                      <a:pt x="16" y="6"/>
                    </a:cubicBezTo>
                    <a:cubicBezTo>
                      <a:pt x="21" y="8"/>
                      <a:pt x="26" y="9"/>
                      <a:pt x="31" y="10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25" y="10"/>
                      <a:pt x="20" y="9"/>
                      <a:pt x="15" y="7"/>
                    </a:cubicBezTo>
                    <a:cubicBezTo>
                      <a:pt x="10" y="6"/>
                      <a:pt x="5" y="3"/>
                      <a:pt x="1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79">
                <a:extLst>
                  <a:ext uri="{FF2B5EF4-FFF2-40B4-BE49-F238E27FC236}">
                    <a16:creationId xmlns:a16="http://schemas.microsoft.com/office/drawing/2014/main" id="{F6BEF653-0256-4A4A-BC60-D5D08D8A9E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3" y="1780"/>
                <a:ext cx="503" cy="667"/>
              </a:xfrm>
              <a:custGeom>
                <a:avLst/>
                <a:gdLst>
                  <a:gd name="T0" fmla="*/ 20 w 212"/>
                  <a:gd name="T1" fmla="*/ 277 h 281"/>
                  <a:gd name="T2" fmla="*/ 91 w 212"/>
                  <a:gd name="T3" fmla="*/ 208 h 281"/>
                  <a:gd name="T4" fmla="*/ 158 w 212"/>
                  <a:gd name="T5" fmla="*/ 42 h 281"/>
                  <a:gd name="T6" fmla="*/ 20 w 212"/>
                  <a:gd name="T7" fmla="*/ 277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2" h="281">
                    <a:moveTo>
                      <a:pt x="20" y="277"/>
                    </a:moveTo>
                    <a:cubicBezTo>
                      <a:pt x="20" y="281"/>
                      <a:pt x="31" y="242"/>
                      <a:pt x="91" y="208"/>
                    </a:cubicBezTo>
                    <a:cubicBezTo>
                      <a:pt x="146" y="176"/>
                      <a:pt x="212" y="94"/>
                      <a:pt x="158" y="42"/>
                    </a:cubicBezTo>
                    <a:cubicBezTo>
                      <a:pt x="115" y="0"/>
                      <a:pt x="0" y="91"/>
                      <a:pt x="20" y="277"/>
                    </a:cubicBezTo>
                    <a:close/>
                  </a:path>
                </a:pathLst>
              </a:custGeom>
              <a:solidFill>
                <a:srgbClr val="81E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80">
                <a:extLst>
                  <a:ext uri="{FF2B5EF4-FFF2-40B4-BE49-F238E27FC236}">
                    <a16:creationId xmlns:a16="http://schemas.microsoft.com/office/drawing/2014/main" id="{EDA4E1CA-959B-42F0-88BA-7C610F50D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1" y="1932"/>
                <a:ext cx="365" cy="1332"/>
              </a:xfrm>
              <a:custGeom>
                <a:avLst/>
                <a:gdLst>
                  <a:gd name="T0" fmla="*/ 0 w 154"/>
                  <a:gd name="T1" fmla="*/ 438 h 561"/>
                  <a:gd name="T2" fmla="*/ 10 w 154"/>
                  <a:gd name="T3" fmla="*/ 316 h 561"/>
                  <a:gd name="T4" fmla="*/ 36 w 154"/>
                  <a:gd name="T5" fmla="*/ 207 h 561"/>
                  <a:gd name="T6" fmla="*/ 51 w 154"/>
                  <a:gd name="T7" fmla="*/ 169 h 561"/>
                  <a:gd name="T8" fmla="*/ 51 w 154"/>
                  <a:gd name="T9" fmla="*/ 155 h 561"/>
                  <a:gd name="T10" fmla="*/ 52 w 154"/>
                  <a:gd name="T11" fmla="*/ 136 h 561"/>
                  <a:gd name="T12" fmla="*/ 54 w 154"/>
                  <a:gd name="T13" fmla="*/ 118 h 561"/>
                  <a:gd name="T14" fmla="*/ 57 w 154"/>
                  <a:gd name="T15" fmla="*/ 100 h 561"/>
                  <a:gd name="T16" fmla="*/ 57 w 154"/>
                  <a:gd name="T17" fmla="*/ 100 h 561"/>
                  <a:gd name="T18" fmla="*/ 55 w 154"/>
                  <a:gd name="T19" fmla="*/ 119 h 561"/>
                  <a:gd name="T20" fmla="*/ 54 w 154"/>
                  <a:gd name="T21" fmla="*/ 137 h 561"/>
                  <a:gd name="T22" fmla="*/ 54 w 154"/>
                  <a:gd name="T23" fmla="*/ 155 h 561"/>
                  <a:gd name="T24" fmla="*/ 54 w 154"/>
                  <a:gd name="T25" fmla="*/ 162 h 561"/>
                  <a:gd name="T26" fmla="*/ 73 w 154"/>
                  <a:gd name="T27" fmla="*/ 126 h 561"/>
                  <a:gd name="T28" fmla="*/ 79 w 154"/>
                  <a:gd name="T29" fmla="*/ 50 h 561"/>
                  <a:gd name="T30" fmla="*/ 80 w 154"/>
                  <a:gd name="T31" fmla="*/ 51 h 561"/>
                  <a:gd name="T32" fmla="*/ 76 w 154"/>
                  <a:gd name="T33" fmla="*/ 90 h 561"/>
                  <a:gd name="T34" fmla="*/ 76 w 154"/>
                  <a:gd name="T35" fmla="*/ 120 h 561"/>
                  <a:gd name="T36" fmla="*/ 81 w 154"/>
                  <a:gd name="T37" fmla="*/ 113 h 561"/>
                  <a:gd name="T38" fmla="*/ 106 w 154"/>
                  <a:gd name="T39" fmla="*/ 75 h 561"/>
                  <a:gd name="T40" fmla="*/ 106 w 154"/>
                  <a:gd name="T41" fmla="*/ 58 h 561"/>
                  <a:gd name="T42" fmla="*/ 111 w 154"/>
                  <a:gd name="T43" fmla="*/ 38 h 561"/>
                  <a:gd name="T44" fmla="*/ 117 w 154"/>
                  <a:gd name="T45" fmla="*/ 19 h 561"/>
                  <a:gd name="T46" fmla="*/ 126 w 154"/>
                  <a:gd name="T47" fmla="*/ 0 h 561"/>
                  <a:gd name="T48" fmla="*/ 127 w 154"/>
                  <a:gd name="T49" fmla="*/ 1 h 561"/>
                  <a:gd name="T50" fmla="*/ 119 w 154"/>
                  <a:gd name="T51" fmla="*/ 20 h 561"/>
                  <a:gd name="T52" fmla="*/ 114 w 154"/>
                  <a:gd name="T53" fmla="*/ 39 h 561"/>
                  <a:gd name="T54" fmla="*/ 111 w 154"/>
                  <a:gd name="T55" fmla="*/ 58 h 561"/>
                  <a:gd name="T56" fmla="*/ 109 w 154"/>
                  <a:gd name="T57" fmla="*/ 71 h 561"/>
                  <a:gd name="T58" fmla="*/ 152 w 154"/>
                  <a:gd name="T59" fmla="*/ 21 h 561"/>
                  <a:gd name="T60" fmla="*/ 152 w 154"/>
                  <a:gd name="T61" fmla="*/ 22 h 561"/>
                  <a:gd name="T62" fmla="*/ 91 w 154"/>
                  <a:gd name="T63" fmla="*/ 106 h 561"/>
                  <a:gd name="T64" fmla="*/ 89 w 154"/>
                  <a:gd name="T65" fmla="*/ 109 h 561"/>
                  <a:gd name="T66" fmla="*/ 99 w 154"/>
                  <a:gd name="T67" fmla="*/ 104 h 561"/>
                  <a:gd name="T68" fmla="*/ 117 w 154"/>
                  <a:gd name="T69" fmla="*/ 94 h 561"/>
                  <a:gd name="T70" fmla="*/ 134 w 154"/>
                  <a:gd name="T71" fmla="*/ 84 h 561"/>
                  <a:gd name="T72" fmla="*/ 143 w 154"/>
                  <a:gd name="T73" fmla="*/ 80 h 561"/>
                  <a:gd name="T74" fmla="*/ 153 w 154"/>
                  <a:gd name="T75" fmla="*/ 74 h 561"/>
                  <a:gd name="T76" fmla="*/ 153 w 154"/>
                  <a:gd name="T77" fmla="*/ 75 h 561"/>
                  <a:gd name="T78" fmla="*/ 137 w 154"/>
                  <a:gd name="T79" fmla="*/ 86 h 561"/>
                  <a:gd name="T80" fmla="*/ 119 w 154"/>
                  <a:gd name="T81" fmla="*/ 96 h 561"/>
                  <a:gd name="T82" fmla="*/ 86 w 154"/>
                  <a:gd name="T83" fmla="*/ 113 h 561"/>
                  <a:gd name="T84" fmla="*/ 66 w 154"/>
                  <a:gd name="T85" fmla="*/ 153 h 561"/>
                  <a:gd name="T86" fmla="*/ 86 w 154"/>
                  <a:gd name="T87" fmla="*/ 141 h 561"/>
                  <a:gd name="T88" fmla="*/ 99 w 154"/>
                  <a:gd name="T89" fmla="*/ 134 h 561"/>
                  <a:gd name="T90" fmla="*/ 111 w 154"/>
                  <a:gd name="T91" fmla="*/ 126 h 561"/>
                  <a:gd name="T92" fmla="*/ 111 w 154"/>
                  <a:gd name="T93" fmla="*/ 127 h 561"/>
                  <a:gd name="T94" fmla="*/ 88 w 154"/>
                  <a:gd name="T95" fmla="*/ 143 h 561"/>
                  <a:gd name="T96" fmla="*/ 64 w 154"/>
                  <a:gd name="T97" fmla="*/ 156 h 561"/>
                  <a:gd name="T98" fmla="*/ 47 w 154"/>
                  <a:gd name="T99" fmla="*/ 199 h 561"/>
                  <a:gd name="T100" fmla="*/ 7 w 154"/>
                  <a:gd name="T101" fmla="*/ 424 h 561"/>
                  <a:gd name="T102" fmla="*/ 5 w 154"/>
                  <a:gd name="T103" fmla="*/ 492 h 561"/>
                  <a:gd name="T104" fmla="*/ 6 w 154"/>
                  <a:gd name="T105" fmla="*/ 560 h 561"/>
                  <a:gd name="T106" fmla="*/ 5 w 154"/>
                  <a:gd name="T107" fmla="*/ 561 h 561"/>
                  <a:gd name="T108" fmla="*/ 1 w 154"/>
                  <a:gd name="T109" fmla="*/ 500 h 561"/>
                  <a:gd name="T110" fmla="*/ 0 w 154"/>
                  <a:gd name="T111" fmla="*/ 438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4" h="561">
                    <a:moveTo>
                      <a:pt x="0" y="438"/>
                    </a:moveTo>
                    <a:cubicBezTo>
                      <a:pt x="1" y="397"/>
                      <a:pt x="4" y="356"/>
                      <a:pt x="10" y="316"/>
                    </a:cubicBezTo>
                    <a:cubicBezTo>
                      <a:pt x="15" y="279"/>
                      <a:pt x="23" y="242"/>
                      <a:pt x="36" y="207"/>
                    </a:cubicBezTo>
                    <a:cubicBezTo>
                      <a:pt x="40" y="194"/>
                      <a:pt x="45" y="182"/>
                      <a:pt x="51" y="169"/>
                    </a:cubicBezTo>
                    <a:cubicBezTo>
                      <a:pt x="50" y="165"/>
                      <a:pt x="51" y="159"/>
                      <a:pt x="51" y="155"/>
                    </a:cubicBezTo>
                    <a:cubicBezTo>
                      <a:pt x="51" y="149"/>
                      <a:pt x="52" y="143"/>
                      <a:pt x="52" y="136"/>
                    </a:cubicBezTo>
                    <a:cubicBezTo>
                      <a:pt x="53" y="130"/>
                      <a:pt x="54" y="124"/>
                      <a:pt x="54" y="118"/>
                    </a:cubicBezTo>
                    <a:cubicBezTo>
                      <a:pt x="55" y="112"/>
                      <a:pt x="56" y="106"/>
                      <a:pt x="57" y="100"/>
                    </a:cubicBezTo>
                    <a:cubicBezTo>
                      <a:pt x="57" y="99"/>
                      <a:pt x="58" y="99"/>
                      <a:pt x="57" y="100"/>
                    </a:cubicBezTo>
                    <a:cubicBezTo>
                      <a:pt x="56" y="106"/>
                      <a:pt x="56" y="113"/>
                      <a:pt x="55" y="119"/>
                    </a:cubicBezTo>
                    <a:cubicBezTo>
                      <a:pt x="55" y="125"/>
                      <a:pt x="54" y="131"/>
                      <a:pt x="54" y="137"/>
                    </a:cubicBezTo>
                    <a:cubicBezTo>
                      <a:pt x="54" y="143"/>
                      <a:pt x="54" y="149"/>
                      <a:pt x="54" y="155"/>
                    </a:cubicBezTo>
                    <a:cubicBezTo>
                      <a:pt x="54" y="157"/>
                      <a:pt x="54" y="159"/>
                      <a:pt x="54" y="162"/>
                    </a:cubicBezTo>
                    <a:cubicBezTo>
                      <a:pt x="60" y="150"/>
                      <a:pt x="66" y="138"/>
                      <a:pt x="73" y="126"/>
                    </a:cubicBezTo>
                    <a:cubicBezTo>
                      <a:pt x="69" y="101"/>
                      <a:pt x="74" y="75"/>
                      <a:pt x="79" y="50"/>
                    </a:cubicBezTo>
                    <a:cubicBezTo>
                      <a:pt x="79" y="50"/>
                      <a:pt x="80" y="50"/>
                      <a:pt x="80" y="51"/>
                    </a:cubicBezTo>
                    <a:cubicBezTo>
                      <a:pt x="77" y="63"/>
                      <a:pt x="76" y="76"/>
                      <a:pt x="76" y="90"/>
                    </a:cubicBezTo>
                    <a:cubicBezTo>
                      <a:pt x="76" y="100"/>
                      <a:pt x="76" y="110"/>
                      <a:pt x="76" y="120"/>
                    </a:cubicBezTo>
                    <a:cubicBezTo>
                      <a:pt x="78" y="118"/>
                      <a:pt x="79" y="116"/>
                      <a:pt x="81" y="113"/>
                    </a:cubicBezTo>
                    <a:cubicBezTo>
                      <a:pt x="88" y="100"/>
                      <a:pt x="97" y="88"/>
                      <a:pt x="106" y="75"/>
                    </a:cubicBezTo>
                    <a:cubicBezTo>
                      <a:pt x="105" y="70"/>
                      <a:pt x="105" y="63"/>
                      <a:pt x="106" y="58"/>
                    </a:cubicBezTo>
                    <a:cubicBezTo>
                      <a:pt x="107" y="51"/>
                      <a:pt x="109" y="44"/>
                      <a:pt x="111" y="38"/>
                    </a:cubicBezTo>
                    <a:cubicBezTo>
                      <a:pt x="113" y="32"/>
                      <a:pt x="115" y="25"/>
                      <a:pt x="117" y="19"/>
                    </a:cubicBezTo>
                    <a:cubicBezTo>
                      <a:pt x="120" y="13"/>
                      <a:pt x="123" y="7"/>
                      <a:pt x="126" y="0"/>
                    </a:cubicBezTo>
                    <a:cubicBezTo>
                      <a:pt x="126" y="0"/>
                      <a:pt x="127" y="0"/>
                      <a:pt x="127" y="1"/>
                    </a:cubicBezTo>
                    <a:cubicBezTo>
                      <a:pt x="123" y="6"/>
                      <a:pt x="121" y="13"/>
                      <a:pt x="119" y="20"/>
                    </a:cubicBezTo>
                    <a:cubicBezTo>
                      <a:pt x="117" y="26"/>
                      <a:pt x="115" y="32"/>
                      <a:pt x="114" y="39"/>
                    </a:cubicBezTo>
                    <a:cubicBezTo>
                      <a:pt x="113" y="45"/>
                      <a:pt x="112" y="51"/>
                      <a:pt x="111" y="58"/>
                    </a:cubicBezTo>
                    <a:cubicBezTo>
                      <a:pt x="110" y="62"/>
                      <a:pt x="110" y="66"/>
                      <a:pt x="109" y="71"/>
                    </a:cubicBezTo>
                    <a:cubicBezTo>
                      <a:pt x="122" y="53"/>
                      <a:pt x="136" y="37"/>
                      <a:pt x="152" y="21"/>
                    </a:cubicBezTo>
                    <a:cubicBezTo>
                      <a:pt x="152" y="21"/>
                      <a:pt x="153" y="22"/>
                      <a:pt x="152" y="22"/>
                    </a:cubicBezTo>
                    <a:cubicBezTo>
                      <a:pt x="129" y="48"/>
                      <a:pt x="108" y="76"/>
                      <a:pt x="91" y="106"/>
                    </a:cubicBezTo>
                    <a:cubicBezTo>
                      <a:pt x="90" y="107"/>
                      <a:pt x="89" y="108"/>
                      <a:pt x="89" y="109"/>
                    </a:cubicBezTo>
                    <a:cubicBezTo>
                      <a:pt x="92" y="107"/>
                      <a:pt x="96" y="105"/>
                      <a:pt x="99" y="104"/>
                    </a:cubicBezTo>
                    <a:cubicBezTo>
                      <a:pt x="105" y="100"/>
                      <a:pt x="111" y="97"/>
                      <a:pt x="117" y="94"/>
                    </a:cubicBezTo>
                    <a:cubicBezTo>
                      <a:pt x="122" y="91"/>
                      <a:pt x="128" y="88"/>
                      <a:pt x="134" y="84"/>
                    </a:cubicBezTo>
                    <a:cubicBezTo>
                      <a:pt x="137" y="83"/>
                      <a:pt x="140" y="81"/>
                      <a:pt x="143" y="80"/>
                    </a:cubicBezTo>
                    <a:cubicBezTo>
                      <a:pt x="146" y="78"/>
                      <a:pt x="150" y="76"/>
                      <a:pt x="153" y="74"/>
                    </a:cubicBezTo>
                    <a:cubicBezTo>
                      <a:pt x="153" y="74"/>
                      <a:pt x="154" y="74"/>
                      <a:pt x="153" y="75"/>
                    </a:cubicBezTo>
                    <a:cubicBezTo>
                      <a:pt x="148" y="78"/>
                      <a:pt x="142" y="83"/>
                      <a:pt x="137" y="86"/>
                    </a:cubicBezTo>
                    <a:cubicBezTo>
                      <a:pt x="131" y="90"/>
                      <a:pt x="125" y="93"/>
                      <a:pt x="119" y="96"/>
                    </a:cubicBezTo>
                    <a:cubicBezTo>
                      <a:pt x="109" y="102"/>
                      <a:pt x="97" y="107"/>
                      <a:pt x="86" y="113"/>
                    </a:cubicBezTo>
                    <a:cubicBezTo>
                      <a:pt x="79" y="126"/>
                      <a:pt x="72" y="139"/>
                      <a:pt x="66" y="153"/>
                    </a:cubicBezTo>
                    <a:cubicBezTo>
                      <a:pt x="72" y="148"/>
                      <a:pt x="79" y="145"/>
                      <a:pt x="86" y="141"/>
                    </a:cubicBezTo>
                    <a:cubicBezTo>
                      <a:pt x="90" y="138"/>
                      <a:pt x="94" y="136"/>
                      <a:pt x="99" y="134"/>
                    </a:cubicBezTo>
                    <a:cubicBezTo>
                      <a:pt x="103" y="131"/>
                      <a:pt x="107" y="129"/>
                      <a:pt x="111" y="126"/>
                    </a:cubicBezTo>
                    <a:cubicBezTo>
                      <a:pt x="111" y="126"/>
                      <a:pt x="112" y="127"/>
                      <a:pt x="111" y="127"/>
                    </a:cubicBezTo>
                    <a:cubicBezTo>
                      <a:pt x="104" y="134"/>
                      <a:pt x="96" y="138"/>
                      <a:pt x="88" y="143"/>
                    </a:cubicBezTo>
                    <a:cubicBezTo>
                      <a:pt x="80" y="148"/>
                      <a:pt x="72" y="152"/>
                      <a:pt x="64" y="156"/>
                    </a:cubicBezTo>
                    <a:cubicBezTo>
                      <a:pt x="58" y="170"/>
                      <a:pt x="52" y="185"/>
                      <a:pt x="47" y="199"/>
                    </a:cubicBezTo>
                    <a:cubicBezTo>
                      <a:pt x="21" y="272"/>
                      <a:pt x="12" y="348"/>
                      <a:pt x="7" y="424"/>
                    </a:cubicBezTo>
                    <a:cubicBezTo>
                      <a:pt x="6" y="447"/>
                      <a:pt x="5" y="470"/>
                      <a:pt x="5" y="492"/>
                    </a:cubicBezTo>
                    <a:cubicBezTo>
                      <a:pt x="5" y="515"/>
                      <a:pt x="6" y="538"/>
                      <a:pt x="6" y="560"/>
                    </a:cubicBezTo>
                    <a:cubicBezTo>
                      <a:pt x="6" y="561"/>
                      <a:pt x="5" y="561"/>
                      <a:pt x="5" y="561"/>
                    </a:cubicBezTo>
                    <a:cubicBezTo>
                      <a:pt x="2" y="540"/>
                      <a:pt x="2" y="520"/>
                      <a:pt x="1" y="500"/>
                    </a:cubicBezTo>
                    <a:cubicBezTo>
                      <a:pt x="0" y="479"/>
                      <a:pt x="0" y="458"/>
                      <a:pt x="0" y="43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81">
                <a:extLst>
                  <a:ext uri="{FF2B5EF4-FFF2-40B4-BE49-F238E27FC236}">
                    <a16:creationId xmlns:a16="http://schemas.microsoft.com/office/drawing/2014/main" id="{D19D921C-2B70-4377-B504-BDB3E128F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2" y="2110"/>
                <a:ext cx="149" cy="88"/>
              </a:xfrm>
              <a:custGeom>
                <a:avLst/>
                <a:gdLst>
                  <a:gd name="T0" fmla="*/ 0 w 63"/>
                  <a:gd name="T1" fmla="*/ 36 h 37"/>
                  <a:gd name="T2" fmla="*/ 33 w 63"/>
                  <a:gd name="T3" fmla="*/ 19 h 37"/>
                  <a:gd name="T4" fmla="*/ 63 w 63"/>
                  <a:gd name="T5" fmla="*/ 0 h 37"/>
                  <a:gd name="T6" fmla="*/ 63 w 63"/>
                  <a:gd name="T7" fmla="*/ 0 h 37"/>
                  <a:gd name="T8" fmla="*/ 34 w 63"/>
                  <a:gd name="T9" fmla="*/ 21 h 37"/>
                  <a:gd name="T10" fmla="*/ 1 w 63"/>
                  <a:gd name="T11" fmla="*/ 37 h 37"/>
                  <a:gd name="T12" fmla="*/ 0 w 63"/>
                  <a:gd name="T13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37">
                    <a:moveTo>
                      <a:pt x="0" y="36"/>
                    </a:moveTo>
                    <a:cubicBezTo>
                      <a:pt x="11" y="31"/>
                      <a:pt x="22" y="25"/>
                      <a:pt x="33" y="19"/>
                    </a:cubicBezTo>
                    <a:cubicBezTo>
                      <a:pt x="43" y="13"/>
                      <a:pt x="53" y="7"/>
                      <a:pt x="63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54" y="8"/>
                      <a:pt x="44" y="15"/>
                      <a:pt x="34" y="21"/>
                    </a:cubicBezTo>
                    <a:cubicBezTo>
                      <a:pt x="23" y="27"/>
                      <a:pt x="12" y="32"/>
                      <a:pt x="1" y="37"/>
                    </a:cubicBezTo>
                    <a:cubicBezTo>
                      <a:pt x="0" y="37"/>
                      <a:pt x="0" y="36"/>
                      <a:pt x="0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82">
                <a:extLst>
                  <a:ext uri="{FF2B5EF4-FFF2-40B4-BE49-F238E27FC236}">
                    <a16:creationId xmlns:a16="http://schemas.microsoft.com/office/drawing/2014/main" id="{E14C0F51-6B58-4C63-8597-E63F1E8E0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2" y="1958"/>
                <a:ext cx="24" cy="107"/>
              </a:xfrm>
              <a:custGeom>
                <a:avLst/>
                <a:gdLst>
                  <a:gd name="T0" fmla="*/ 4 w 10"/>
                  <a:gd name="T1" fmla="*/ 18 h 45"/>
                  <a:gd name="T2" fmla="*/ 7 w 10"/>
                  <a:gd name="T3" fmla="*/ 8 h 45"/>
                  <a:gd name="T4" fmla="*/ 7 w 10"/>
                  <a:gd name="T5" fmla="*/ 8 h 45"/>
                  <a:gd name="T6" fmla="*/ 9 w 10"/>
                  <a:gd name="T7" fmla="*/ 2 h 45"/>
                  <a:gd name="T8" fmla="*/ 10 w 10"/>
                  <a:gd name="T9" fmla="*/ 1 h 45"/>
                  <a:gd name="T10" fmla="*/ 10 w 10"/>
                  <a:gd name="T11" fmla="*/ 0 h 45"/>
                  <a:gd name="T12" fmla="*/ 10 w 10"/>
                  <a:gd name="T13" fmla="*/ 0 h 45"/>
                  <a:gd name="T14" fmla="*/ 10 w 10"/>
                  <a:gd name="T15" fmla="*/ 2 h 45"/>
                  <a:gd name="T16" fmla="*/ 9 w 10"/>
                  <a:gd name="T17" fmla="*/ 3 h 45"/>
                  <a:gd name="T18" fmla="*/ 0 w 10"/>
                  <a:gd name="T19" fmla="*/ 44 h 45"/>
                  <a:gd name="T20" fmla="*/ 0 w 10"/>
                  <a:gd name="T21" fmla="*/ 44 h 45"/>
                  <a:gd name="T22" fmla="*/ 4 w 10"/>
                  <a:gd name="T23" fmla="*/ 1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45">
                    <a:moveTo>
                      <a:pt x="4" y="18"/>
                    </a:moveTo>
                    <a:cubicBezTo>
                      <a:pt x="5" y="15"/>
                      <a:pt x="6" y="11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6"/>
                      <a:pt x="8" y="4"/>
                      <a:pt x="9" y="2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1"/>
                      <a:pt x="10" y="1"/>
                      <a:pt x="10" y="2"/>
                    </a:cubicBezTo>
                    <a:cubicBezTo>
                      <a:pt x="9" y="2"/>
                      <a:pt x="9" y="3"/>
                      <a:pt x="9" y="3"/>
                    </a:cubicBezTo>
                    <a:cubicBezTo>
                      <a:pt x="5" y="16"/>
                      <a:pt x="2" y="30"/>
                      <a:pt x="0" y="44"/>
                    </a:cubicBezTo>
                    <a:cubicBezTo>
                      <a:pt x="0" y="45"/>
                      <a:pt x="0" y="45"/>
                      <a:pt x="0" y="44"/>
                    </a:cubicBezTo>
                    <a:cubicBezTo>
                      <a:pt x="0" y="35"/>
                      <a:pt x="2" y="27"/>
                      <a:pt x="4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83">
                <a:extLst>
                  <a:ext uri="{FF2B5EF4-FFF2-40B4-BE49-F238E27FC236}">
                    <a16:creationId xmlns:a16="http://schemas.microsoft.com/office/drawing/2014/main" id="{04FD6DEC-0524-4600-9681-B3C767041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9" y="3005"/>
                <a:ext cx="420" cy="494"/>
              </a:xfrm>
              <a:custGeom>
                <a:avLst/>
                <a:gdLst>
                  <a:gd name="T0" fmla="*/ 0 w 420"/>
                  <a:gd name="T1" fmla="*/ 0 h 494"/>
                  <a:gd name="T2" fmla="*/ 12 w 420"/>
                  <a:gd name="T3" fmla="*/ 124 h 494"/>
                  <a:gd name="T4" fmla="*/ 43 w 420"/>
                  <a:gd name="T5" fmla="*/ 494 h 494"/>
                  <a:gd name="T6" fmla="*/ 380 w 420"/>
                  <a:gd name="T7" fmla="*/ 494 h 494"/>
                  <a:gd name="T8" fmla="*/ 411 w 420"/>
                  <a:gd name="T9" fmla="*/ 124 h 494"/>
                  <a:gd name="T10" fmla="*/ 420 w 420"/>
                  <a:gd name="T11" fmla="*/ 0 h 494"/>
                  <a:gd name="T12" fmla="*/ 0 w 420"/>
                  <a:gd name="T13" fmla="*/ 0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94">
                    <a:moveTo>
                      <a:pt x="0" y="0"/>
                    </a:moveTo>
                    <a:lnTo>
                      <a:pt x="12" y="124"/>
                    </a:lnTo>
                    <a:lnTo>
                      <a:pt x="43" y="494"/>
                    </a:lnTo>
                    <a:lnTo>
                      <a:pt x="380" y="494"/>
                    </a:lnTo>
                    <a:lnTo>
                      <a:pt x="411" y="124"/>
                    </a:lnTo>
                    <a:lnTo>
                      <a:pt x="4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84">
                <a:extLst>
                  <a:ext uri="{FF2B5EF4-FFF2-40B4-BE49-F238E27FC236}">
                    <a16:creationId xmlns:a16="http://schemas.microsoft.com/office/drawing/2014/main" id="{DC51DDBF-17EC-4C34-A7F4-FDFC6A290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9" y="3005"/>
                <a:ext cx="420" cy="124"/>
              </a:xfrm>
              <a:custGeom>
                <a:avLst/>
                <a:gdLst>
                  <a:gd name="T0" fmla="*/ 0 w 420"/>
                  <a:gd name="T1" fmla="*/ 0 h 124"/>
                  <a:gd name="T2" fmla="*/ 12 w 420"/>
                  <a:gd name="T3" fmla="*/ 124 h 124"/>
                  <a:gd name="T4" fmla="*/ 411 w 420"/>
                  <a:gd name="T5" fmla="*/ 124 h 124"/>
                  <a:gd name="T6" fmla="*/ 420 w 420"/>
                  <a:gd name="T7" fmla="*/ 0 h 124"/>
                  <a:gd name="T8" fmla="*/ 0 w 420"/>
                  <a:gd name="T9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0" h="124">
                    <a:moveTo>
                      <a:pt x="0" y="0"/>
                    </a:moveTo>
                    <a:lnTo>
                      <a:pt x="12" y="124"/>
                    </a:lnTo>
                    <a:lnTo>
                      <a:pt x="411" y="124"/>
                    </a:lnTo>
                    <a:lnTo>
                      <a:pt x="4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85">
                <a:extLst>
                  <a:ext uri="{FF2B5EF4-FFF2-40B4-BE49-F238E27FC236}">
                    <a16:creationId xmlns:a16="http://schemas.microsoft.com/office/drawing/2014/main" id="{A757AE5E-CBBA-46CF-9982-DBEA01BFB3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56" y="2958"/>
                <a:ext cx="486" cy="116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Rectangle 86">
                <a:extLst>
                  <a:ext uri="{FF2B5EF4-FFF2-40B4-BE49-F238E27FC236}">
                    <a16:creationId xmlns:a16="http://schemas.microsoft.com/office/drawing/2014/main" id="{B97FFFCA-B11D-466C-B92A-0E24811B3F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2640"/>
                <a:ext cx="154" cy="598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Rectangle 87">
                <a:extLst>
                  <a:ext uri="{FF2B5EF4-FFF2-40B4-BE49-F238E27FC236}">
                    <a16:creationId xmlns:a16="http://schemas.microsoft.com/office/drawing/2014/main" id="{3818548C-0093-4947-91B4-1C2592F0F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2640"/>
                <a:ext cx="154" cy="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Rectangle 88">
                <a:extLst>
                  <a:ext uri="{FF2B5EF4-FFF2-40B4-BE49-F238E27FC236}">
                    <a16:creationId xmlns:a16="http://schemas.microsoft.com/office/drawing/2014/main" id="{2424E145-F153-43AF-BE17-D852F6AD4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267"/>
                <a:ext cx="154" cy="99"/>
              </a:xfrm>
              <a:prstGeom prst="rect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Rectangle 89">
                <a:extLst>
                  <a:ext uri="{FF2B5EF4-FFF2-40B4-BE49-F238E27FC236}">
                    <a16:creationId xmlns:a16="http://schemas.microsoft.com/office/drawing/2014/main" id="{301BAD79-CA85-41E4-8C4C-D07B38B3CA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267"/>
                <a:ext cx="154" cy="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Rectangle 90">
                <a:extLst>
                  <a:ext uri="{FF2B5EF4-FFF2-40B4-BE49-F238E27FC236}">
                    <a16:creationId xmlns:a16="http://schemas.microsoft.com/office/drawing/2014/main" id="{3D6C658C-D2D3-4D30-9EE4-CD1E5E04EA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395"/>
                <a:ext cx="154" cy="62"/>
              </a:xfrm>
              <a:prstGeom prst="rect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Rectangle 91">
                <a:extLst>
                  <a:ext uri="{FF2B5EF4-FFF2-40B4-BE49-F238E27FC236}">
                    <a16:creationId xmlns:a16="http://schemas.microsoft.com/office/drawing/2014/main" id="{0BCD3CD2-54D3-4FE3-8536-BE7BAA7059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395"/>
                <a:ext cx="154" cy="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Rectangle 92">
                <a:extLst>
                  <a:ext uri="{FF2B5EF4-FFF2-40B4-BE49-F238E27FC236}">
                    <a16:creationId xmlns:a16="http://schemas.microsoft.com/office/drawing/2014/main" id="{917D74E5-BCEC-456B-8C03-B6BC7ECD35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485"/>
                <a:ext cx="154" cy="31"/>
              </a:xfrm>
              <a:prstGeom prst="rect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93">
                <a:extLst>
                  <a:ext uri="{FF2B5EF4-FFF2-40B4-BE49-F238E27FC236}">
                    <a16:creationId xmlns:a16="http://schemas.microsoft.com/office/drawing/2014/main" id="{1C66D327-5550-4309-9BE8-0E40BADBDA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485"/>
                <a:ext cx="154" cy="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94">
                <a:extLst>
                  <a:ext uri="{FF2B5EF4-FFF2-40B4-BE49-F238E27FC236}">
                    <a16:creationId xmlns:a16="http://schemas.microsoft.com/office/drawing/2014/main" id="{F7FF4399-6D6A-4BE3-A57F-4476DC52A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1" y="2464"/>
                <a:ext cx="254" cy="176"/>
              </a:xfrm>
              <a:custGeom>
                <a:avLst/>
                <a:gdLst>
                  <a:gd name="T0" fmla="*/ 254 w 254"/>
                  <a:gd name="T1" fmla="*/ 176 h 176"/>
                  <a:gd name="T2" fmla="*/ 0 w 254"/>
                  <a:gd name="T3" fmla="*/ 176 h 176"/>
                  <a:gd name="T4" fmla="*/ 126 w 254"/>
                  <a:gd name="T5" fmla="*/ 0 h 176"/>
                  <a:gd name="T6" fmla="*/ 254 w 254"/>
                  <a:gd name="T7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4" h="176">
                    <a:moveTo>
                      <a:pt x="254" y="176"/>
                    </a:moveTo>
                    <a:lnTo>
                      <a:pt x="0" y="176"/>
                    </a:lnTo>
                    <a:lnTo>
                      <a:pt x="126" y="0"/>
                    </a:lnTo>
                    <a:lnTo>
                      <a:pt x="254" y="176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Rectangle 95">
                <a:extLst>
                  <a:ext uri="{FF2B5EF4-FFF2-40B4-BE49-F238E27FC236}">
                    <a16:creationId xmlns:a16="http://schemas.microsoft.com/office/drawing/2014/main" id="{AE65DBFD-332B-4685-953B-B04CF0CFD4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2450"/>
                <a:ext cx="152" cy="788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Rectangle 96">
                <a:extLst>
                  <a:ext uri="{FF2B5EF4-FFF2-40B4-BE49-F238E27FC236}">
                    <a16:creationId xmlns:a16="http://schemas.microsoft.com/office/drawing/2014/main" id="{3D5475FE-F790-4848-AC2A-970C8AD66F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2450"/>
                <a:ext cx="152" cy="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Rectangle 97">
                <a:extLst>
                  <a:ext uri="{FF2B5EF4-FFF2-40B4-BE49-F238E27FC236}">
                    <a16:creationId xmlns:a16="http://schemas.microsoft.com/office/drawing/2014/main" id="{1F558AB0-F5CF-4444-9917-6B55E95439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267"/>
                <a:ext cx="152" cy="99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Rectangle 98">
                <a:extLst>
                  <a:ext uri="{FF2B5EF4-FFF2-40B4-BE49-F238E27FC236}">
                    <a16:creationId xmlns:a16="http://schemas.microsoft.com/office/drawing/2014/main" id="{162029AD-FCD7-4602-A0BD-DEB5A41F6B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267"/>
                <a:ext cx="152" cy="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Rectangle 99">
                <a:extLst>
                  <a:ext uri="{FF2B5EF4-FFF2-40B4-BE49-F238E27FC236}">
                    <a16:creationId xmlns:a16="http://schemas.microsoft.com/office/drawing/2014/main" id="{C608AD48-2ABD-4885-ABB6-E60BED35D2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395"/>
                <a:ext cx="152" cy="62"/>
              </a:xfrm>
              <a:prstGeom prst="rect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Rectangle 100">
                <a:extLst>
                  <a:ext uri="{FF2B5EF4-FFF2-40B4-BE49-F238E27FC236}">
                    <a16:creationId xmlns:a16="http://schemas.microsoft.com/office/drawing/2014/main" id="{BAC07A54-6B61-4535-86DD-BCCEDF01C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395"/>
                <a:ext cx="152" cy="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Rectangle 101">
                <a:extLst>
                  <a:ext uri="{FF2B5EF4-FFF2-40B4-BE49-F238E27FC236}">
                    <a16:creationId xmlns:a16="http://schemas.microsoft.com/office/drawing/2014/main" id="{7DA7CBFD-68D3-419C-A190-D1358AF122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485"/>
                <a:ext cx="152" cy="31"/>
              </a:xfrm>
              <a:prstGeom prst="rect">
                <a:avLst/>
              </a:pr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Rectangle 102">
                <a:extLst>
                  <a:ext uri="{FF2B5EF4-FFF2-40B4-BE49-F238E27FC236}">
                    <a16:creationId xmlns:a16="http://schemas.microsoft.com/office/drawing/2014/main" id="{A6EEB459-D86A-4FAD-9349-237225511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485"/>
                <a:ext cx="152" cy="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03">
                <a:extLst>
                  <a:ext uri="{FF2B5EF4-FFF2-40B4-BE49-F238E27FC236}">
                    <a16:creationId xmlns:a16="http://schemas.microsoft.com/office/drawing/2014/main" id="{68D0AF6E-5092-4184-A082-F07B6A968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5" y="2274"/>
                <a:ext cx="256" cy="176"/>
              </a:xfrm>
              <a:custGeom>
                <a:avLst/>
                <a:gdLst>
                  <a:gd name="T0" fmla="*/ 256 w 256"/>
                  <a:gd name="T1" fmla="*/ 176 h 176"/>
                  <a:gd name="T2" fmla="*/ 0 w 256"/>
                  <a:gd name="T3" fmla="*/ 176 h 176"/>
                  <a:gd name="T4" fmla="*/ 128 w 256"/>
                  <a:gd name="T5" fmla="*/ 0 h 176"/>
                  <a:gd name="T6" fmla="*/ 256 w 256"/>
                  <a:gd name="T7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6" h="176">
                    <a:moveTo>
                      <a:pt x="256" y="176"/>
                    </a:moveTo>
                    <a:lnTo>
                      <a:pt x="0" y="176"/>
                    </a:lnTo>
                    <a:lnTo>
                      <a:pt x="128" y="0"/>
                    </a:lnTo>
                    <a:lnTo>
                      <a:pt x="256" y="176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104">
                <a:extLst>
                  <a:ext uri="{FF2B5EF4-FFF2-40B4-BE49-F238E27FC236}">
                    <a16:creationId xmlns:a16="http://schemas.microsoft.com/office/drawing/2014/main" id="{6151C2EB-861D-4170-9579-C4035541A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2260"/>
                <a:ext cx="154" cy="978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105">
                <a:extLst>
                  <a:ext uri="{FF2B5EF4-FFF2-40B4-BE49-F238E27FC236}">
                    <a16:creationId xmlns:a16="http://schemas.microsoft.com/office/drawing/2014/main" id="{E527D543-3AB9-4C91-81BD-69B52E319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267"/>
                <a:ext cx="154" cy="99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06">
                <a:extLst>
                  <a:ext uri="{FF2B5EF4-FFF2-40B4-BE49-F238E27FC236}">
                    <a16:creationId xmlns:a16="http://schemas.microsoft.com/office/drawing/2014/main" id="{1C394EAD-BF4A-43AF-84CB-27FE5D21F4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267"/>
                <a:ext cx="154" cy="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Rectangle 107">
                <a:extLst>
                  <a:ext uri="{FF2B5EF4-FFF2-40B4-BE49-F238E27FC236}">
                    <a16:creationId xmlns:a16="http://schemas.microsoft.com/office/drawing/2014/main" id="{0CF03DCA-46BB-44EE-AAAE-882AD176A4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395"/>
                <a:ext cx="154" cy="62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108">
                <a:extLst>
                  <a:ext uri="{FF2B5EF4-FFF2-40B4-BE49-F238E27FC236}">
                    <a16:creationId xmlns:a16="http://schemas.microsoft.com/office/drawing/2014/main" id="{99EF554B-F97B-4FA4-88FA-B09DA144D7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395"/>
                <a:ext cx="154" cy="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Rectangle 109">
                <a:extLst>
                  <a:ext uri="{FF2B5EF4-FFF2-40B4-BE49-F238E27FC236}">
                    <a16:creationId xmlns:a16="http://schemas.microsoft.com/office/drawing/2014/main" id="{1C58C416-6495-4653-A5E5-0D006C056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485"/>
                <a:ext cx="154" cy="31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Rectangle 110">
                <a:extLst>
                  <a:ext uri="{FF2B5EF4-FFF2-40B4-BE49-F238E27FC236}">
                    <a16:creationId xmlns:a16="http://schemas.microsoft.com/office/drawing/2014/main" id="{877EEFB5-67FC-479E-8B29-6AF45652DA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1" y="3485"/>
                <a:ext cx="154" cy="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11">
                <a:extLst>
                  <a:ext uri="{FF2B5EF4-FFF2-40B4-BE49-F238E27FC236}">
                    <a16:creationId xmlns:a16="http://schemas.microsoft.com/office/drawing/2014/main" id="{CCB46848-55C8-4588-90E0-F6685CC2E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2084"/>
                <a:ext cx="256" cy="176"/>
              </a:xfrm>
              <a:custGeom>
                <a:avLst/>
                <a:gdLst>
                  <a:gd name="T0" fmla="*/ 256 w 256"/>
                  <a:gd name="T1" fmla="*/ 176 h 176"/>
                  <a:gd name="T2" fmla="*/ 0 w 256"/>
                  <a:gd name="T3" fmla="*/ 176 h 176"/>
                  <a:gd name="T4" fmla="*/ 128 w 256"/>
                  <a:gd name="T5" fmla="*/ 0 h 176"/>
                  <a:gd name="T6" fmla="*/ 256 w 256"/>
                  <a:gd name="T7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6" h="176">
                    <a:moveTo>
                      <a:pt x="256" y="176"/>
                    </a:moveTo>
                    <a:lnTo>
                      <a:pt x="0" y="176"/>
                    </a:lnTo>
                    <a:lnTo>
                      <a:pt x="128" y="0"/>
                    </a:lnTo>
                    <a:lnTo>
                      <a:pt x="256" y="176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112">
                <a:extLst>
                  <a:ext uri="{FF2B5EF4-FFF2-40B4-BE49-F238E27FC236}">
                    <a16:creationId xmlns:a16="http://schemas.microsoft.com/office/drawing/2014/main" id="{4CF3868A-6140-463A-8DA7-C4B304AF89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5" y="2070"/>
                <a:ext cx="154" cy="1168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113">
                <a:extLst>
                  <a:ext uri="{FF2B5EF4-FFF2-40B4-BE49-F238E27FC236}">
                    <a16:creationId xmlns:a16="http://schemas.microsoft.com/office/drawing/2014/main" id="{915FFBC5-954F-41FD-A3B3-57A1E2555E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5" y="3267"/>
                <a:ext cx="154" cy="99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114">
                <a:extLst>
                  <a:ext uri="{FF2B5EF4-FFF2-40B4-BE49-F238E27FC236}">
                    <a16:creationId xmlns:a16="http://schemas.microsoft.com/office/drawing/2014/main" id="{89238E50-DD36-46AB-B7B6-66D33B1991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5" y="3395"/>
                <a:ext cx="154" cy="62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115">
                <a:extLst>
                  <a:ext uri="{FF2B5EF4-FFF2-40B4-BE49-F238E27FC236}">
                    <a16:creationId xmlns:a16="http://schemas.microsoft.com/office/drawing/2014/main" id="{53334EE1-161D-4F78-AE6E-A6D45610EC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5" y="3485"/>
                <a:ext cx="154" cy="31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16">
                <a:extLst>
                  <a:ext uri="{FF2B5EF4-FFF2-40B4-BE49-F238E27FC236}">
                    <a16:creationId xmlns:a16="http://schemas.microsoft.com/office/drawing/2014/main" id="{8454C5E2-93AE-444A-A2A4-3978657B8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5" y="1894"/>
                <a:ext cx="254" cy="176"/>
              </a:xfrm>
              <a:custGeom>
                <a:avLst/>
                <a:gdLst>
                  <a:gd name="T0" fmla="*/ 254 w 254"/>
                  <a:gd name="T1" fmla="*/ 176 h 176"/>
                  <a:gd name="T2" fmla="*/ 0 w 254"/>
                  <a:gd name="T3" fmla="*/ 176 h 176"/>
                  <a:gd name="T4" fmla="*/ 128 w 254"/>
                  <a:gd name="T5" fmla="*/ 0 h 176"/>
                  <a:gd name="T6" fmla="*/ 254 w 254"/>
                  <a:gd name="T7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4" h="176">
                    <a:moveTo>
                      <a:pt x="254" y="176"/>
                    </a:moveTo>
                    <a:lnTo>
                      <a:pt x="0" y="176"/>
                    </a:lnTo>
                    <a:lnTo>
                      <a:pt x="128" y="0"/>
                    </a:lnTo>
                    <a:lnTo>
                      <a:pt x="254" y="176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17">
                <a:extLst>
                  <a:ext uri="{FF2B5EF4-FFF2-40B4-BE49-F238E27FC236}">
                    <a16:creationId xmlns:a16="http://schemas.microsoft.com/office/drawing/2014/main" id="{D023FEB5-36F0-48E1-A06F-41E13E82A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" y="3048"/>
                <a:ext cx="133" cy="133"/>
              </a:xfrm>
              <a:custGeom>
                <a:avLst/>
                <a:gdLst>
                  <a:gd name="T0" fmla="*/ 28 w 56"/>
                  <a:gd name="T1" fmla="*/ 0 h 56"/>
                  <a:gd name="T2" fmla="*/ 7 w 56"/>
                  <a:gd name="T3" fmla="*/ 16 h 56"/>
                  <a:gd name="T4" fmla="*/ 7 w 56"/>
                  <a:gd name="T5" fmla="*/ 8 h 56"/>
                  <a:gd name="T6" fmla="*/ 0 w 56"/>
                  <a:gd name="T7" fmla="*/ 27 h 56"/>
                  <a:gd name="T8" fmla="*/ 28 w 56"/>
                  <a:gd name="T9" fmla="*/ 56 h 56"/>
                  <a:gd name="T10" fmla="*/ 56 w 56"/>
                  <a:gd name="T11" fmla="*/ 27 h 56"/>
                  <a:gd name="T12" fmla="*/ 46 w 56"/>
                  <a:gd name="T13" fmla="*/ 5 h 56"/>
                  <a:gd name="T14" fmla="*/ 54 w 56"/>
                  <a:gd name="T15" fmla="*/ 26 h 56"/>
                  <a:gd name="T16" fmla="*/ 41 w 56"/>
                  <a:gd name="T17" fmla="*/ 31 h 56"/>
                  <a:gd name="T18" fmla="*/ 28 w 56"/>
                  <a:gd name="T1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7" y="16"/>
                      <a:pt x="7" y="16"/>
                      <a:pt x="7" y="1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2" y="13"/>
                      <a:pt x="0" y="20"/>
                      <a:pt x="0" y="27"/>
                    </a:cubicBezTo>
                    <a:cubicBezTo>
                      <a:pt x="0" y="43"/>
                      <a:pt x="12" y="56"/>
                      <a:pt x="28" y="56"/>
                    </a:cubicBezTo>
                    <a:cubicBezTo>
                      <a:pt x="44" y="56"/>
                      <a:pt x="56" y="43"/>
                      <a:pt x="56" y="27"/>
                    </a:cubicBezTo>
                    <a:cubicBezTo>
                      <a:pt x="56" y="18"/>
                      <a:pt x="52" y="10"/>
                      <a:pt x="46" y="5"/>
                    </a:cubicBezTo>
                    <a:cubicBezTo>
                      <a:pt x="54" y="26"/>
                      <a:pt x="54" y="26"/>
                      <a:pt x="54" y="26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28" y="0"/>
                      <a:pt x="28" y="0"/>
                      <a:pt x="28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18">
                <a:extLst>
                  <a:ext uri="{FF2B5EF4-FFF2-40B4-BE49-F238E27FC236}">
                    <a16:creationId xmlns:a16="http://schemas.microsoft.com/office/drawing/2014/main" id="{C0AA87F2-73CB-480B-AF7E-C45645147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5" y="3046"/>
                <a:ext cx="111" cy="76"/>
              </a:xfrm>
              <a:custGeom>
                <a:avLst/>
                <a:gdLst>
                  <a:gd name="T0" fmla="*/ 21 w 47"/>
                  <a:gd name="T1" fmla="*/ 0 h 32"/>
                  <a:gd name="T2" fmla="*/ 0 w 47"/>
                  <a:gd name="T3" fmla="*/ 9 h 32"/>
                  <a:gd name="T4" fmla="*/ 0 w 47"/>
                  <a:gd name="T5" fmla="*/ 17 h 32"/>
                  <a:gd name="T6" fmla="*/ 21 w 47"/>
                  <a:gd name="T7" fmla="*/ 1 h 32"/>
                  <a:gd name="T8" fmla="*/ 34 w 47"/>
                  <a:gd name="T9" fmla="*/ 32 h 32"/>
                  <a:gd name="T10" fmla="*/ 47 w 47"/>
                  <a:gd name="T11" fmla="*/ 27 h 32"/>
                  <a:gd name="T12" fmla="*/ 39 w 47"/>
                  <a:gd name="T13" fmla="*/ 6 h 32"/>
                  <a:gd name="T14" fmla="*/ 21 w 47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2">
                    <a:moveTo>
                      <a:pt x="21" y="0"/>
                    </a:moveTo>
                    <a:cubicBezTo>
                      <a:pt x="13" y="0"/>
                      <a:pt x="5" y="4"/>
                      <a:pt x="0" y="9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4" y="2"/>
                      <a:pt x="28" y="0"/>
                      <a:pt x="21" y="0"/>
                    </a:cubicBezTo>
                  </a:path>
                </a:pathLst>
              </a:custGeom>
              <a:solidFill>
                <a:srgbClr val="FFA7B4">
                  <a:alpha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Oval 119">
                <a:extLst>
                  <a:ext uri="{FF2B5EF4-FFF2-40B4-BE49-F238E27FC236}">
                    <a16:creationId xmlns:a16="http://schemas.microsoft.com/office/drawing/2014/main" id="{6F82F7DF-E189-4B72-B7E4-D75B99831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28" y="2951"/>
                <a:ext cx="66" cy="66"/>
              </a:xfrm>
              <a:prstGeom prst="ellipse">
                <a:avLst/>
              </a:pr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20">
                <a:extLst>
                  <a:ext uri="{FF2B5EF4-FFF2-40B4-BE49-F238E27FC236}">
                    <a16:creationId xmlns:a16="http://schemas.microsoft.com/office/drawing/2014/main" id="{6B53B9CA-E6BF-48C0-A626-20C686769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8" y="3048"/>
                <a:ext cx="33" cy="67"/>
              </a:xfrm>
              <a:custGeom>
                <a:avLst/>
                <a:gdLst>
                  <a:gd name="T0" fmla="*/ 14 w 14"/>
                  <a:gd name="T1" fmla="*/ 0 h 28"/>
                  <a:gd name="T2" fmla="*/ 0 w 14"/>
                  <a:gd name="T3" fmla="*/ 14 h 28"/>
                  <a:gd name="T4" fmla="*/ 14 w 14"/>
                  <a:gd name="T5" fmla="*/ 28 h 28"/>
                  <a:gd name="T6" fmla="*/ 14 w 14"/>
                  <a:gd name="T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8">
                    <a:moveTo>
                      <a:pt x="14" y="0"/>
                    </a:moveTo>
                    <a:cubicBezTo>
                      <a:pt x="7" y="0"/>
                      <a:pt x="0" y="6"/>
                      <a:pt x="0" y="14"/>
                    </a:cubicBezTo>
                    <a:cubicBezTo>
                      <a:pt x="0" y="21"/>
                      <a:pt x="7" y="28"/>
                      <a:pt x="14" y="28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21">
                <a:extLst>
                  <a:ext uri="{FF2B5EF4-FFF2-40B4-BE49-F238E27FC236}">
                    <a16:creationId xmlns:a16="http://schemas.microsoft.com/office/drawing/2014/main" id="{6A36CD40-8B2B-4394-809A-E9B750564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3048"/>
                <a:ext cx="33" cy="67"/>
              </a:xfrm>
              <a:custGeom>
                <a:avLst/>
                <a:gdLst>
                  <a:gd name="T0" fmla="*/ 0 w 14"/>
                  <a:gd name="T1" fmla="*/ 0 h 28"/>
                  <a:gd name="T2" fmla="*/ 0 w 14"/>
                  <a:gd name="T3" fmla="*/ 0 h 28"/>
                  <a:gd name="T4" fmla="*/ 0 w 14"/>
                  <a:gd name="T5" fmla="*/ 28 h 28"/>
                  <a:gd name="T6" fmla="*/ 0 w 14"/>
                  <a:gd name="T7" fmla="*/ 28 h 28"/>
                  <a:gd name="T8" fmla="*/ 14 w 14"/>
                  <a:gd name="T9" fmla="*/ 14 h 28"/>
                  <a:gd name="T10" fmla="*/ 0 w 14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2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8" y="28"/>
                      <a:pt x="14" y="21"/>
                      <a:pt x="14" y="14"/>
                    </a:cubicBezTo>
                    <a:cubicBezTo>
                      <a:pt x="14" y="6"/>
                      <a:pt x="8" y="0"/>
                      <a:pt x="0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22">
                <a:extLst>
                  <a:ext uri="{FF2B5EF4-FFF2-40B4-BE49-F238E27FC236}">
                    <a16:creationId xmlns:a16="http://schemas.microsoft.com/office/drawing/2014/main" id="{68C10E92-FFAE-45F8-BD3D-4E388D3DE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3366"/>
                <a:ext cx="67" cy="29"/>
              </a:xfrm>
              <a:custGeom>
                <a:avLst/>
                <a:gdLst>
                  <a:gd name="T0" fmla="*/ 26 w 28"/>
                  <a:gd name="T1" fmla="*/ 0 h 12"/>
                  <a:gd name="T2" fmla="*/ 2 w 28"/>
                  <a:gd name="T3" fmla="*/ 0 h 12"/>
                  <a:gd name="T4" fmla="*/ 0 w 28"/>
                  <a:gd name="T5" fmla="*/ 6 h 12"/>
                  <a:gd name="T6" fmla="*/ 2 w 28"/>
                  <a:gd name="T7" fmla="*/ 12 h 12"/>
                  <a:gd name="T8" fmla="*/ 26 w 28"/>
                  <a:gd name="T9" fmla="*/ 12 h 12"/>
                  <a:gd name="T10" fmla="*/ 28 w 28"/>
                  <a:gd name="T11" fmla="*/ 6 h 12"/>
                  <a:gd name="T12" fmla="*/ 26 w 28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2">
                    <a:moveTo>
                      <a:pt x="26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0" y="8"/>
                      <a:pt x="1" y="10"/>
                      <a:pt x="2" y="12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7" y="10"/>
                      <a:pt x="28" y="8"/>
                      <a:pt x="28" y="6"/>
                    </a:cubicBezTo>
                    <a:cubicBezTo>
                      <a:pt x="28" y="4"/>
                      <a:pt x="27" y="2"/>
                      <a:pt x="26" y="0"/>
                    </a:cubicBezTo>
                  </a:path>
                </a:pathLst>
              </a:custGeom>
              <a:solidFill>
                <a:srgbClr val="FFA7B4">
                  <a:alpha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23">
                <a:extLst>
                  <a:ext uri="{FF2B5EF4-FFF2-40B4-BE49-F238E27FC236}">
                    <a16:creationId xmlns:a16="http://schemas.microsoft.com/office/drawing/2014/main" id="{F4364538-670B-47EB-B196-C039CF2534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3347"/>
                <a:ext cx="57" cy="19"/>
              </a:xfrm>
              <a:custGeom>
                <a:avLst/>
                <a:gdLst>
                  <a:gd name="T0" fmla="*/ 12 w 24"/>
                  <a:gd name="T1" fmla="*/ 0 h 8"/>
                  <a:gd name="T2" fmla="*/ 0 w 24"/>
                  <a:gd name="T3" fmla="*/ 8 h 8"/>
                  <a:gd name="T4" fmla="*/ 24 w 24"/>
                  <a:gd name="T5" fmla="*/ 8 h 8"/>
                  <a:gd name="T6" fmla="*/ 12 w 24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8">
                    <a:moveTo>
                      <a:pt x="12" y="0"/>
                    </a:moveTo>
                    <a:cubicBezTo>
                      <a:pt x="7" y="0"/>
                      <a:pt x="2" y="3"/>
                      <a:pt x="0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2" y="3"/>
                      <a:pt x="17" y="0"/>
                      <a:pt x="12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24">
                <a:extLst>
                  <a:ext uri="{FF2B5EF4-FFF2-40B4-BE49-F238E27FC236}">
                    <a16:creationId xmlns:a16="http://schemas.microsoft.com/office/drawing/2014/main" id="{2E6960CA-A042-4F64-BA9C-CA370F725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3395"/>
                <a:ext cx="57" cy="19"/>
              </a:xfrm>
              <a:custGeom>
                <a:avLst/>
                <a:gdLst>
                  <a:gd name="T0" fmla="*/ 24 w 24"/>
                  <a:gd name="T1" fmla="*/ 0 h 8"/>
                  <a:gd name="T2" fmla="*/ 0 w 24"/>
                  <a:gd name="T3" fmla="*/ 0 h 8"/>
                  <a:gd name="T4" fmla="*/ 12 w 24"/>
                  <a:gd name="T5" fmla="*/ 8 h 8"/>
                  <a:gd name="T6" fmla="*/ 24 w 24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8">
                    <a:moveTo>
                      <a:pt x="2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5"/>
                      <a:pt x="7" y="8"/>
                      <a:pt x="12" y="8"/>
                    </a:cubicBezTo>
                    <a:cubicBezTo>
                      <a:pt x="17" y="8"/>
                      <a:pt x="22" y="5"/>
                      <a:pt x="24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25">
                <a:extLst>
                  <a:ext uri="{FF2B5EF4-FFF2-40B4-BE49-F238E27FC236}">
                    <a16:creationId xmlns:a16="http://schemas.microsoft.com/office/drawing/2014/main" id="{1F1B9FD0-CA30-4D60-BB18-11DD0B6A3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24" y="3335"/>
                <a:ext cx="2518" cy="181"/>
              </a:xfrm>
              <a:custGeom>
                <a:avLst/>
                <a:gdLst>
                  <a:gd name="T0" fmla="*/ 791 w 1061"/>
                  <a:gd name="T1" fmla="*/ 51 h 76"/>
                  <a:gd name="T2" fmla="*/ 791 w 1061"/>
                  <a:gd name="T3" fmla="*/ 25 h 76"/>
                  <a:gd name="T4" fmla="*/ 856 w 1061"/>
                  <a:gd name="T5" fmla="*/ 25 h 76"/>
                  <a:gd name="T6" fmla="*/ 856 w 1061"/>
                  <a:gd name="T7" fmla="*/ 51 h 76"/>
                  <a:gd name="T8" fmla="*/ 791 w 1061"/>
                  <a:gd name="T9" fmla="*/ 51 h 76"/>
                  <a:gd name="T10" fmla="*/ 920 w 1061"/>
                  <a:gd name="T11" fmla="*/ 51 h 76"/>
                  <a:gd name="T12" fmla="*/ 920 w 1061"/>
                  <a:gd name="T13" fmla="*/ 25 h 76"/>
                  <a:gd name="T14" fmla="*/ 984 w 1061"/>
                  <a:gd name="T15" fmla="*/ 25 h 76"/>
                  <a:gd name="T16" fmla="*/ 984 w 1061"/>
                  <a:gd name="T17" fmla="*/ 51 h 76"/>
                  <a:gd name="T18" fmla="*/ 920 w 1061"/>
                  <a:gd name="T19" fmla="*/ 51 h 76"/>
                  <a:gd name="T20" fmla="*/ 920 w 1061"/>
                  <a:gd name="T21" fmla="*/ 0 h 76"/>
                  <a:gd name="T22" fmla="*/ 856 w 1061"/>
                  <a:gd name="T23" fmla="*/ 0 h 76"/>
                  <a:gd name="T24" fmla="*/ 856 w 1061"/>
                  <a:gd name="T25" fmla="*/ 13 h 76"/>
                  <a:gd name="T26" fmla="*/ 791 w 1061"/>
                  <a:gd name="T27" fmla="*/ 13 h 76"/>
                  <a:gd name="T28" fmla="*/ 791 w 1061"/>
                  <a:gd name="T29" fmla="*/ 0 h 76"/>
                  <a:gd name="T30" fmla="*/ 77 w 1061"/>
                  <a:gd name="T31" fmla="*/ 0 h 76"/>
                  <a:gd name="T32" fmla="*/ 76 w 1061"/>
                  <a:gd name="T33" fmla="*/ 14 h 76"/>
                  <a:gd name="T34" fmla="*/ 76 w 1061"/>
                  <a:gd name="T35" fmla="*/ 21 h 76"/>
                  <a:gd name="T36" fmla="*/ 76 w 1061"/>
                  <a:gd name="T37" fmla="*/ 21 h 76"/>
                  <a:gd name="T38" fmla="*/ 53 w 1061"/>
                  <a:gd name="T39" fmla="*/ 11 h 76"/>
                  <a:gd name="T40" fmla="*/ 20 w 1061"/>
                  <a:gd name="T41" fmla="*/ 43 h 76"/>
                  <a:gd name="T42" fmla="*/ 16 w 1061"/>
                  <a:gd name="T43" fmla="*/ 43 h 76"/>
                  <a:gd name="T44" fmla="*/ 0 w 1061"/>
                  <a:gd name="T45" fmla="*/ 59 h 76"/>
                  <a:gd name="T46" fmla="*/ 16 w 1061"/>
                  <a:gd name="T47" fmla="*/ 76 h 76"/>
                  <a:gd name="T48" fmla="*/ 791 w 1061"/>
                  <a:gd name="T49" fmla="*/ 76 h 76"/>
                  <a:gd name="T50" fmla="*/ 791 w 1061"/>
                  <a:gd name="T51" fmla="*/ 63 h 76"/>
                  <a:gd name="T52" fmla="*/ 856 w 1061"/>
                  <a:gd name="T53" fmla="*/ 63 h 76"/>
                  <a:gd name="T54" fmla="*/ 856 w 1061"/>
                  <a:gd name="T55" fmla="*/ 76 h 76"/>
                  <a:gd name="T56" fmla="*/ 920 w 1061"/>
                  <a:gd name="T57" fmla="*/ 76 h 76"/>
                  <a:gd name="T58" fmla="*/ 920 w 1061"/>
                  <a:gd name="T59" fmla="*/ 63 h 76"/>
                  <a:gd name="T60" fmla="*/ 984 w 1061"/>
                  <a:gd name="T61" fmla="*/ 63 h 76"/>
                  <a:gd name="T62" fmla="*/ 984 w 1061"/>
                  <a:gd name="T63" fmla="*/ 76 h 76"/>
                  <a:gd name="T64" fmla="*/ 1044 w 1061"/>
                  <a:gd name="T65" fmla="*/ 76 h 76"/>
                  <a:gd name="T66" fmla="*/ 1048 w 1061"/>
                  <a:gd name="T67" fmla="*/ 75 h 76"/>
                  <a:gd name="T68" fmla="*/ 1048 w 1061"/>
                  <a:gd name="T69" fmla="*/ 63 h 76"/>
                  <a:gd name="T70" fmla="*/ 1060 w 1061"/>
                  <a:gd name="T71" fmla="*/ 63 h 76"/>
                  <a:gd name="T72" fmla="*/ 1061 w 1061"/>
                  <a:gd name="T73" fmla="*/ 59 h 76"/>
                  <a:gd name="T74" fmla="*/ 1058 w 1061"/>
                  <a:gd name="T75" fmla="*/ 51 h 76"/>
                  <a:gd name="T76" fmla="*/ 1048 w 1061"/>
                  <a:gd name="T77" fmla="*/ 51 h 76"/>
                  <a:gd name="T78" fmla="*/ 1048 w 1061"/>
                  <a:gd name="T79" fmla="*/ 43 h 76"/>
                  <a:gd name="T80" fmla="*/ 1044 w 1061"/>
                  <a:gd name="T81" fmla="*/ 43 h 76"/>
                  <a:gd name="T82" fmla="*/ 1040 w 1061"/>
                  <a:gd name="T83" fmla="*/ 43 h 76"/>
                  <a:gd name="T84" fmla="*/ 1008 w 1061"/>
                  <a:gd name="T85" fmla="*/ 11 h 76"/>
                  <a:gd name="T86" fmla="*/ 985 w 1061"/>
                  <a:gd name="T87" fmla="*/ 21 h 76"/>
                  <a:gd name="T88" fmla="*/ 984 w 1061"/>
                  <a:gd name="T89" fmla="*/ 21 h 76"/>
                  <a:gd name="T90" fmla="*/ 985 w 1061"/>
                  <a:gd name="T91" fmla="*/ 14 h 76"/>
                  <a:gd name="T92" fmla="*/ 984 w 1061"/>
                  <a:gd name="T93" fmla="*/ 7 h 76"/>
                  <a:gd name="T94" fmla="*/ 984 w 1061"/>
                  <a:gd name="T95" fmla="*/ 13 h 76"/>
                  <a:gd name="T96" fmla="*/ 920 w 1061"/>
                  <a:gd name="T97" fmla="*/ 13 h 76"/>
                  <a:gd name="T98" fmla="*/ 920 w 1061"/>
                  <a:gd name="T9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61" h="76">
                    <a:moveTo>
                      <a:pt x="791" y="51"/>
                    </a:moveTo>
                    <a:cubicBezTo>
                      <a:pt x="791" y="25"/>
                      <a:pt x="791" y="25"/>
                      <a:pt x="791" y="25"/>
                    </a:cubicBezTo>
                    <a:cubicBezTo>
                      <a:pt x="856" y="25"/>
                      <a:pt x="856" y="25"/>
                      <a:pt x="856" y="25"/>
                    </a:cubicBezTo>
                    <a:cubicBezTo>
                      <a:pt x="856" y="51"/>
                      <a:pt x="856" y="51"/>
                      <a:pt x="856" y="51"/>
                    </a:cubicBezTo>
                    <a:cubicBezTo>
                      <a:pt x="791" y="51"/>
                      <a:pt x="791" y="51"/>
                      <a:pt x="791" y="51"/>
                    </a:cubicBezTo>
                    <a:moveTo>
                      <a:pt x="920" y="51"/>
                    </a:moveTo>
                    <a:cubicBezTo>
                      <a:pt x="920" y="25"/>
                      <a:pt x="920" y="25"/>
                      <a:pt x="920" y="25"/>
                    </a:cubicBezTo>
                    <a:cubicBezTo>
                      <a:pt x="984" y="25"/>
                      <a:pt x="984" y="25"/>
                      <a:pt x="984" y="25"/>
                    </a:cubicBezTo>
                    <a:cubicBezTo>
                      <a:pt x="984" y="51"/>
                      <a:pt x="984" y="51"/>
                      <a:pt x="984" y="51"/>
                    </a:cubicBezTo>
                    <a:cubicBezTo>
                      <a:pt x="920" y="51"/>
                      <a:pt x="920" y="51"/>
                      <a:pt x="920" y="51"/>
                    </a:cubicBezTo>
                    <a:moveTo>
                      <a:pt x="920" y="0"/>
                    </a:moveTo>
                    <a:cubicBezTo>
                      <a:pt x="856" y="0"/>
                      <a:pt x="856" y="0"/>
                      <a:pt x="856" y="0"/>
                    </a:cubicBezTo>
                    <a:cubicBezTo>
                      <a:pt x="856" y="13"/>
                      <a:pt x="856" y="13"/>
                      <a:pt x="856" y="13"/>
                    </a:cubicBezTo>
                    <a:cubicBezTo>
                      <a:pt x="791" y="13"/>
                      <a:pt x="791" y="13"/>
                      <a:pt x="791" y="13"/>
                    </a:cubicBezTo>
                    <a:cubicBezTo>
                      <a:pt x="791" y="0"/>
                      <a:pt x="791" y="0"/>
                      <a:pt x="791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6" y="5"/>
                      <a:pt x="76" y="10"/>
                      <a:pt x="76" y="14"/>
                    </a:cubicBezTo>
                    <a:cubicBezTo>
                      <a:pt x="76" y="16"/>
                      <a:pt x="76" y="19"/>
                      <a:pt x="76" y="21"/>
                    </a:cubicBezTo>
                    <a:cubicBezTo>
                      <a:pt x="76" y="21"/>
                      <a:pt x="76" y="21"/>
                      <a:pt x="76" y="21"/>
                    </a:cubicBezTo>
                    <a:cubicBezTo>
                      <a:pt x="70" y="15"/>
                      <a:pt x="62" y="11"/>
                      <a:pt x="53" y="11"/>
                    </a:cubicBezTo>
                    <a:cubicBezTo>
                      <a:pt x="35" y="11"/>
                      <a:pt x="20" y="25"/>
                      <a:pt x="20" y="43"/>
                    </a:cubicBezTo>
                    <a:cubicBezTo>
                      <a:pt x="19" y="43"/>
                      <a:pt x="17" y="43"/>
                      <a:pt x="16" y="43"/>
                    </a:cubicBezTo>
                    <a:cubicBezTo>
                      <a:pt x="7" y="43"/>
                      <a:pt x="0" y="50"/>
                      <a:pt x="0" y="59"/>
                    </a:cubicBezTo>
                    <a:cubicBezTo>
                      <a:pt x="0" y="68"/>
                      <a:pt x="7" y="76"/>
                      <a:pt x="16" y="76"/>
                    </a:cubicBezTo>
                    <a:cubicBezTo>
                      <a:pt x="791" y="76"/>
                      <a:pt x="791" y="76"/>
                      <a:pt x="791" y="76"/>
                    </a:cubicBezTo>
                    <a:cubicBezTo>
                      <a:pt x="791" y="63"/>
                      <a:pt x="791" y="63"/>
                      <a:pt x="791" y="63"/>
                    </a:cubicBezTo>
                    <a:cubicBezTo>
                      <a:pt x="856" y="63"/>
                      <a:pt x="856" y="63"/>
                      <a:pt x="856" y="63"/>
                    </a:cubicBezTo>
                    <a:cubicBezTo>
                      <a:pt x="856" y="76"/>
                      <a:pt x="856" y="76"/>
                      <a:pt x="856" y="76"/>
                    </a:cubicBezTo>
                    <a:cubicBezTo>
                      <a:pt x="920" y="76"/>
                      <a:pt x="920" y="76"/>
                      <a:pt x="920" y="76"/>
                    </a:cubicBezTo>
                    <a:cubicBezTo>
                      <a:pt x="920" y="63"/>
                      <a:pt x="920" y="63"/>
                      <a:pt x="920" y="63"/>
                    </a:cubicBezTo>
                    <a:cubicBezTo>
                      <a:pt x="984" y="63"/>
                      <a:pt x="984" y="63"/>
                      <a:pt x="984" y="63"/>
                    </a:cubicBezTo>
                    <a:cubicBezTo>
                      <a:pt x="984" y="76"/>
                      <a:pt x="984" y="76"/>
                      <a:pt x="984" y="76"/>
                    </a:cubicBezTo>
                    <a:cubicBezTo>
                      <a:pt x="1044" y="76"/>
                      <a:pt x="1044" y="76"/>
                      <a:pt x="1044" y="76"/>
                    </a:cubicBezTo>
                    <a:cubicBezTo>
                      <a:pt x="1046" y="76"/>
                      <a:pt x="1047" y="76"/>
                      <a:pt x="1048" y="75"/>
                    </a:cubicBezTo>
                    <a:cubicBezTo>
                      <a:pt x="1048" y="63"/>
                      <a:pt x="1048" y="63"/>
                      <a:pt x="1048" y="63"/>
                    </a:cubicBezTo>
                    <a:cubicBezTo>
                      <a:pt x="1060" y="63"/>
                      <a:pt x="1060" y="63"/>
                      <a:pt x="1060" y="63"/>
                    </a:cubicBezTo>
                    <a:cubicBezTo>
                      <a:pt x="1061" y="62"/>
                      <a:pt x="1061" y="61"/>
                      <a:pt x="1061" y="59"/>
                    </a:cubicBezTo>
                    <a:cubicBezTo>
                      <a:pt x="1061" y="56"/>
                      <a:pt x="1060" y="53"/>
                      <a:pt x="1058" y="51"/>
                    </a:cubicBezTo>
                    <a:cubicBezTo>
                      <a:pt x="1048" y="51"/>
                      <a:pt x="1048" y="51"/>
                      <a:pt x="1048" y="51"/>
                    </a:cubicBezTo>
                    <a:cubicBezTo>
                      <a:pt x="1048" y="43"/>
                      <a:pt x="1048" y="43"/>
                      <a:pt x="1048" y="43"/>
                    </a:cubicBezTo>
                    <a:cubicBezTo>
                      <a:pt x="1047" y="43"/>
                      <a:pt x="1046" y="43"/>
                      <a:pt x="1044" y="43"/>
                    </a:cubicBezTo>
                    <a:cubicBezTo>
                      <a:pt x="1043" y="43"/>
                      <a:pt x="1042" y="43"/>
                      <a:pt x="1040" y="43"/>
                    </a:cubicBezTo>
                    <a:cubicBezTo>
                      <a:pt x="1040" y="25"/>
                      <a:pt x="1026" y="11"/>
                      <a:pt x="1008" y="11"/>
                    </a:cubicBezTo>
                    <a:cubicBezTo>
                      <a:pt x="999" y="11"/>
                      <a:pt x="990" y="15"/>
                      <a:pt x="985" y="21"/>
                    </a:cubicBezTo>
                    <a:cubicBezTo>
                      <a:pt x="984" y="21"/>
                      <a:pt x="984" y="21"/>
                      <a:pt x="984" y="21"/>
                    </a:cubicBezTo>
                    <a:cubicBezTo>
                      <a:pt x="984" y="19"/>
                      <a:pt x="985" y="16"/>
                      <a:pt x="985" y="14"/>
                    </a:cubicBezTo>
                    <a:cubicBezTo>
                      <a:pt x="985" y="12"/>
                      <a:pt x="984" y="9"/>
                      <a:pt x="984" y="7"/>
                    </a:cubicBezTo>
                    <a:cubicBezTo>
                      <a:pt x="984" y="13"/>
                      <a:pt x="984" y="13"/>
                      <a:pt x="984" y="13"/>
                    </a:cubicBezTo>
                    <a:cubicBezTo>
                      <a:pt x="920" y="13"/>
                      <a:pt x="920" y="13"/>
                      <a:pt x="920" y="13"/>
                    </a:cubicBezTo>
                    <a:cubicBezTo>
                      <a:pt x="920" y="0"/>
                      <a:pt x="920" y="0"/>
                      <a:pt x="920" y="0"/>
                    </a:cubicBezTo>
                  </a:path>
                </a:pathLst>
              </a:custGeom>
              <a:solidFill>
                <a:srgbClr val="FFA7B4">
                  <a:alpha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26">
                <a:extLst>
                  <a:ext uri="{FF2B5EF4-FFF2-40B4-BE49-F238E27FC236}">
                    <a16:creationId xmlns:a16="http://schemas.microsoft.com/office/drawing/2014/main" id="{31B926C9-8E57-41F5-A27C-095332F8F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7" y="2067"/>
                <a:ext cx="2112" cy="1268"/>
              </a:xfrm>
              <a:custGeom>
                <a:avLst/>
                <a:gdLst>
                  <a:gd name="T0" fmla="*/ 406 w 890"/>
                  <a:gd name="T1" fmla="*/ 0 h 534"/>
                  <a:gd name="T2" fmla="*/ 392 w 890"/>
                  <a:gd name="T3" fmla="*/ 368 h 534"/>
                  <a:gd name="T4" fmla="*/ 386 w 890"/>
                  <a:gd name="T5" fmla="*/ 366 h 534"/>
                  <a:gd name="T6" fmla="*/ 371 w 890"/>
                  <a:gd name="T7" fmla="*/ 375 h 534"/>
                  <a:gd name="T8" fmla="*/ 317 w 890"/>
                  <a:gd name="T9" fmla="*/ 355 h 534"/>
                  <a:gd name="T10" fmla="*/ 234 w 890"/>
                  <a:gd name="T11" fmla="*/ 438 h 534"/>
                  <a:gd name="T12" fmla="*/ 235 w 890"/>
                  <a:gd name="T13" fmla="*/ 452 h 534"/>
                  <a:gd name="T14" fmla="*/ 224 w 890"/>
                  <a:gd name="T15" fmla="*/ 451 h 534"/>
                  <a:gd name="T16" fmla="*/ 172 w 890"/>
                  <a:gd name="T17" fmla="*/ 480 h 534"/>
                  <a:gd name="T18" fmla="*/ 131 w 890"/>
                  <a:gd name="T19" fmla="*/ 452 h 534"/>
                  <a:gd name="T20" fmla="*/ 87 w 890"/>
                  <a:gd name="T21" fmla="*/ 493 h 534"/>
                  <a:gd name="T22" fmla="*/ 60 w 890"/>
                  <a:gd name="T23" fmla="*/ 487 h 534"/>
                  <a:gd name="T24" fmla="*/ 0 w 890"/>
                  <a:gd name="T25" fmla="*/ 534 h 534"/>
                  <a:gd name="T26" fmla="*/ 714 w 890"/>
                  <a:gd name="T27" fmla="*/ 534 h 534"/>
                  <a:gd name="T28" fmla="*/ 714 w 890"/>
                  <a:gd name="T29" fmla="*/ 505 h 534"/>
                  <a:gd name="T30" fmla="*/ 779 w 890"/>
                  <a:gd name="T31" fmla="*/ 505 h 534"/>
                  <a:gd name="T32" fmla="*/ 779 w 890"/>
                  <a:gd name="T33" fmla="*/ 534 h 534"/>
                  <a:gd name="T34" fmla="*/ 843 w 890"/>
                  <a:gd name="T35" fmla="*/ 534 h 534"/>
                  <a:gd name="T36" fmla="*/ 843 w 890"/>
                  <a:gd name="T37" fmla="*/ 505 h 534"/>
                  <a:gd name="T38" fmla="*/ 890 w 890"/>
                  <a:gd name="T39" fmla="*/ 505 h 534"/>
                  <a:gd name="T40" fmla="*/ 872 w 890"/>
                  <a:gd name="T41" fmla="*/ 493 h 534"/>
                  <a:gd name="T42" fmla="*/ 843 w 890"/>
                  <a:gd name="T43" fmla="*/ 493 h 534"/>
                  <a:gd name="T44" fmla="*/ 843 w 890"/>
                  <a:gd name="T45" fmla="*/ 487 h 534"/>
                  <a:gd name="T46" fmla="*/ 819 w 890"/>
                  <a:gd name="T47" fmla="*/ 493 h 534"/>
                  <a:gd name="T48" fmla="*/ 779 w 890"/>
                  <a:gd name="T49" fmla="*/ 452 h 534"/>
                  <a:gd name="T50" fmla="*/ 779 w 890"/>
                  <a:gd name="T51" fmla="*/ 493 h 534"/>
                  <a:gd name="T52" fmla="*/ 714 w 890"/>
                  <a:gd name="T53" fmla="*/ 493 h 534"/>
                  <a:gd name="T54" fmla="*/ 714 w 890"/>
                  <a:gd name="T55" fmla="*/ 460 h 534"/>
                  <a:gd name="T56" fmla="*/ 683 w 890"/>
                  <a:gd name="T57" fmla="*/ 451 h 534"/>
                  <a:gd name="T58" fmla="*/ 671 w 890"/>
                  <a:gd name="T59" fmla="*/ 452 h 534"/>
                  <a:gd name="T60" fmla="*/ 672 w 890"/>
                  <a:gd name="T61" fmla="*/ 438 h 534"/>
                  <a:gd name="T62" fmla="*/ 663 w 890"/>
                  <a:gd name="T63" fmla="*/ 400 h 534"/>
                  <a:gd name="T64" fmla="*/ 655 w 890"/>
                  <a:gd name="T65" fmla="*/ 432 h 534"/>
                  <a:gd name="T66" fmla="*/ 504 w 890"/>
                  <a:gd name="T67" fmla="*/ 394 h 534"/>
                  <a:gd name="T68" fmla="*/ 513 w 890"/>
                  <a:gd name="T69" fmla="*/ 356 h 534"/>
                  <a:gd name="T70" fmla="*/ 500 w 890"/>
                  <a:gd name="T71" fmla="*/ 0 h 534"/>
                  <a:gd name="T72" fmla="*/ 406 w 890"/>
                  <a:gd name="T73" fmla="*/ 0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90" h="534">
                    <a:moveTo>
                      <a:pt x="406" y="0"/>
                    </a:moveTo>
                    <a:cubicBezTo>
                      <a:pt x="392" y="368"/>
                      <a:pt x="392" y="368"/>
                      <a:pt x="392" y="368"/>
                    </a:cubicBezTo>
                    <a:cubicBezTo>
                      <a:pt x="390" y="367"/>
                      <a:pt x="388" y="366"/>
                      <a:pt x="386" y="366"/>
                    </a:cubicBezTo>
                    <a:cubicBezTo>
                      <a:pt x="380" y="366"/>
                      <a:pt x="374" y="370"/>
                      <a:pt x="371" y="375"/>
                    </a:cubicBezTo>
                    <a:cubicBezTo>
                      <a:pt x="357" y="363"/>
                      <a:pt x="338" y="355"/>
                      <a:pt x="317" y="355"/>
                    </a:cubicBezTo>
                    <a:cubicBezTo>
                      <a:pt x="271" y="355"/>
                      <a:pt x="234" y="392"/>
                      <a:pt x="234" y="438"/>
                    </a:cubicBezTo>
                    <a:cubicBezTo>
                      <a:pt x="234" y="443"/>
                      <a:pt x="235" y="448"/>
                      <a:pt x="235" y="452"/>
                    </a:cubicBezTo>
                    <a:cubicBezTo>
                      <a:pt x="232" y="452"/>
                      <a:pt x="228" y="451"/>
                      <a:pt x="224" y="451"/>
                    </a:cubicBezTo>
                    <a:cubicBezTo>
                      <a:pt x="202" y="451"/>
                      <a:pt x="183" y="463"/>
                      <a:pt x="172" y="480"/>
                    </a:cubicBezTo>
                    <a:cubicBezTo>
                      <a:pt x="165" y="464"/>
                      <a:pt x="150" y="452"/>
                      <a:pt x="131" y="452"/>
                    </a:cubicBezTo>
                    <a:cubicBezTo>
                      <a:pt x="108" y="452"/>
                      <a:pt x="88" y="470"/>
                      <a:pt x="87" y="493"/>
                    </a:cubicBezTo>
                    <a:cubicBezTo>
                      <a:pt x="79" y="489"/>
                      <a:pt x="70" y="487"/>
                      <a:pt x="60" y="487"/>
                    </a:cubicBezTo>
                    <a:cubicBezTo>
                      <a:pt x="31" y="487"/>
                      <a:pt x="7" y="507"/>
                      <a:pt x="0" y="534"/>
                    </a:cubicBezTo>
                    <a:cubicBezTo>
                      <a:pt x="714" y="534"/>
                      <a:pt x="714" y="534"/>
                      <a:pt x="714" y="534"/>
                    </a:cubicBezTo>
                    <a:cubicBezTo>
                      <a:pt x="714" y="505"/>
                      <a:pt x="714" y="505"/>
                      <a:pt x="714" y="505"/>
                    </a:cubicBezTo>
                    <a:cubicBezTo>
                      <a:pt x="779" y="505"/>
                      <a:pt x="779" y="505"/>
                      <a:pt x="779" y="505"/>
                    </a:cubicBezTo>
                    <a:cubicBezTo>
                      <a:pt x="779" y="534"/>
                      <a:pt x="779" y="534"/>
                      <a:pt x="779" y="534"/>
                    </a:cubicBezTo>
                    <a:cubicBezTo>
                      <a:pt x="843" y="534"/>
                      <a:pt x="843" y="534"/>
                      <a:pt x="843" y="534"/>
                    </a:cubicBezTo>
                    <a:cubicBezTo>
                      <a:pt x="843" y="505"/>
                      <a:pt x="843" y="505"/>
                      <a:pt x="843" y="505"/>
                    </a:cubicBezTo>
                    <a:cubicBezTo>
                      <a:pt x="890" y="505"/>
                      <a:pt x="890" y="505"/>
                      <a:pt x="890" y="505"/>
                    </a:cubicBezTo>
                    <a:cubicBezTo>
                      <a:pt x="885" y="500"/>
                      <a:pt x="879" y="496"/>
                      <a:pt x="872" y="493"/>
                    </a:cubicBezTo>
                    <a:cubicBezTo>
                      <a:pt x="843" y="493"/>
                      <a:pt x="843" y="493"/>
                      <a:pt x="843" y="493"/>
                    </a:cubicBezTo>
                    <a:cubicBezTo>
                      <a:pt x="843" y="487"/>
                      <a:pt x="843" y="487"/>
                      <a:pt x="843" y="487"/>
                    </a:cubicBezTo>
                    <a:cubicBezTo>
                      <a:pt x="834" y="488"/>
                      <a:pt x="826" y="490"/>
                      <a:pt x="819" y="493"/>
                    </a:cubicBezTo>
                    <a:cubicBezTo>
                      <a:pt x="818" y="471"/>
                      <a:pt x="801" y="454"/>
                      <a:pt x="779" y="452"/>
                    </a:cubicBezTo>
                    <a:cubicBezTo>
                      <a:pt x="779" y="493"/>
                      <a:pt x="779" y="493"/>
                      <a:pt x="779" y="493"/>
                    </a:cubicBezTo>
                    <a:cubicBezTo>
                      <a:pt x="714" y="493"/>
                      <a:pt x="714" y="493"/>
                      <a:pt x="714" y="493"/>
                    </a:cubicBezTo>
                    <a:cubicBezTo>
                      <a:pt x="714" y="460"/>
                      <a:pt x="714" y="460"/>
                      <a:pt x="714" y="460"/>
                    </a:cubicBezTo>
                    <a:cubicBezTo>
                      <a:pt x="705" y="454"/>
                      <a:pt x="694" y="451"/>
                      <a:pt x="683" y="451"/>
                    </a:cubicBezTo>
                    <a:cubicBezTo>
                      <a:pt x="679" y="451"/>
                      <a:pt x="675" y="452"/>
                      <a:pt x="671" y="452"/>
                    </a:cubicBezTo>
                    <a:cubicBezTo>
                      <a:pt x="672" y="448"/>
                      <a:pt x="672" y="443"/>
                      <a:pt x="672" y="438"/>
                    </a:cubicBezTo>
                    <a:cubicBezTo>
                      <a:pt x="672" y="424"/>
                      <a:pt x="669" y="411"/>
                      <a:pt x="663" y="400"/>
                    </a:cubicBezTo>
                    <a:cubicBezTo>
                      <a:pt x="655" y="432"/>
                      <a:pt x="655" y="432"/>
                      <a:pt x="655" y="432"/>
                    </a:cubicBezTo>
                    <a:cubicBezTo>
                      <a:pt x="504" y="394"/>
                      <a:pt x="504" y="394"/>
                      <a:pt x="504" y="394"/>
                    </a:cubicBezTo>
                    <a:cubicBezTo>
                      <a:pt x="513" y="356"/>
                      <a:pt x="513" y="356"/>
                      <a:pt x="513" y="356"/>
                    </a:cubicBezTo>
                    <a:cubicBezTo>
                      <a:pt x="500" y="0"/>
                      <a:pt x="500" y="0"/>
                      <a:pt x="500" y="0"/>
                    </a:cubicBezTo>
                    <a:cubicBezTo>
                      <a:pt x="406" y="0"/>
                      <a:pt x="406" y="0"/>
                      <a:pt x="406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27">
                <a:extLst>
                  <a:ext uri="{FF2B5EF4-FFF2-40B4-BE49-F238E27FC236}">
                    <a16:creationId xmlns:a16="http://schemas.microsoft.com/office/drawing/2014/main" id="{EF18ECC0-4AC3-4575-9712-397270DC13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03" y="2910"/>
                <a:ext cx="377" cy="183"/>
              </a:xfrm>
              <a:custGeom>
                <a:avLst/>
                <a:gdLst>
                  <a:gd name="T0" fmla="*/ 142 w 159"/>
                  <a:gd name="T1" fmla="*/ 56 h 77"/>
                  <a:gd name="T2" fmla="*/ 19 w 159"/>
                  <a:gd name="T3" fmla="*/ 24 h 77"/>
                  <a:gd name="T4" fmla="*/ 20 w 159"/>
                  <a:gd name="T5" fmla="*/ 19 h 77"/>
                  <a:gd name="T6" fmla="*/ 143 w 159"/>
                  <a:gd name="T7" fmla="*/ 51 h 77"/>
                  <a:gd name="T8" fmla="*/ 142 w 159"/>
                  <a:gd name="T9" fmla="*/ 56 h 77"/>
                  <a:gd name="T10" fmla="*/ 9 w 159"/>
                  <a:gd name="T11" fmla="*/ 1 h 77"/>
                  <a:gd name="T12" fmla="*/ 0 w 159"/>
                  <a:gd name="T13" fmla="*/ 39 h 77"/>
                  <a:gd name="T14" fmla="*/ 151 w 159"/>
                  <a:gd name="T15" fmla="*/ 77 h 77"/>
                  <a:gd name="T16" fmla="*/ 159 w 159"/>
                  <a:gd name="T17" fmla="*/ 45 h 77"/>
                  <a:gd name="T18" fmla="*/ 149 w 159"/>
                  <a:gd name="T19" fmla="*/ 30 h 77"/>
                  <a:gd name="T20" fmla="*/ 148 w 159"/>
                  <a:gd name="T21" fmla="*/ 31 h 77"/>
                  <a:gd name="T22" fmla="*/ 53 w 159"/>
                  <a:gd name="T23" fmla="*/ 6 h 77"/>
                  <a:gd name="T24" fmla="*/ 43 w 159"/>
                  <a:gd name="T25" fmla="*/ 12 h 77"/>
                  <a:gd name="T26" fmla="*/ 146 w 159"/>
                  <a:gd name="T27" fmla="*/ 38 h 77"/>
                  <a:gd name="T28" fmla="*/ 145 w 159"/>
                  <a:gd name="T29" fmla="*/ 43 h 77"/>
                  <a:gd name="T30" fmla="*/ 37 w 159"/>
                  <a:gd name="T31" fmla="*/ 15 h 77"/>
                  <a:gd name="T32" fmla="*/ 31 w 159"/>
                  <a:gd name="T33" fmla="*/ 20 h 77"/>
                  <a:gd name="T34" fmla="*/ 16 w 159"/>
                  <a:gd name="T35" fmla="*/ 11 h 77"/>
                  <a:gd name="T36" fmla="*/ 10 w 159"/>
                  <a:gd name="T37" fmla="*/ 13 h 77"/>
                  <a:gd name="T38" fmla="*/ 9 w 159"/>
                  <a:gd name="T39" fmla="*/ 1 h 77"/>
                  <a:gd name="T40" fmla="*/ 81 w 159"/>
                  <a:gd name="T41" fmla="*/ 0 h 77"/>
                  <a:gd name="T42" fmla="*/ 62 w 159"/>
                  <a:gd name="T43" fmla="*/ 3 h 77"/>
                  <a:gd name="T44" fmla="*/ 144 w 159"/>
                  <a:gd name="T45" fmla="*/ 24 h 77"/>
                  <a:gd name="T46" fmla="*/ 128 w 159"/>
                  <a:gd name="T47" fmla="*/ 12 h 77"/>
                  <a:gd name="T48" fmla="*/ 81 w 159"/>
                  <a:gd name="T49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9" h="77">
                    <a:moveTo>
                      <a:pt x="142" y="56"/>
                    </a:moveTo>
                    <a:cubicBezTo>
                      <a:pt x="19" y="24"/>
                      <a:pt x="19" y="24"/>
                      <a:pt x="19" y="24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43" y="51"/>
                      <a:pt x="143" y="51"/>
                      <a:pt x="143" y="51"/>
                    </a:cubicBezTo>
                    <a:cubicBezTo>
                      <a:pt x="142" y="56"/>
                      <a:pt x="142" y="56"/>
                      <a:pt x="142" y="56"/>
                    </a:cubicBezTo>
                    <a:moveTo>
                      <a:pt x="9" y="1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151" y="77"/>
                      <a:pt x="151" y="77"/>
                      <a:pt x="151" y="77"/>
                    </a:cubicBezTo>
                    <a:cubicBezTo>
                      <a:pt x="159" y="45"/>
                      <a:pt x="159" y="45"/>
                      <a:pt x="159" y="45"/>
                    </a:cubicBezTo>
                    <a:cubicBezTo>
                      <a:pt x="156" y="39"/>
                      <a:pt x="153" y="34"/>
                      <a:pt x="149" y="30"/>
                    </a:cubicBezTo>
                    <a:cubicBezTo>
                      <a:pt x="148" y="31"/>
                      <a:pt x="148" y="31"/>
                      <a:pt x="148" y="31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0" y="8"/>
                      <a:pt x="46" y="10"/>
                      <a:pt x="43" y="12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5" y="43"/>
                      <a:pt x="145" y="43"/>
                      <a:pt x="145" y="43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5" y="17"/>
                      <a:pt x="33" y="19"/>
                      <a:pt x="31" y="20"/>
                    </a:cubicBezTo>
                    <a:cubicBezTo>
                      <a:pt x="28" y="15"/>
                      <a:pt x="23" y="11"/>
                      <a:pt x="16" y="11"/>
                    </a:cubicBezTo>
                    <a:cubicBezTo>
                      <a:pt x="14" y="11"/>
                      <a:pt x="12" y="12"/>
                      <a:pt x="10" y="13"/>
                    </a:cubicBezTo>
                    <a:cubicBezTo>
                      <a:pt x="9" y="1"/>
                      <a:pt x="9" y="1"/>
                      <a:pt x="9" y="1"/>
                    </a:cubicBezTo>
                    <a:moveTo>
                      <a:pt x="81" y="0"/>
                    </a:moveTo>
                    <a:cubicBezTo>
                      <a:pt x="75" y="0"/>
                      <a:pt x="68" y="2"/>
                      <a:pt x="62" y="3"/>
                    </a:cubicBezTo>
                    <a:cubicBezTo>
                      <a:pt x="144" y="24"/>
                      <a:pt x="144" y="24"/>
                      <a:pt x="144" y="24"/>
                    </a:cubicBezTo>
                    <a:cubicBezTo>
                      <a:pt x="139" y="20"/>
                      <a:pt x="134" y="16"/>
                      <a:pt x="128" y="12"/>
                    </a:cubicBezTo>
                    <a:cubicBezTo>
                      <a:pt x="81" y="0"/>
                      <a:pt x="81" y="0"/>
                      <a:pt x="81" y="0"/>
                    </a:cubicBezTo>
                  </a:path>
                </a:pathLst>
              </a:custGeom>
              <a:solidFill>
                <a:srgbClr val="FFA7B4">
                  <a:alpha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28">
                <a:extLst>
                  <a:ext uri="{FF2B5EF4-FFF2-40B4-BE49-F238E27FC236}">
                    <a16:creationId xmlns:a16="http://schemas.microsoft.com/office/drawing/2014/main" id="{7DBF9068-A8EE-4431-BD33-0CA5A9A95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5" y="2910"/>
                <a:ext cx="112" cy="29"/>
              </a:xfrm>
              <a:custGeom>
                <a:avLst/>
                <a:gdLst>
                  <a:gd name="T0" fmla="*/ 4 w 47"/>
                  <a:gd name="T1" fmla="*/ 0 h 12"/>
                  <a:gd name="T2" fmla="*/ 0 w 47"/>
                  <a:gd name="T3" fmla="*/ 0 h 12"/>
                  <a:gd name="T4" fmla="*/ 47 w 47"/>
                  <a:gd name="T5" fmla="*/ 12 h 12"/>
                  <a:gd name="T6" fmla="*/ 4 w 47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12">
                    <a:moveTo>
                      <a:pt x="4" y="0"/>
                    </a:moveTo>
                    <a:cubicBezTo>
                      <a:pt x="3" y="0"/>
                      <a:pt x="1" y="0"/>
                      <a:pt x="0" y="0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5" y="5"/>
                      <a:pt x="20" y="0"/>
                      <a:pt x="4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29">
                <a:extLst>
                  <a:ext uri="{FF2B5EF4-FFF2-40B4-BE49-F238E27FC236}">
                    <a16:creationId xmlns:a16="http://schemas.microsoft.com/office/drawing/2014/main" id="{1C2CF6DB-9891-4412-9B55-D98B0DF9A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9" y="2918"/>
                <a:ext cx="228" cy="66"/>
              </a:xfrm>
              <a:custGeom>
                <a:avLst/>
                <a:gdLst>
                  <a:gd name="T0" fmla="*/ 9 w 96"/>
                  <a:gd name="T1" fmla="*/ 0 h 28"/>
                  <a:gd name="T2" fmla="*/ 0 w 96"/>
                  <a:gd name="T3" fmla="*/ 3 h 28"/>
                  <a:gd name="T4" fmla="*/ 95 w 96"/>
                  <a:gd name="T5" fmla="*/ 28 h 28"/>
                  <a:gd name="T6" fmla="*/ 96 w 96"/>
                  <a:gd name="T7" fmla="*/ 27 h 28"/>
                  <a:gd name="T8" fmla="*/ 91 w 96"/>
                  <a:gd name="T9" fmla="*/ 21 h 28"/>
                  <a:gd name="T10" fmla="*/ 9 w 96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28">
                    <a:moveTo>
                      <a:pt x="9" y="0"/>
                    </a:moveTo>
                    <a:cubicBezTo>
                      <a:pt x="6" y="1"/>
                      <a:pt x="3" y="2"/>
                      <a:pt x="0" y="3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6" y="27"/>
                      <a:pt x="96" y="27"/>
                      <a:pt x="96" y="27"/>
                    </a:cubicBezTo>
                    <a:cubicBezTo>
                      <a:pt x="94" y="25"/>
                      <a:pt x="92" y="23"/>
                      <a:pt x="91" y="21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30">
                <a:extLst>
                  <a:ext uri="{FF2B5EF4-FFF2-40B4-BE49-F238E27FC236}">
                    <a16:creationId xmlns:a16="http://schemas.microsoft.com/office/drawing/2014/main" id="{C52A8A53-C882-438A-99DC-B31D906AA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1" y="2939"/>
                <a:ext cx="258" cy="74"/>
              </a:xfrm>
              <a:custGeom>
                <a:avLst/>
                <a:gdLst>
                  <a:gd name="T0" fmla="*/ 6 w 109"/>
                  <a:gd name="T1" fmla="*/ 0 h 31"/>
                  <a:gd name="T2" fmla="*/ 0 w 109"/>
                  <a:gd name="T3" fmla="*/ 3 h 31"/>
                  <a:gd name="T4" fmla="*/ 108 w 109"/>
                  <a:gd name="T5" fmla="*/ 31 h 31"/>
                  <a:gd name="T6" fmla="*/ 109 w 109"/>
                  <a:gd name="T7" fmla="*/ 26 h 31"/>
                  <a:gd name="T8" fmla="*/ 6 w 109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31">
                    <a:moveTo>
                      <a:pt x="6" y="0"/>
                    </a:moveTo>
                    <a:cubicBezTo>
                      <a:pt x="4" y="1"/>
                      <a:pt x="2" y="2"/>
                      <a:pt x="0" y="3"/>
                    </a:cubicBezTo>
                    <a:cubicBezTo>
                      <a:pt x="108" y="31"/>
                      <a:pt x="108" y="31"/>
                      <a:pt x="108" y="31"/>
                    </a:cubicBezTo>
                    <a:cubicBezTo>
                      <a:pt x="109" y="26"/>
                      <a:pt x="109" y="26"/>
                      <a:pt x="109" y="26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31">
                <a:extLst>
                  <a:ext uri="{FF2B5EF4-FFF2-40B4-BE49-F238E27FC236}">
                    <a16:creationId xmlns:a16="http://schemas.microsoft.com/office/drawing/2014/main" id="{4F0532C0-1714-4F22-8EC6-FE706836D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" y="2956"/>
                <a:ext cx="294" cy="87"/>
              </a:xfrm>
              <a:custGeom>
                <a:avLst/>
                <a:gdLst>
                  <a:gd name="T0" fmla="*/ 2 w 294"/>
                  <a:gd name="T1" fmla="*/ 0 h 87"/>
                  <a:gd name="T2" fmla="*/ 0 w 294"/>
                  <a:gd name="T3" fmla="*/ 11 h 87"/>
                  <a:gd name="T4" fmla="*/ 292 w 294"/>
                  <a:gd name="T5" fmla="*/ 87 h 87"/>
                  <a:gd name="T6" fmla="*/ 294 w 294"/>
                  <a:gd name="T7" fmla="*/ 76 h 87"/>
                  <a:gd name="T8" fmla="*/ 2 w 294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7">
                    <a:moveTo>
                      <a:pt x="2" y="0"/>
                    </a:moveTo>
                    <a:lnTo>
                      <a:pt x="0" y="11"/>
                    </a:lnTo>
                    <a:lnTo>
                      <a:pt x="292" y="87"/>
                    </a:lnTo>
                    <a:lnTo>
                      <a:pt x="294" y="7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1C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32">
                <a:extLst>
                  <a:ext uri="{FF2B5EF4-FFF2-40B4-BE49-F238E27FC236}">
                    <a16:creationId xmlns:a16="http://schemas.microsoft.com/office/drawing/2014/main" id="{41581D7F-6F59-425F-BEC0-054A3BFC6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" y="2956"/>
                <a:ext cx="294" cy="87"/>
              </a:xfrm>
              <a:custGeom>
                <a:avLst/>
                <a:gdLst>
                  <a:gd name="T0" fmla="*/ 2 w 294"/>
                  <a:gd name="T1" fmla="*/ 0 h 87"/>
                  <a:gd name="T2" fmla="*/ 0 w 294"/>
                  <a:gd name="T3" fmla="*/ 11 h 87"/>
                  <a:gd name="T4" fmla="*/ 292 w 294"/>
                  <a:gd name="T5" fmla="*/ 87 h 87"/>
                  <a:gd name="T6" fmla="*/ 294 w 294"/>
                  <a:gd name="T7" fmla="*/ 76 h 87"/>
                  <a:gd name="T8" fmla="*/ 2 w 294"/>
                  <a:gd name="T9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87">
                    <a:moveTo>
                      <a:pt x="2" y="0"/>
                    </a:moveTo>
                    <a:lnTo>
                      <a:pt x="0" y="11"/>
                    </a:lnTo>
                    <a:lnTo>
                      <a:pt x="292" y="87"/>
                    </a:lnTo>
                    <a:lnTo>
                      <a:pt x="294" y="76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A7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33">
                <a:extLst>
                  <a:ext uri="{FF2B5EF4-FFF2-40B4-BE49-F238E27FC236}">
                    <a16:creationId xmlns:a16="http://schemas.microsoft.com/office/drawing/2014/main" id="{FC22197C-1898-49D8-88DF-1D1CD3711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3141"/>
                <a:ext cx="154" cy="97"/>
              </a:xfrm>
              <a:custGeom>
                <a:avLst/>
                <a:gdLst>
                  <a:gd name="T0" fmla="*/ 61 w 65"/>
                  <a:gd name="T1" fmla="*/ 0 h 41"/>
                  <a:gd name="T2" fmla="*/ 21 w 65"/>
                  <a:gd name="T3" fmla="*/ 28 h 41"/>
                  <a:gd name="T4" fmla="*/ 0 w 65"/>
                  <a:gd name="T5" fmla="*/ 8 h 41"/>
                  <a:gd name="T6" fmla="*/ 0 w 65"/>
                  <a:gd name="T7" fmla="*/ 41 h 41"/>
                  <a:gd name="T8" fmla="*/ 65 w 65"/>
                  <a:gd name="T9" fmla="*/ 41 h 41"/>
                  <a:gd name="T10" fmla="*/ 65 w 65"/>
                  <a:gd name="T11" fmla="*/ 0 h 41"/>
                  <a:gd name="T12" fmla="*/ 61 w 65"/>
                  <a:gd name="T13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41">
                    <a:moveTo>
                      <a:pt x="61" y="0"/>
                    </a:moveTo>
                    <a:cubicBezTo>
                      <a:pt x="43" y="0"/>
                      <a:pt x="27" y="12"/>
                      <a:pt x="21" y="28"/>
                    </a:cubicBezTo>
                    <a:cubicBezTo>
                      <a:pt x="15" y="20"/>
                      <a:pt x="8" y="13"/>
                      <a:pt x="0" y="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4" y="0"/>
                      <a:pt x="63" y="0"/>
                      <a:pt x="61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34">
                <a:extLst>
                  <a:ext uri="{FF2B5EF4-FFF2-40B4-BE49-F238E27FC236}">
                    <a16:creationId xmlns:a16="http://schemas.microsoft.com/office/drawing/2014/main" id="{6003626A-107A-45D2-8CBD-A8E403E73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3267"/>
                <a:ext cx="154" cy="99"/>
              </a:xfrm>
              <a:custGeom>
                <a:avLst/>
                <a:gdLst>
                  <a:gd name="T0" fmla="*/ 154 w 154"/>
                  <a:gd name="T1" fmla="*/ 0 h 99"/>
                  <a:gd name="T2" fmla="*/ 0 w 154"/>
                  <a:gd name="T3" fmla="*/ 0 h 99"/>
                  <a:gd name="T4" fmla="*/ 0 w 154"/>
                  <a:gd name="T5" fmla="*/ 68 h 99"/>
                  <a:gd name="T6" fmla="*/ 0 w 154"/>
                  <a:gd name="T7" fmla="*/ 99 h 99"/>
                  <a:gd name="T8" fmla="*/ 154 w 154"/>
                  <a:gd name="T9" fmla="*/ 99 h 99"/>
                  <a:gd name="T10" fmla="*/ 154 w 154"/>
                  <a:gd name="T11" fmla="*/ 68 h 99"/>
                  <a:gd name="T12" fmla="*/ 154 w 154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99">
                    <a:moveTo>
                      <a:pt x="154" y="0"/>
                    </a:moveTo>
                    <a:lnTo>
                      <a:pt x="0" y="0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54" y="99"/>
                    </a:lnTo>
                    <a:lnTo>
                      <a:pt x="154" y="68"/>
                    </a:lnTo>
                    <a:lnTo>
                      <a:pt x="154" y="0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35">
                <a:extLst>
                  <a:ext uri="{FF2B5EF4-FFF2-40B4-BE49-F238E27FC236}">
                    <a16:creationId xmlns:a16="http://schemas.microsoft.com/office/drawing/2014/main" id="{18DD4040-1974-4C6A-8819-F46684424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3267"/>
                <a:ext cx="154" cy="99"/>
              </a:xfrm>
              <a:custGeom>
                <a:avLst/>
                <a:gdLst>
                  <a:gd name="T0" fmla="*/ 154 w 154"/>
                  <a:gd name="T1" fmla="*/ 0 h 99"/>
                  <a:gd name="T2" fmla="*/ 0 w 154"/>
                  <a:gd name="T3" fmla="*/ 0 h 99"/>
                  <a:gd name="T4" fmla="*/ 0 w 154"/>
                  <a:gd name="T5" fmla="*/ 68 h 99"/>
                  <a:gd name="T6" fmla="*/ 0 w 154"/>
                  <a:gd name="T7" fmla="*/ 99 h 99"/>
                  <a:gd name="T8" fmla="*/ 154 w 154"/>
                  <a:gd name="T9" fmla="*/ 99 h 99"/>
                  <a:gd name="T10" fmla="*/ 154 w 154"/>
                  <a:gd name="T11" fmla="*/ 68 h 99"/>
                  <a:gd name="T12" fmla="*/ 154 w 154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99">
                    <a:moveTo>
                      <a:pt x="154" y="0"/>
                    </a:moveTo>
                    <a:lnTo>
                      <a:pt x="0" y="0"/>
                    </a:lnTo>
                    <a:lnTo>
                      <a:pt x="0" y="68"/>
                    </a:lnTo>
                    <a:lnTo>
                      <a:pt x="0" y="99"/>
                    </a:lnTo>
                    <a:lnTo>
                      <a:pt x="154" y="99"/>
                    </a:lnTo>
                    <a:lnTo>
                      <a:pt x="154" y="68"/>
                    </a:lnTo>
                    <a:lnTo>
                      <a:pt x="1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136">
                <a:extLst>
                  <a:ext uri="{FF2B5EF4-FFF2-40B4-BE49-F238E27FC236}">
                    <a16:creationId xmlns:a16="http://schemas.microsoft.com/office/drawing/2014/main" id="{C977797B-F2F8-439A-80AB-41CE42FE8E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395"/>
                <a:ext cx="154" cy="62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Rectangle 137">
                <a:extLst>
                  <a:ext uri="{FF2B5EF4-FFF2-40B4-BE49-F238E27FC236}">
                    <a16:creationId xmlns:a16="http://schemas.microsoft.com/office/drawing/2014/main" id="{F04E8E5D-737F-4AF5-87F1-9E961EECFB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395"/>
                <a:ext cx="154" cy="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Rectangle 138">
                <a:extLst>
                  <a:ext uri="{FF2B5EF4-FFF2-40B4-BE49-F238E27FC236}">
                    <a16:creationId xmlns:a16="http://schemas.microsoft.com/office/drawing/2014/main" id="{89CE1EA0-625F-4EFF-BD35-5C46ECCA5D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485"/>
                <a:ext cx="154" cy="31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139">
                <a:extLst>
                  <a:ext uri="{FF2B5EF4-FFF2-40B4-BE49-F238E27FC236}">
                    <a16:creationId xmlns:a16="http://schemas.microsoft.com/office/drawing/2014/main" id="{8E50C496-8FF4-4F77-9104-8051885B0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1" y="3485"/>
                <a:ext cx="154" cy="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40">
                <a:extLst>
                  <a:ext uri="{FF2B5EF4-FFF2-40B4-BE49-F238E27FC236}">
                    <a16:creationId xmlns:a16="http://schemas.microsoft.com/office/drawing/2014/main" id="{DCC31567-ECA6-4F71-9908-630F43121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7" y="3224"/>
                <a:ext cx="69" cy="14"/>
              </a:xfrm>
              <a:custGeom>
                <a:avLst/>
                <a:gdLst>
                  <a:gd name="T0" fmla="*/ 3 w 29"/>
                  <a:gd name="T1" fmla="*/ 0 h 6"/>
                  <a:gd name="T2" fmla="*/ 0 w 29"/>
                  <a:gd name="T3" fmla="*/ 0 h 6"/>
                  <a:gd name="T4" fmla="*/ 0 w 29"/>
                  <a:gd name="T5" fmla="*/ 6 h 6"/>
                  <a:gd name="T6" fmla="*/ 29 w 29"/>
                  <a:gd name="T7" fmla="*/ 6 h 6"/>
                  <a:gd name="T8" fmla="*/ 3 w 2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6">
                    <a:moveTo>
                      <a:pt x="3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1" y="2"/>
                      <a:pt x="12" y="0"/>
                      <a:pt x="3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41">
                <a:extLst>
                  <a:ext uri="{FF2B5EF4-FFF2-40B4-BE49-F238E27FC236}">
                    <a16:creationId xmlns:a16="http://schemas.microsoft.com/office/drawing/2014/main" id="{46B7E0ED-821A-4E32-9AB4-E75830C14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7" y="3267"/>
                <a:ext cx="152" cy="99"/>
              </a:xfrm>
              <a:custGeom>
                <a:avLst/>
                <a:gdLst>
                  <a:gd name="T0" fmla="*/ 47 w 64"/>
                  <a:gd name="T1" fmla="*/ 0 h 42"/>
                  <a:gd name="T2" fmla="*/ 0 w 64"/>
                  <a:gd name="T3" fmla="*/ 0 h 42"/>
                  <a:gd name="T4" fmla="*/ 0 w 64"/>
                  <a:gd name="T5" fmla="*/ 29 h 42"/>
                  <a:gd name="T6" fmla="*/ 0 w 64"/>
                  <a:gd name="T7" fmla="*/ 42 h 42"/>
                  <a:gd name="T8" fmla="*/ 64 w 64"/>
                  <a:gd name="T9" fmla="*/ 42 h 42"/>
                  <a:gd name="T10" fmla="*/ 64 w 64"/>
                  <a:gd name="T11" fmla="*/ 36 h 42"/>
                  <a:gd name="T12" fmla="*/ 47 w 64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2">
                    <a:moveTo>
                      <a:pt x="4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2" y="22"/>
                      <a:pt x="56" y="10"/>
                      <a:pt x="47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142">
                <a:extLst>
                  <a:ext uri="{FF2B5EF4-FFF2-40B4-BE49-F238E27FC236}">
                    <a16:creationId xmlns:a16="http://schemas.microsoft.com/office/drawing/2014/main" id="{CFCEC875-69C1-4460-A097-BE59A1F4F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395"/>
                <a:ext cx="152" cy="62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143">
                <a:extLst>
                  <a:ext uri="{FF2B5EF4-FFF2-40B4-BE49-F238E27FC236}">
                    <a16:creationId xmlns:a16="http://schemas.microsoft.com/office/drawing/2014/main" id="{417F6BC5-0DA4-4AF4-B755-2D0DB8AD24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395"/>
                <a:ext cx="152" cy="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Rectangle 144">
                <a:extLst>
                  <a:ext uri="{FF2B5EF4-FFF2-40B4-BE49-F238E27FC236}">
                    <a16:creationId xmlns:a16="http://schemas.microsoft.com/office/drawing/2014/main" id="{DC1E4A33-DC01-4C5C-B615-200D888D84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485"/>
                <a:ext cx="152" cy="31"/>
              </a:xfrm>
              <a:prstGeom prst="rect">
                <a:avLst/>
              </a:pr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145">
                <a:extLst>
                  <a:ext uri="{FF2B5EF4-FFF2-40B4-BE49-F238E27FC236}">
                    <a16:creationId xmlns:a16="http://schemas.microsoft.com/office/drawing/2014/main" id="{376F0085-2769-47C4-9D8A-576DC39E2F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7" y="3485"/>
                <a:ext cx="152" cy="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146">
                <a:extLst>
                  <a:ext uri="{FF2B5EF4-FFF2-40B4-BE49-F238E27FC236}">
                    <a16:creationId xmlns:a16="http://schemas.microsoft.com/office/drawing/2014/main" id="{90611760-06D0-41F6-9887-5F58C7A51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1" y="3438"/>
                <a:ext cx="24" cy="19"/>
              </a:xfrm>
              <a:custGeom>
                <a:avLst/>
                <a:gdLst>
                  <a:gd name="T0" fmla="*/ 0 w 10"/>
                  <a:gd name="T1" fmla="*/ 0 h 8"/>
                  <a:gd name="T2" fmla="*/ 0 w 10"/>
                  <a:gd name="T3" fmla="*/ 8 h 8"/>
                  <a:gd name="T4" fmla="*/ 10 w 10"/>
                  <a:gd name="T5" fmla="*/ 8 h 8"/>
                  <a:gd name="T6" fmla="*/ 0 w 10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8">
                    <a:moveTo>
                      <a:pt x="0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8" y="4"/>
                      <a:pt x="4" y="1"/>
                      <a:pt x="0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47">
                <a:extLst>
                  <a:ext uri="{FF2B5EF4-FFF2-40B4-BE49-F238E27FC236}">
                    <a16:creationId xmlns:a16="http://schemas.microsoft.com/office/drawing/2014/main" id="{E9AB52FA-608E-430D-9E8D-CA3C2ADD5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1" y="3485"/>
                <a:ext cx="29" cy="29"/>
              </a:xfrm>
              <a:custGeom>
                <a:avLst/>
                <a:gdLst>
                  <a:gd name="T0" fmla="*/ 12 w 12"/>
                  <a:gd name="T1" fmla="*/ 0 h 12"/>
                  <a:gd name="T2" fmla="*/ 0 w 12"/>
                  <a:gd name="T3" fmla="*/ 0 h 12"/>
                  <a:gd name="T4" fmla="*/ 0 w 12"/>
                  <a:gd name="T5" fmla="*/ 12 h 12"/>
                  <a:gd name="T6" fmla="*/ 12 w 12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2">
                    <a:moveTo>
                      <a:pt x="1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" y="11"/>
                      <a:pt x="11" y="6"/>
                      <a:pt x="12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48">
                <a:extLst>
                  <a:ext uri="{FF2B5EF4-FFF2-40B4-BE49-F238E27FC236}">
                    <a16:creationId xmlns:a16="http://schemas.microsoft.com/office/drawing/2014/main" id="{85E994A4-EBF3-4771-B9CB-DE5E2DBE1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9" y="3091"/>
                <a:ext cx="124" cy="126"/>
              </a:xfrm>
              <a:custGeom>
                <a:avLst/>
                <a:gdLst>
                  <a:gd name="T0" fmla="*/ 124 w 124"/>
                  <a:gd name="T1" fmla="*/ 64 h 126"/>
                  <a:gd name="T2" fmla="*/ 74 w 124"/>
                  <a:gd name="T3" fmla="*/ 73 h 126"/>
                  <a:gd name="T4" fmla="*/ 62 w 124"/>
                  <a:gd name="T5" fmla="*/ 126 h 126"/>
                  <a:gd name="T6" fmla="*/ 50 w 124"/>
                  <a:gd name="T7" fmla="*/ 73 h 126"/>
                  <a:gd name="T8" fmla="*/ 0 w 124"/>
                  <a:gd name="T9" fmla="*/ 64 h 126"/>
                  <a:gd name="T10" fmla="*/ 50 w 124"/>
                  <a:gd name="T11" fmla="*/ 50 h 126"/>
                  <a:gd name="T12" fmla="*/ 62 w 124"/>
                  <a:gd name="T13" fmla="*/ 0 h 126"/>
                  <a:gd name="T14" fmla="*/ 74 w 124"/>
                  <a:gd name="T15" fmla="*/ 50 h 126"/>
                  <a:gd name="T16" fmla="*/ 124 w 124"/>
                  <a:gd name="T17" fmla="*/ 6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126">
                    <a:moveTo>
                      <a:pt x="124" y="64"/>
                    </a:moveTo>
                    <a:lnTo>
                      <a:pt x="74" y="73"/>
                    </a:lnTo>
                    <a:lnTo>
                      <a:pt x="62" y="126"/>
                    </a:lnTo>
                    <a:lnTo>
                      <a:pt x="50" y="73"/>
                    </a:lnTo>
                    <a:lnTo>
                      <a:pt x="0" y="64"/>
                    </a:lnTo>
                    <a:lnTo>
                      <a:pt x="50" y="50"/>
                    </a:lnTo>
                    <a:lnTo>
                      <a:pt x="62" y="0"/>
                    </a:lnTo>
                    <a:lnTo>
                      <a:pt x="74" y="50"/>
                    </a:lnTo>
                    <a:lnTo>
                      <a:pt x="124" y="64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49">
                <a:extLst>
                  <a:ext uri="{FF2B5EF4-FFF2-40B4-BE49-F238E27FC236}">
                    <a16:creationId xmlns:a16="http://schemas.microsoft.com/office/drawing/2014/main" id="{83BDBC93-B4BE-4796-8EC6-6945054D3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" y="2661"/>
                <a:ext cx="123" cy="126"/>
              </a:xfrm>
              <a:custGeom>
                <a:avLst/>
                <a:gdLst>
                  <a:gd name="T0" fmla="*/ 123 w 123"/>
                  <a:gd name="T1" fmla="*/ 64 h 126"/>
                  <a:gd name="T2" fmla="*/ 73 w 123"/>
                  <a:gd name="T3" fmla="*/ 74 h 126"/>
                  <a:gd name="T4" fmla="*/ 61 w 123"/>
                  <a:gd name="T5" fmla="*/ 126 h 126"/>
                  <a:gd name="T6" fmla="*/ 49 w 123"/>
                  <a:gd name="T7" fmla="*/ 74 h 126"/>
                  <a:gd name="T8" fmla="*/ 0 w 123"/>
                  <a:gd name="T9" fmla="*/ 64 h 126"/>
                  <a:gd name="T10" fmla="*/ 49 w 123"/>
                  <a:gd name="T11" fmla="*/ 52 h 126"/>
                  <a:gd name="T12" fmla="*/ 61 w 123"/>
                  <a:gd name="T13" fmla="*/ 0 h 126"/>
                  <a:gd name="T14" fmla="*/ 73 w 123"/>
                  <a:gd name="T15" fmla="*/ 52 h 126"/>
                  <a:gd name="T16" fmla="*/ 123 w 123"/>
                  <a:gd name="T17" fmla="*/ 64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3" h="126">
                    <a:moveTo>
                      <a:pt x="123" y="64"/>
                    </a:moveTo>
                    <a:lnTo>
                      <a:pt x="73" y="74"/>
                    </a:lnTo>
                    <a:lnTo>
                      <a:pt x="61" y="126"/>
                    </a:lnTo>
                    <a:lnTo>
                      <a:pt x="49" y="74"/>
                    </a:lnTo>
                    <a:lnTo>
                      <a:pt x="0" y="64"/>
                    </a:lnTo>
                    <a:lnTo>
                      <a:pt x="49" y="52"/>
                    </a:lnTo>
                    <a:lnTo>
                      <a:pt x="61" y="0"/>
                    </a:lnTo>
                    <a:lnTo>
                      <a:pt x="73" y="52"/>
                    </a:lnTo>
                    <a:lnTo>
                      <a:pt x="123" y="64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150">
                <a:extLst>
                  <a:ext uri="{FF2B5EF4-FFF2-40B4-BE49-F238E27FC236}">
                    <a16:creationId xmlns:a16="http://schemas.microsoft.com/office/drawing/2014/main" id="{5910BBF9-6E91-45BD-97F6-B282101786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2" y="3221"/>
                <a:ext cx="69" cy="69"/>
              </a:xfrm>
              <a:custGeom>
                <a:avLst/>
                <a:gdLst>
                  <a:gd name="T0" fmla="*/ 69 w 69"/>
                  <a:gd name="T1" fmla="*/ 36 h 69"/>
                  <a:gd name="T2" fmla="*/ 41 w 69"/>
                  <a:gd name="T3" fmla="*/ 41 h 69"/>
                  <a:gd name="T4" fmla="*/ 36 w 69"/>
                  <a:gd name="T5" fmla="*/ 69 h 69"/>
                  <a:gd name="T6" fmla="*/ 29 w 69"/>
                  <a:gd name="T7" fmla="*/ 41 h 69"/>
                  <a:gd name="T8" fmla="*/ 0 w 69"/>
                  <a:gd name="T9" fmla="*/ 36 h 69"/>
                  <a:gd name="T10" fmla="*/ 29 w 69"/>
                  <a:gd name="T11" fmla="*/ 29 h 69"/>
                  <a:gd name="T12" fmla="*/ 36 w 69"/>
                  <a:gd name="T13" fmla="*/ 0 h 69"/>
                  <a:gd name="T14" fmla="*/ 41 w 69"/>
                  <a:gd name="T15" fmla="*/ 29 h 69"/>
                  <a:gd name="T16" fmla="*/ 69 w 69"/>
                  <a:gd name="T17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69">
                    <a:moveTo>
                      <a:pt x="69" y="36"/>
                    </a:moveTo>
                    <a:lnTo>
                      <a:pt x="41" y="41"/>
                    </a:lnTo>
                    <a:lnTo>
                      <a:pt x="36" y="69"/>
                    </a:lnTo>
                    <a:lnTo>
                      <a:pt x="29" y="41"/>
                    </a:lnTo>
                    <a:lnTo>
                      <a:pt x="0" y="36"/>
                    </a:lnTo>
                    <a:lnTo>
                      <a:pt x="29" y="29"/>
                    </a:lnTo>
                    <a:lnTo>
                      <a:pt x="36" y="0"/>
                    </a:lnTo>
                    <a:lnTo>
                      <a:pt x="41" y="29"/>
                    </a:lnTo>
                    <a:lnTo>
                      <a:pt x="69" y="36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151">
                <a:extLst>
                  <a:ext uri="{FF2B5EF4-FFF2-40B4-BE49-F238E27FC236}">
                    <a16:creationId xmlns:a16="http://schemas.microsoft.com/office/drawing/2014/main" id="{D91367D5-F634-4581-A886-9CBE3229B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3309"/>
                <a:ext cx="69" cy="72"/>
              </a:xfrm>
              <a:custGeom>
                <a:avLst/>
                <a:gdLst>
                  <a:gd name="T0" fmla="*/ 69 w 69"/>
                  <a:gd name="T1" fmla="*/ 36 h 72"/>
                  <a:gd name="T2" fmla="*/ 40 w 69"/>
                  <a:gd name="T3" fmla="*/ 41 h 72"/>
                  <a:gd name="T4" fmla="*/ 36 w 69"/>
                  <a:gd name="T5" fmla="*/ 72 h 72"/>
                  <a:gd name="T6" fmla="*/ 29 w 69"/>
                  <a:gd name="T7" fmla="*/ 41 h 72"/>
                  <a:gd name="T8" fmla="*/ 0 w 69"/>
                  <a:gd name="T9" fmla="*/ 36 h 72"/>
                  <a:gd name="T10" fmla="*/ 29 w 69"/>
                  <a:gd name="T11" fmla="*/ 29 h 72"/>
                  <a:gd name="T12" fmla="*/ 36 w 69"/>
                  <a:gd name="T13" fmla="*/ 0 h 72"/>
                  <a:gd name="T14" fmla="*/ 40 w 69"/>
                  <a:gd name="T15" fmla="*/ 29 h 72"/>
                  <a:gd name="T16" fmla="*/ 69 w 69"/>
                  <a:gd name="T17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2">
                    <a:moveTo>
                      <a:pt x="69" y="36"/>
                    </a:moveTo>
                    <a:lnTo>
                      <a:pt x="40" y="41"/>
                    </a:lnTo>
                    <a:lnTo>
                      <a:pt x="36" y="72"/>
                    </a:lnTo>
                    <a:lnTo>
                      <a:pt x="29" y="41"/>
                    </a:lnTo>
                    <a:lnTo>
                      <a:pt x="0" y="36"/>
                    </a:lnTo>
                    <a:lnTo>
                      <a:pt x="29" y="29"/>
                    </a:lnTo>
                    <a:lnTo>
                      <a:pt x="36" y="0"/>
                    </a:lnTo>
                    <a:lnTo>
                      <a:pt x="40" y="29"/>
                    </a:lnTo>
                    <a:lnTo>
                      <a:pt x="69" y="36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152">
                <a:extLst>
                  <a:ext uri="{FF2B5EF4-FFF2-40B4-BE49-F238E27FC236}">
                    <a16:creationId xmlns:a16="http://schemas.microsoft.com/office/drawing/2014/main" id="{1F606D76-31D2-4840-8A21-E2A613441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3" y="3414"/>
                <a:ext cx="69" cy="71"/>
              </a:xfrm>
              <a:custGeom>
                <a:avLst/>
                <a:gdLst>
                  <a:gd name="T0" fmla="*/ 69 w 69"/>
                  <a:gd name="T1" fmla="*/ 35 h 71"/>
                  <a:gd name="T2" fmla="*/ 40 w 69"/>
                  <a:gd name="T3" fmla="*/ 43 h 71"/>
                  <a:gd name="T4" fmla="*/ 33 w 69"/>
                  <a:gd name="T5" fmla="*/ 71 h 71"/>
                  <a:gd name="T6" fmla="*/ 29 w 69"/>
                  <a:gd name="T7" fmla="*/ 43 h 71"/>
                  <a:gd name="T8" fmla="*/ 0 w 69"/>
                  <a:gd name="T9" fmla="*/ 35 h 71"/>
                  <a:gd name="T10" fmla="*/ 29 w 69"/>
                  <a:gd name="T11" fmla="*/ 28 h 71"/>
                  <a:gd name="T12" fmla="*/ 33 w 69"/>
                  <a:gd name="T13" fmla="*/ 0 h 71"/>
                  <a:gd name="T14" fmla="*/ 40 w 69"/>
                  <a:gd name="T15" fmla="*/ 28 h 71"/>
                  <a:gd name="T16" fmla="*/ 69 w 69"/>
                  <a:gd name="T17" fmla="*/ 3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1">
                    <a:moveTo>
                      <a:pt x="69" y="35"/>
                    </a:moveTo>
                    <a:lnTo>
                      <a:pt x="40" y="43"/>
                    </a:lnTo>
                    <a:lnTo>
                      <a:pt x="33" y="71"/>
                    </a:lnTo>
                    <a:lnTo>
                      <a:pt x="29" y="43"/>
                    </a:lnTo>
                    <a:lnTo>
                      <a:pt x="0" y="35"/>
                    </a:lnTo>
                    <a:lnTo>
                      <a:pt x="29" y="28"/>
                    </a:lnTo>
                    <a:lnTo>
                      <a:pt x="33" y="0"/>
                    </a:lnTo>
                    <a:lnTo>
                      <a:pt x="40" y="28"/>
                    </a:lnTo>
                    <a:lnTo>
                      <a:pt x="69" y="35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153">
                <a:extLst>
                  <a:ext uri="{FF2B5EF4-FFF2-40B4-BE49-F238E27FC236}">
                    <a16:creationId xmlns:a16="http://schemas.microsoft.com/office/drawing/2014/main" id="{ADAF78EF-530C-4AC1-B82A-118903A7FB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" y="3390"/>
                <a:ext cx="71" cy="71"/>
              </a:xfrm>
              <a:custGeom>
                <a:avLst/>
                <a:gdLst>
                  <a:gd name="T0" fmla="*/ 71 w 71"/>
                  <a:gd name="T1" fmla="*/ 36 h 71"/>
                  <a:gd name="T2" fmla="*/ 42 w 71"/>
                  <a:gd name="T3" fmla="*/ 40 h 71"/>
                  <a:gd name="T4" fmla="*/ 35 w 71"/>
                  <a:gd name="T5" fmla="*/ 71 h 71"/>
                  <a:gd name="T6" fmla="*/ 28 w 71"/>
                  <a:gd name="T7" fmla="*/ 40 h 71"/>
                  <a:gd name="T8" fmla="*/ 0 w 71"/>
                  <a:gd name="T9" fmla="*/ 36 h 71"/>
                  <a:gd name="T10" fmla="*/ 28 w 71"/>
                  <a:gd name="T11" fmla="*/ 29 h 71"/>
                  <a:gd name="T12" fmla="*/ 35 w 71"/>
                  <a:gd name="T13" fmla="*/ 0 h 71"/>
                  <a:gd name="T14" fmla="*/ 42 w 71"/>
                  <a:gd name="T15" fmla="*/ 29 h 71"/>
                  <a:gd name="T16" fmla="*/ 71 w 71"/>
                  <a:gd name="T17" fmla="*/ 3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71">
                    <a:moveTo>
                      <a:pt x="71" y="36"/>
                    </a:moveTo>
                    <a:lnTo>
                      <a:pt x="42" y="40"/>
                    </a:lnTo>
                    <a:lnTo>
                      <a:pt x="35" y="71"/>
                    </a:lnTo>
                    <a:lnTo>
                      <a:pt x="28" y="40"/>
                    </a:lnTo>
                    <a:lnTo>
                      <a:pt x="0" y="36"/>
                    </a:lnTo>
                    <a:lnTo>
                      <a:pt x="28" y="29"/>
                    </a:lnTo>
                    <a:lnTo>
                      <a:pt x="35" y="0"/>
                    </a:lnTo>
                    <a:lnTo>
                      <a:pt x="42" y="29"/>
                    </a:lnTo>
                    <a:lnTo>
                      <a:pt x="71" y="36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154">
                <a:extLst>
                  <a:ext uri="{FF2B5EF4-FFF2-40B4-BE49-F238E27FC236}">
                    <a16:creationId xmlns:a16="http://schemas.microsoft.com/office/drawing/2014/main" id="{6A364237-D4F9-4E8E-8F65-ECEAFEB2A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8" y="2609"/>
                <a:ext cx="69" cy="69"/>
              </a:xfrm>
              <a:custGeom>
                <a:avLst/>
                <a:gdLst>
                  <a:gd name="T0" fmla="*/ 69 w 69"/>
                  <a:gd name="T1" fmla="*/ 35 h 69"/>
                  <a:gd name="T2" fmla="*/ 41 w 69"/>
                  <a:gd name="T3" fmla="*/ 40 h 69"/>
                  <a:gd name="T4" fmla="*/ 36 w 69"/>
                  <a:gd name="T5" fmla="*/ 69 h 69"/>
                  <a:gd name="T6" fmla="*/ 29 w 69"/>
                  <a:gd name="T7" fmla="*/ 40 h 69"/>
                  <a:gd name="T8" fmla="*/ 0 w 69"/>
                  <a:gd name="T9" fmla="*/ 35 h 69"/>
                  <a:gd name="T10" fmla="*/ 29 w 69"/>
                  <a:gd name="T11" fmla="*/ 28 h 69"/>
                  <a:gd name="T12" fmla="*/ 36 w 69"/>
                  <a:gd name="T13" fmla="*/ 0 h 69"/>
                  <a:gd name="T14" fmla="*/ 41 w 69"/>
                  <a:gd name="T15" fmla="*/ 28 h 69"/>
                  <a:gd name="T16" fmla="*/ 69 w 69"/>
                  <a:gd name="T17" fmla="*/ 3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69">
                    <a:moveTo>
                      <a:pt x="69" y="35"/>
                    </a:moveTo>
                    <a:lnTo>
                      <a:pt x="41" y="40"/>
                    </a:lnTo>
                    <a:lnTo>
                      <a:pt x="36" y="69"/>
                    </a:lnTo>
                    <a:lnTo>
                      <a:pt x="29" y="40"/>
                    </a:lnTo>
                    <a:lnTo>
                      <a:pt x="0" y="35"/>
                    </a:lnTo>
                    <a:lnTo>
                      <a:pt x="29" y="28"/>
                    </a:lnTo>
                    <a:lnTo>
                      <a:pt x="36" y="0"/>
                    </a:lnTo>
                    <a:lnTo>
                      <a:pt x="41" y="28"/>
                    </a:lnTo>
                    <a:lnTo>
                      <a:pt x="69" y="35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155">
                <a:extLst>
                  <a:ext uri="{FF2B5EF4-FFF2-40B4-BE49-F238E27FC236}">
                    <a16:creationId xmlns:a16="http://schemas.microsoft.com/office/drawing/2014/main" id="{89C6E091-6661-4387-AC89-4882D0220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4" y="3409"/>
                <a:ext cx="21" cy="17"/>
              </a:xfrm>
              <a:custGeom>
                <a:avLst/>
                <a:gdLst>
                  <a:gd name="T0" fmla="*/ 5 w 9"/>
                  <a:gd name="T1" fmla="*/ 0 h 7"/>
                  <a:gd name="T2" fmla="*/ 5 w 9"/>
                  <a:gd name="T3" fmla="*/ 7 h 7"/>
                  <a:gd name="T4" fmla="*/ 5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0" y="0"/>
                      <a:pt x="0" y="7"/>
                      <a:pt x="5" y="7"/>
                    </a:cubicBezTo>
                    <a:cubicBezTo>
                      <a:pt x="9" y="7"/>
                      <a:pt x="9" y="0"/>
                      <a:pt x="5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56">
                <a:extLst>
                  <a:ext uri="{FF2B5EF4-FFF2-40B4-BE49-F238E27FC236}">
                    <a16:creationId xmlns:a16="http://schemas.microsoft.com/office/drawing/2014/main" id="{9C64FB57-3A0E-43F0-B135-CD262CF1A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8" y="2540"/>
                <a:ext cx="19" cy="17"/>
              </a:xfrm>
              <a:custGeom>
                <a:avLst/>
                <a:gdLst>
                  <a:gd name="T0" fmla="*/ 4 w 8"/>
                  <a:gd name="T1" fmla="*/ 0 h 7"/>
                  <a:gd name="T2" fmla="*/ 4 w 8"/>
                  <a:gd name="T3" fmla="*/ 7 h 7"/>
                  <a:gd name="T4" fmla="*/ 4 w 8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0" y="0"/>
                      <a:pt x="0" y="7"/>
                      <a:pt x="4" y="7"/>
                    </a:cubicBezTo>
                    <a:cubicBezTo>
                      <a:pt x="8" y="7"/>
                      <a:pt x="8" y="0"/>
                      <a:pt x="4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57">
                <a:extLst>
                  <a:ext uri="{FF2B5EF4-FFF2-40B4-BE49-F238E27FC236}">
                    <a16:creationId xmlns:a16="http://schemas.microsoft.com/office/drawing/2014/main" id="{909927DE-A2AD-4CEE-A039-1E6FFF56A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" y="3449"/>
                <a:ext cx="21" cy="17"/>
              </a:xfrm>
              <a:custGeom>
                <a:avLst/>
                <a:gdLst>
                  <a:gd name="T0" fmla="*/ 4 w 9"/>
                  <a:gd name="T1" fmla="*/ 0 h 7"/>
                  <a:gd name="T2" fmla="*/ 4 w 9"/>
                  <a:gd name="T3" fmla="*/ 7 h 7"/>
                  <a:gd name="T4" fmla="*/ 4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4" y="0"/>
                    </a:moveTo>
                    <a:cubicBezTo>
                      <a:pt x="0" y="0"/>
                      <a:pt x="0" y="7"/>
                      <a:pt x="4" y="7"/>
                    </a:cubicBezTo>
                    <a:cubicBezTo>
                      <a:pt x="9" y="7"/>
                      <a:pt x="9" y="0"/>
                      <a:pt x="4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58">
                <a:extLst>
                  <a:ext uri="{FF2B5EF4-FFF2-40B4-BE49-F238E27FC236}">
                    <a16:creationId xmlns:a16="http://schemas.microsoft.com/office/drawing/2014/main" id="{B057B0B5-C618-4B1D-8B5B-75EFD2FDF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3338"/>
                <a:ext cx="19" cy="16"/>
              </a:xfrm>
              <a:custGeom>
                <a:avLst/>
                <a:gdLst>
                  <a:gd name="T0" fmla="*/ 4 w 8"/>
                  <a:gd name="T1" fmla="*/ 0 h 7"/>
                  <a:gd name="T2" fmla="*/ 4 w 8"/>
                  <a:gd name="T3" fmla="*/ 7 h 7"/>
                  <a:gd name="T4" fmla="*/ 4 w 8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0" y="0"/>
                      <a:pt x="0" y="7"/>
                      <a:pt x="4" y="7"/>
                    </a:cubicBezTo>
                    <a:cubicBezTo>
                      <a:pt x="8" y="7"/>
                      <a:pt x="8" y="0"/>
                      <a:pt x="4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59">
                <a:extLst>
                  <a:ext uri="{FF2B5EF4-FFF2-40B4-BE49-F238E27FC236}">
                    <a16:creationId xmlns:a16="http://schemas.microsoft.com/office/drawing/2014/main" id="{4769A523-7E2F-4566-8E8C-5E7BDF3D7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2" y="3262"/>
                <a:ext cx="14" cy="12"/>
              </a:xfrm>
              <a:custGeom>
                <a:avLst/>
                <a:gdLst>
                  <a:gd name="T0" fmla="*/ 3 w 6"/>
                  <a:gd name="T1" fmla="*/ 0 h 5"/>
                  <a:gd name="T2" fmla="*/ 3 w 6"/>
                  <a:gd name="T3" fmla="*/ 5 h 5"/>
                  <a:gd name="T4" fmla="*/ 3 w 6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cubicBezTo>
                      <a:pt x="0" y="0"/>
                      <a:pt x="0" y="5"/>
                      <a:pt x="3" y="5"/>
                    </a:cubicBezTo>
                    <a:cubicBezTo>
                      <a:pt x="6" y="5"/>
                      <a:pt x="6" y="0"/>
                      <a:pt x="3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160">
                <a:extLst>
                  <a:ext uri="{FF2B5EF4-FFF2-40B4-BE49-F238E27FC236}">
                    <a16:creationId xmlns:a16="http://schemas.microsoft.com/office/drawing/2014/main" id="{FF83D2EE-6328-4747-901D-6F2536A9C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3" y="3174"/>
                <a:ext cx="14" cy="12"/>
              </a:xfrm>
              <a:custGeom>
                <a:avLst/>
                <a:gdLst>
                  <a:gd name="T0" fmla="*/ 3 w 6"/>
                  <a:gd name="T1" fmla="*/ 0 h 5"/>
                  <a:gd name="T2" fmla="*/ 3 w 6"/>
                  <a:gd name="T3" fmla="*/ 5 h 5"/>
                  <a:gd name="T4" fmla="*/ 3 w 6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cubicBezTo>
                      <a:pt x="0" y="0"/>
                      <a:pt x="0" y="5"/>
                      <a:pt x="3" y="5"/>
                    </a:cubicBezTo>
                    <a:cubicBezTo>
                      <a:pt x="6" y="5"/>
                      <a:pt x="6" y="0"/>
                      <a:pt x="3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161">
                <a:extLst>
                  <a:ext uri="{FF2B5EF4-FFF2-40B4-BE49-F238E27FC236}">
                    <a16:creationId xmlns:a16="http://schemas.microsoft.com/office/drawing/2014/main" id="{EF863575-DC1C-40E8-AD88-3C9E770E9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6" y="3060"/>
                <a:ext cx="17" cy="12"/>
              </a:xfrm>
              <a:custGeom>
                <a:avLst/>
                <a:gdLst>
                  <a:gd name="T0" fmla="*/ 3 w 7"/>
                  <a:gd name="T1" fmla="*/ 0 h 5"/>
                  <a:gd name="T2" fmla="*/ 3 w 7"/>
                  <a:gd name="T3" fmla="*/ 5 h 5"/>
                  <a:gd name="T4" fmla="*/ 3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3" y="0"/>
                    </a:moveTo>
                    <a:cubicBezTo>
                      <a:pt x="0" y="0"/>
                      <a:pt x="0" y="5"/>
                      <a:pt x="3" y="5"/>
                    </a:cubicBezTo>
                    <a:cubicBezTo>
                      <a:pt x="7" y="5"/>
                      <a:pt x="7" y="0"/>
                      <a:pt x="3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162">
                <a:extLst>
                  <a:ext uri="{FF2B5EF4-FFF2-40B4-BE49-F238E27FC236}">
                    <a16:creationId xmlns:a16="http://schemas.microsoft.com/office/drawing/2014/main" id="{BC1CA11B-6207-45BC-9EE6-4740EBE71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4" y="3084"/>
                <a:ext cx="40" cy="33"/>
              </a:xfrm>
              <a:custGeom>
                <a:avLst/>
                <a:gdLst>
                  <a:gd name="T0" fmla="*/ 9 w 17"/>
                  <a:gd name="T1" fmla="*/ 0 h 14"/>
                  <a:gd name="T2" fmla="*/ 9 w 17"/>
                  <a:gd name="T3" fmla="*/ 14 h 14"/>
                  <a:gd name="T4" fmla="*/ 9 w 17"/>
                  <a:gd name="T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4">
                    <a:moveTo>
                      <a:pt x="9" y="0"/>
                    </a:moveTo>
                    <a:cubicBezTo>
                      <a:pt x="0" y="0"/>
                      <a:pt x="0" y="14"/>
                      <a:pt x="9" y="14"/>
                    </a:cubicBezTo>
                    <a:cubicBezTo>
                      <a:pt x="17" y="14"/>
                      <a:pt x="17" y="0"/>
                      <a:pt x="9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163">
                <a:extLst>
                  <a:ext uri="{FF2B5EF4-FFF2-40B4-BE49-F238E27FC236}">
                    <a16:creationId xmlns:a16="http://schemas.microsoft.com/office/drawing/2014/main" id="{EE2F3173-EBDD-4746-8402-B7EE9ECF4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8" y="3008"/>
                <a:ext cx="40" cy="31"/>
              </a:xfrm>
              <a:custGeom>
                <a:avLst/>
                <a:gdLst>
                  <a:gd name="T0" fmla="*/ 9 w 17"/>
                  <a:gd name="T1" fmla="*/ 0 h 13"/>
                  <a:gd name="T2" fmla="*/ 9 w 17"/>
                  <a:gd name="T3" fmla="*/ 13 h 13"/>
                  <a:gd name="T4" fmla="*/ 9 w 17"/>
                  <a:gd name="T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3">
                    <a:moveTo>
                      <a:pt x="9" y="0"/>
                    </a:moveTo>
                    <a:cubicBezTo>
                      <a:pt x="0" y="0"/>
                      <a:pt x="0" y="13"/>
                      <a:pt x="9" y="13"/>
                    </a:cubicBezTo>
                    <a:cubicBezTo>
                      <a:pt x="17" y="13"/>
                      <a:pt x="17" y="0"/>
                      <a:pt x="9" y="0"/>
                    </a:cubicBez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164">
                <a:extLst>
                  <a:ext uri="{FF2B5EF4-FFF2-40B4-BE49-F238E27FC236}">
                    <a16:creationId xmlns:a16="http://schemas.microsoft.com/office/drawing/2014/main" id="{1BFC8327-3DE3-49C9-9FB5-6AAD5A175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1186"/>
                <a:ext cx="396" cy="1045"/>
              </a:xfrm>
              <a:custGeom>
                <a:avLst/>
                <a:gdLst>
                  <a:gd name="T0" fmla="*/ 138 w 167"/>
                  <a:gd name="T1" fmla="*/ 0 h 440"/>
                  <a:gd name="T2" fmla="*/ 7 w 167"/>
                  <a:gd name="T3" fmla="*/ 193 h 440"/>
                  <a:gd name="T4" fmla="*/ 99 w 167"/>
                  <a:gd name="T5" fmla="*/ 432 h 440"/>
                  <a:gd name="T6" fmla="*/ 116 w 167"/>
                  <a:gd name="T7" fmla="*/ 253 h 440"/>
                  <a:gd name="T8" fmla="*/ 167 w 167"/>
                  <a:gd name="T9" fmla="*/ 193 h 440"/>
                  <a:gd name="T10" fmla="*/ 138 w 167"/>
                  <a:gd name="T11" fmla="*/ 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440">
                    <a:moveTo>
                      <a:pt x="138" y="0"/>
                    </a:moveTo>
                    <a:cubicBezTo>
                      <a:pt x="135" y="0"/>
                      <a:pt x="14" y="56"/>
                      <a:pt x="7" y="193"/>
                    </a:cubicBezTo>
                    <a:cubicBezTo>
                      <a:pt x="0" y="320"/>
                      <a:pt x="88" y="440"/>
                      <a:pt x="99" y="432"/>
                    </a:cubicBezTo>
                    <a:cubicBezTo>
                      <a:pt x="113" y="422"/>
                      <a:pt x="89" y="343"/>
                      <a:pt x="116" y="253"/>
                    </a:cubicBezTo>
                    <a:cubicBezTo>
                      <a:pt x="125" y="221"/>
                      <a:pt x="167" y="193"/>
                      <a:pt x="167" y="193"/>
                    </a:cubicBezTo>
                    <a:cubicBezTo>
                      <a:pt x="138" y="0"/>
                      <a:pt x="138" y="0"/>
                      <a:pt x="138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165">
                <a:extLst>
                  <a:ext uri="{FF2B5EF4-FFF2-40B4-BE49-F238E27FC236}">
                    <a16:creationId xmlns:a16="http://schemas.microsoft.com/office/drawing/2014/main" id="{EB1251C9-674B-40C2-9189-638E11B6D2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50" y="1203"/>
                <a:ext cx="133" cy="104"/>
              </a:xfrm>
              <a:custGeom>
                <a:avLst/>
                <a:gdLst>
                  <a:gd name="T0" fmla="*/ 1 w 56"/>
                  <a:gd name="T1" fmla="*/ 44 h 44"/>
                  <a:gd name="T2" fmla="*/ 0 w 56"/>
                  <a:gd name="T3" fmla="*/ 44 h 44"/>
                  <a:gd name="T4" fmla="*/ 1 w 56"/>
                  <a:gd name="T5" fmla="*/ 44 h 44"/>
                  <a:gd name="T6" fmla="*/ 56 w 56"/>
                  <a:gd name="T7" fmla="*/ 0 h 44"/>
                  <a:gd name="T8" fmla="*/ 1 w 56"/>
                  <a:gd name="T9" fmla="*/ 44 h 44"/>
                  <a:gd name="T10" fmla="*/ 56 w 56"/>
                  <a:gd name="T11" fmla="*/ 0 h 44"/>
                  <a:gd name="T12" fmla="*/ 56 w 56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44">
                    <a:moveTo>
                      <a:pt x="1" y="44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4"/>
                      <a:pt x="1" y="44"/>
                    </a:cubicBezTo>
                    <a:moveTo>
                      <a:pt x="56" y="0"/>
                    </a:moveTo>
                    <a:cubicBezTo>
                      <a:pt x="43" y="8"/>
                      <a:pt x="21" y="22"/>
                      <a:pt x="1" y="44"/>
                    </a:cubicBezTo>
                    <a:cubicBezTo>
                      <a:pt x="21" y="22"/>
                      <a:pt x="43" y="8"/>
                      <a:pt x="56" y="0"/>
                    </a:cubicBezTo>
                    <a:cubicBezTo>
                      <a:pt x="56" y="0"/>
                      <a:pt x="56" y="0"/>
                      <a:pt x="56" y="0"/>
                    </a:cubicBezTo>
                  </a:path>
                </a:pathLst>
              </a:custGeom>
              <a:solidFill>
                <a:srgbClr val="222D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166">
                <a:extLst>
                  <a:ext uri="{FF2B5EF4-FFF2-40B4-BE49-F238E27FC236}">
                    <a16:creationId xmlns:a16="http://schemas.microsoft.com/office/drawing/2014/main" id="{FB0AB916-1670-4B50-9975-D9F00A251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7" y="1695"/>
                <a:ext cx="19" cy="21"/>
              </a:xfrm>
              <a:custGeom>
                <a:avLst/>
                <a:gdLst>
                  <a:gd name="T0" fmla="*/ 8 w 8"/>
                  <a:gd name="T1" fmla="*/ 0 h 9"/>
                  <a:gd name="T2" fmla="*/ 0 w 8"/>
                  <a:gd name="T3" fmla="*/ 9 h 9"/>
                  <a:gd name="T4" fmla="*/ 0 w 8"/>
                  <a:gd name="T5" fmla="*/ 9 h 9"/>
                  <a:gd name="T6" fmla="*/ 8 w 8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8" y="0"/>
                    </a:moveTo>
                    <a:cubicBezTo>
                      <a:pt x="5" y="3"/>
                      <a:pt x="3" y="6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6"/>
                      <a:pt x="5" y="3"/>
                      <a:pt x="8" y="0"/>
                    </a:cubicBezTo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167">
                <a:extLst>
                  <a:ext uri="{FF2B5EF4-FFF2-40B4-BE49-F238E27FC236}">
                    <a16:creationId xmlns:a16="http://schemas.microsoft.com/office/drawing/2014/main" id="{4445DF15-6BA3-41B9-8501-6F33FC515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1203"/>
                <a:ext cx="223" cy="513"/>
              </a:xfrm>
              <a:custGeom>
                <a:avLst/>
                <a:gdLst>
                  <a:gd name="T0" fmla="*/ 63 w 94"/>
                  <a:gd name="T1" fmla="*/ 0 h 216"/>
                  <a:gd name="T2" fmla="*/ 8 w 94"/>
                  <a:gd name="T3" fmla="*/ 44 h 216"/>
                  <a:gd name="T4" fmla="*/ 8 w 94"/>
                  <a:gd name="T5" fmla="*/ 44 h 216"/>
                  <a:gd name="T6" fmla="*/ 7 w 94"/>
                  <a:gd name="T7" fmla="*/ 44 h 216"/>
                  <a:gd name="T8" fmla="*/ 0 w 94"/>
                  <a:gd name="T9" fmla="*/ 52 h 216"/>
                  <a:gd name="T10" fmla="*/ 73 w 94"/>
                  <a:gd name="T11" fmla="*/ 216 h 216"/>
                  <a:gd name="T12" fmla="*/ 81 w 94"/>
                  <a:gd name="T13" fmla="*/ 207 h 216"/>
                  <a:gd name="T14" fmla="*/ 94 w 94"/>
                  <a:gd name="T15" fmla="*/ 196 h 216"/>
                  <a:gd name="T16" fmla="*/ 63 w 94"/>
                  <a:gd name="T17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216">
                    <a:moveTo>
                      <a:pt x="63" y="0"/>
                    </a:moveTo>
                    <a:cubicBezTo>
                      <a:pt x="50" y="8"/>
                      <a:pt x="28" y="22"/>
                      <a:pt x="8" y="44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5" y="47"/>
                      <a:pt x="2" y="49"/>
                      <a:pt x="0" y="52"/>
                    </a:cubicBezTo>
                    <a:cubicBezTo>
                      <a:pt x="22" y="101"/>
                      <a:pt x="55" y="176"/>
                      <a:pt x="73" y="216"/>
                    </a:cubicBezTo>
                    <a:cubicBezTo>
                      <a:pt x="76" y="213"/>
                      <a:pt x="78" y="210"/>
                      <a:pt x="81" y="207"/>
                    </a:cubicBezTo>
                    <a:cubicBezTo>
                      <a:pt x="86" y="203"/>
                      <a:pt x="90" y="199"/>
                      <a:pt x="94" y="196"/>
                    </a:cubicBezTo>
                    <a:cubicBezTo>
                      <a:pt x="77" y="142"/>
                      <a:pt x="63" y="74"/>
                      <a:pt x="63" y="0"/>
                    </a:cubicBezTo>
                  </a:path>
                </a:pathLst>
              </a:custGeom>
              <a:solidFill>
                <a:srgbClr val="F60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168">
                <a:extLst>
                  <a:ext uri="{FF2B5EF4-FFF2-40B4-BE49-F238E27FC236}">
                    <a16:creationId xmlns:a16="http://schemas.microsoft.com/office/drawing/2014/main" id="{6F4D33DE-9985-4935-8F19-329EB833A3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6" y="1189"/>
                <a:ext cx="396" cy="1042"/>
              </a:xfrm>
              <a:custGeom>
                <a:avLst/>
                <a:gdLst>
                  <a:gd name="T0" fmla="*/ 30 w 167"/>
                  <a:gd name="T1" fmla="*/ 0 h 439"/>
                  <a:gd name="T2" fmla="*/ 160 w 167"/>
                  <a:gd name="T3" fmla="*/ 193 h 439"/>
                  <a:gd name="T4" fmla="*/ 68 w 167"/>
                  <a:gd name="T5" fmla="*/ 431 h 439"/>
                  <a:gd name="T6" fmla="*/ 51 w 167"/>
                  <a:gd name="T7" fmla="*/ 252 h 439"/>
                  <a:gd name="T8" fmla="*/ 0 w 167"/>
                  <a:gd name="T9" fmla="*/ 192 h 439"/>
                  <a:gd name="T10" fmla="*/ 30 w 167"/>
                  <a:gd name="T11" fmla="*/ 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439">
                    <a:moveTo>
                      <a:pt x="30" y="0"/>
                    </a:moveTo>
                    <a:cubicBezTo>
                      <a:pt x="33" y="0"/>
                      <a:pt x="154" y="55"/>
                      <a:pt x="160" y="193"/>
                    </a:cubicBezTo>
                    <a:cubicBezTo>
                      <a:pt x="167" y="319"/>
                      <a:pt x="79" y="439"/>
                      <a:pt x="68" y="431"/>
                    </a:cubicBezTo>
                    <a:cubicBezTo>
                      <a:pt x="54" y="421"/>
                      <a:pt x="78" y="343"/>
                      <a:pt x="51" y="252"/>
                    </a:cubicBezTo>
                    <a:cubicBezTo>
                      <a:pt x="42" y="221"/>
                      <a:pt x="0" y="192"/>
                      <a:pt x="0" y="192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169">
                <a:extLst>
                  <a:ext uri="{FF2B5EF4-FFF2-40B4-BE49-F238E27FC236}">
                    <a16:creationId xmlns:a16="http://schemas.microsoft.com/office/drawing/2014/main" id="{074E41AE-7864-40FA-8778-1F22A585A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1" y="1205"/>
                <a:ext cx="149" cy="124"/>
              </a:xfrm>
              <a:custGeom>
                <a:avLst/>
                <a:gdLst>
                  <a:gd name="T0" fmla="*/ 0 w 63"/>
                  <a:gd name="T1" fmla="*/ 0 h 52"/>
                  <a:gd name="T2" fmla="*/ 0 w 63"/>
                  <a:gd name="T3" fmla="*/ 0 h 52"/>
                  <a:gd name="T4" fmla="*/ 63 w 63"/>
                  <a:gd name="T5" fmla="*/ 52 h 52"/>
                  <a:gd name="T6" fmla="*/ 63 w 63"/>
                  <a:gd name="T7" fmla="*/ 52 h 52"/>
                  <a:gd name="T8" fmla="*/ 0 w 63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5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5" y="8"/>
                      <a:pt x="40" y="25"/>
                      <a:pt x="63" y="52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40" y="25"/>
                      <a:pt x="15" y="8"/>
                      <a:pt x="0" y="0"/>
                    </a:cubicBezTo>
                  </a:path>
                </a:pathLst>
              </a:custGeom>
              <a:solidFill>
                <a:srgbClr val="222D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170">
                <a:extLst>
                  <a:ext uri="{FF2B5EF4-FFF2-40B4-BE49-F238E27FC236}">
                    <a16:creationId xmlns:a16="http://schemas.microsoft.com/office/drawing/2014/main" id="{A6248A9B-07DA-4D37-B8BA-718E45D25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7" y="1205"/>
                <a:ext cx="223" cy="513"/>
              </a:xfrm>
              <a:custGeom>
                <a:avLst/>
                <a:gdLst>
                  <a:gd name="T0" fmla="*/ 31 w 94"/>
                  <a:gd name="T1" fmla="*/ 0 h 216"/>
                  <a:gd name="T2" fmla="*/ 0 w 94"/>
                  <a:gd name="T3" fmla="*/ 195 h 216"/>
                  <a:gd name="T4" fmla="*/ 21 w 94"/>
                  <a:gd name="T5" fmla="*/ 216 h 216"/>
                  <a:gd name="T6" fmla="*/ 94 w 94"/>
                  <a:gd name="T7" fmla="*/ 52 h 216"/>
                  <a:gd name="T8" fmla="*/ 31 w 94"/>
                  <a:gd name="T9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216">
                    <a:moveTo>
                      <a:pt x="31" y="0"/>
                    </a:moveTo>
                    <a:cubicBezTo>
                      <a:pt x="31" y="74"/>
                      <a:pt x="17" y="142"/>
                      <a:pt x="0" y="195"/>
                    </a:cubicBezTo>
                    <a:cubicBezTo>
                      <a:pt x="6" y="201"/>
                      <a:pt x="14" y="208"/>
                      <a:pt x="21" y="216"/>
                    </a:cubicBezTo>
                    <a:cubicBezTo>
                      <a:pt x="39" y="176"/>
                      <a:pt x="72" y="101"/>
                      <a:pt x="94" y="52"/>
                    </a:cubicBezTo>
                    <a:cubicBezTo>
                      <a:pt x="71" y="25"/>
                      <a:pt x="46" y="8"/>
                      <a:pt x="31" y="0"/>
                    </a:cubicBezTo>
                  </a:path>
                </a:pathLst>
              </a:custGeom>
              <a:solidFill>
                <a:srgbClr val="F60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171">
                <a:extLst>
                  <a:ext uri="{FF2B5EF4-FFF2-40B4-BE49-F238E27FC236}">
                    <a16:creationId xmlns:a16="http://schemas.microsoft.com/office/drawing/2014/main" id="{E0E59282-B986-4450-89A1-A5DB10E96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" y="94"/>
                <a:ext cx="840" cy="1843"/>
              </a:xfrm>
              <a:custGeom>
                <a:avLst/>
                <a:gdLst>
                  <a:gd name="T0" fmla="*/ 268 w 354"/>
                  <a:gd name="T1" fmla="*/ 776 h 776"/>
                  <a:gd name="T2" fmla="*/ 86 w 354"/>
                  <a:gd name="T3" fmla="*/ 776 h 776"/>
                  <a:gd name="T4" fmla="*/ 10 w 354"/>
                  <a:gd name="T5" fmla="*/ 439 h 776"/>
                  <a:gd name="T6" fmla="*/ 68 w 354"/>
                  <a:gd name="T7" fmla="*/ 180 h 776"/>
                  <a:gd name="T8" fmla="*/ 178 w 354"/>
                  <a:gd name="T9" fmla="*/ 0 h 776"/>
                  <a:gd name="T10" fmla="*/ 287 w 354"/>
                  <a:gd name="T11" fmla="*/ 180 h 776"/>
                  <a:gd name="T12" fmla="*/ 344 w 354"/>
                  <a:gd name="T13" fmla="*/ 440 h 776"/>
                  <a:gd name="T14" fmla="*/ 268 w 354"/>
                  <a:gd name="T15" fmla="*/ 776 h 7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4" h="776">
                    <a:moveTo>
                      <a:pt x="268" y="776"/>
                    </a:moveTo>
                    <a:cubicBezTo>
                      <a:pt x="86" y="776"/>
                      <a:pt x="86" y="776"/>
                      <a:pt x="86" y="776"/>
                    </a:cubicBezTo>
                    <a:cubicBezTo>
                      <a:pt x="86" y="776"/>
                      <a:pt x="0" y="623"/>
                      <a:pt x="10" y="439"/>
                    </a:cubicBezTo>
                    <a:cubicBezTo>
                      <a:pt x="15" y="348"/>
                      <a:pt x="39" y="256"/>
                      <a:pt x="68" y="180"/>
                    </a:cubicBezTo>
                    <a:cubicBezTo>
                      <a:pt x="107" y="75"/>
                      <a:pt x="156" y="0"/>
                      <a:pt x="178" y="0"/>
                    </a:cubicBezTo>
                    <a:cubicBezTo>
                      <a:pt x="199" y="0"/>
                      <a:pt x="248" y="75"/>
                      <a:pt x="287" y="180"/>
                    </a:cubicBezTo>
                    <a:cubicBezTo>
                      <a:pt x="316" y="256"/>
                      <a:pt x="339" y="348"/>
                      <a:pt x="344" y="440"/>
                    </a:cubicBezTo>
                    <a:cubicBezTo>
                      <a:pt x="354" y="623"/>
                      <a:pt x="268" y="776"/>
                      <a:pt x="268" y="776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Oval 172">
                <a:extLst>
                  <a:ext uri="{FF2B5EF4-FFF2-40B4-BE49-F238E27FC236}">
                    <a16:creationId xmlns:a16="http://schemas.microsoft.com/office/drawing/2014/main" id="{F4E9F8F9-46B7-4C01-BEA6-F8D04BA8F5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2" y="833"/>
                <a:ext cx="499" cy="498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173">
                <a:extLst>
                  <a:ext uri="{FF2B5EF4-FFF2-40B4-BE49-F238E27FC236}">
                    <a16:creationId xmlns:a16="http://schemas.microsoft.com/office/drawing/2014/main" id="{2247F9A1-2281-473E-BEE2-7D1E5DFC6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3" y="806"/>
                <a:ext cx="500" cy="499"/>
              </a:xfrm>
              <a:custGeom>
                <a:avLst/>
                <a:gdLst>
                  <a:gd name="T0" fmla="*/ 211 w 211"/>
                  <a:gd name="T1" fmla="*/ 105 h 210"/>
                  <a:gd name="T2" fmla="*/ 105 w 211"/>
                  <a:gd name="T3" fmla="*/ 210 h 210"/>
                  <a:gd name="T4" fmla="*/ 0 w 211"/>
                  <a:gd name="T5" fmla="*/ 105 h 210"/>
                  <a:gd name="T6" fmla="*/ 106 w 211"/>
                  <a:gd name="T7" fmla="*/ 0 h 210"/>
                  <a:gd name="T8" fmla="*/ 211 w 211"/>
                  <a:gd name="T9" fmla="*/ 105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1" h="210">
                    <a:moveTo>
                      <a:pt x="211" y="105"/>
                    </a:moveTo>
                    <a:cubicBezTo>
                      <a:pt x="211" y="163"/>
                      <a:pt x="163" y="210"/>
                      <a:pt x="105" y="210"/>
                    </a:cubicBezTo>
                    <a:cubicBezTo>
                      <a:pt x="47" y="210"/>
                      <a:pt x="0" y="163"/>
                      <a:pt x="0" y="105"/>
                    </a:cubicBezTo>
                    <a:cubicBezTo>
                      <a:pt x="0" y="47"/>
                      <a:pt x="48" y="0"/>
                      <a:pt x="106" y="0"/>
                    </a:cubicBezTo>
                    <a:cubicBezTo>
                      <a:pt x="164" y="0"/>
                      <a:pt x="211" y="47"/>
                      <a:pt x="211" y="105"/>
                    </a:cubicBez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Oval 174">
                <a:extLst>
                  <a:ext uri="{FF2B5EF4-FFF2-40B4-BE49-F238E27FC236}">
                    <a16:creationId xmlns:a16="http://schemas.microsoft.com/office/drawing/2014/main" id="{0A73AF74-2390-437F-968E-CCAC9AB2BD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1" y="882"/>
                <a:ext cx="344" cy="34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175">
                <a:extLst>
                  <a:ext uri="{FF2B5EF4-FFF2-40B4-BE49-F238E27FC236}">
                    <a16:creationId xmlns:a16="http://schemas.microsoft.com/office/drawing/2014/main" id="{AAB34D3E-68EB-4D86-B2BC-E23A1F43F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7" y="1011"/>
                <a:ext cx="218" cy="218"/>
              </a:xfrm>
              <a:custGeom>
                <a:avLst/>
                <a:gdLst>
                  <a:gd name="T0" fmla="*/ 92 w 92"/>
                  <a:gd name="T1" fmla="*/ 19 h 92"/>
                  <a:gd name="T2" fmla="*/ 87 w 92"/>
                  <a:gd name="T3" fmla="*/ 46 h 92"/>
                  <a:gd name="T4" fmla="*/ 46 w 92"/>
                  <a:gd name="T5" fmla="*/ 87 h 92"/>
                  <a:gd name="T6" fmla="*/ 20 w 92"/>
                  <a:gd name="T7" fmla="*/ 92 h 92"/>
                  <a:gd name="T8" fmla="*/ 0 w 92"/>
                  <a:gd name="T9" fmla="*/ 89 h 92"/>
                  <a:gd name="T10" fmla="*/ 90 w 92"/>
                  <a:gd name="T11" fmla="*/ 0 h 92"/>
                  <a:gd name="T12" fmla="*/ 92 w 92"/>
                  <a:gd name="T13" fmla="*/ 1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92">
                    <a:moveTo>
                      <a:pt x="92" y="19"/>
                    </a:moveTo>
                    <a:cubicBezTo>
                      <a:pt x="92" y="28"/>
                      <a:pt x="91" y="37"/>
                      <a:pt x="87" y="46"/>
                    </a:cubicBezTo>
                    <a:cubicBezTo>
                      <a:pt x="46" y="87"/>
                      <a:pt x="46" y="87"/>
                      <a:pt x="46" y="87"/>
                    </a:cubicBezTo>
                    <a:cubicBezTo>
                      <a:pt x="38" y="90"/>
                      <a:pt x="29" y="92"/>
                      <a:pt x="20" y="92"/>
                    </a:cubicBezTo>
                    <a:cubicBezTo>
                      <a:pt x="13" y="92"/>
                      <a:pt x="6" y="91"/>
                      <a:pt x="0" y="89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1" y="6"/>
                      <a:pt x="92" y="12"/>
                      <a:pt x="92" y="19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176">
                <a:extLst>
                  <a:ext uri="{FF2B5EF4-FFF2-40B4-BE49-F238E27FC236}">
                    <a16:creationId xmlns:a16="http://schemas.microsoft.com/office/drawing/2014/main" id="{13E6542B-1E55-4FB9-9C92-A130A2769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1" y="882"/>
                <a:ext cx="197" cy="200"/>
              </a:xfrm>
              <a:custGeom>
                <a:avLst/>
                <a:gdLst>
                  <a:gd name="T0" fmla="*/ 83 w 83"/>
                  <a:gd name="T1" fmla="*/ 1 h 84"/>
                  <a:gd name="T2" fmla="*/ 0 w 83"/>
                  <a:gd name="T3" fmla="*/ 84 h 84"/>
                  <a:gd name="T4" fmla="*/ 0 w 83"/>
                  <a:gd name="T5" fmla="*/ 73 h 84"/>
                  <a:gd name="T6" fmla="*/ 73 w 83"/>
                  <a:gd name="T7" fmla="*/ 0 h 84"/>
                  <a:gd name="T8" fmla="*/ 83 w 83"/>
                  <a:gd name="T9" fmla="*/ 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4">
                    <a:moveTo>
                      <a:pt x="83" y="1"/>
                    </a:moveTo>
                    <a:cubicBezTo>
                      <a:pt x="0" y="84"/>
                      <a:pt x="0" y="84"/>
                      <a:pt x="0" y="84"/>
                    </a:cubicBezTo>
                    <a:cubicBezTo>
                      <a:pt x="0" y="80"/>
                      <a:pt x="0" y="77"/>
                      <a:pt x="0" y="73"/>
                    </a:cubicBezTo>
                    <a:cubicBezTo>
                      <a:pt x="0" y="33"/>
                      <a:pt x="32" y="0"/>
                      <a:pt x="73" y="0"/>
                    </a:cubicBezTo>
                    <a:cubicBezTo>
                      <a:pt x="76" y="0"/>
                      <a:pt x="80" y="1"/>
                      <a:pt x="83" y="1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177">
                <a:extLst>
                  <a:ext uri="{FF2B5EF4-FFF2-40B4-BE49-F238E27FC236}">
                    <a16:creationId xmlns:a16="http://schemas.microsoft.com/office/drawing/2014/main" id="{7A75D72E-2525-406C-A5FD-DDC252774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" y="958"/>
                <a:ext cx="247" cy="250"/>
              </a:xfrm>
              <a:custGeom>
                <a:avLst/>
                <a:gdLst>
                  <a:gd name="T0" fmla="*/ 104 w 104"/>
                  <a:gd name="T1" fmla="*/ 6 h 105"/>
                  <a:gd name="T2" fmla="*/ 5 w 104"/>
                  <a:gd name="T3" fmla="*/ 105 h 105"/>
                  <a:gd name="T4" fmla="*/ 0 w 104"/>
                  <a:gd name="T5" fmla="*/ 102 h 105"/>
                  <a:gd name="T6" fmla="*/ 101 w 104"/>
                  <a:gd name="T7" fmla="*/ 0 h 105"/>
                  <a:gd name="T8" fmla="*/ 104 w 104"/>
                  <a:gd name="T9" fmla="*/ 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05">
                    <a:moveTo>
                      <a:pt x="104" y="6"/>
                    </a:moveTo>
                    <a:cubicBezTo>
                      <a:pt x="5" y="105"/>
                      <a:pt x="5" y="105"/>
                      <a:pt x="5" y="105"/>
                    </a:cubicBezTo>
                    <a:cubicBezTo>
                      <a:pt x="3" y="104"/>
                      <a:pt x="1" y="103"/>
                      <a:pt x="0" y="102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2" y="2"/>
                      <a:pt x="103" y="4"/>
                      <a:pt x="104" y="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178">
                <a:extLst>
                  <a:ext uri="{FF2B5EF4-FFF2-40B4-BE49-F238E27FC236}">
                    <a16:creationId xmlns:a16="http://schemas.microsoft.com/office/drawing/2014/main" id="{6BEEC0E0-91D1-45BD-9054-01D7F2EA5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3" y="94"/>
                <a:ext cx="520" cy="427"/>
              </a:xfrm>
              <a:custGeom>
                <a:avLst/>
                <a:gdLst>
                  <a:gd name="T0" fmla="*/ 219 w 219"/>
                  <a:gd name="T1" fmla="*/ 180 h 180"/>
                  <a:gd name="T2" fmla="*/ 0 w 219"/>
                  <a:gd name="T3" fmla="*/ 180 h 180"/>
                  <a:gd name="T4" fmla="*/ 110 w 219"/>
                  <a:gd name="T5" fmla="*/ 0 h 180"/>
                  <a:gd name="T6" fmla="*/ 219 w 219"/>
                  <a:gd name="T7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9" h="180">
                    <a:moveTo>
                      <a:pt x="219" y="180"/>
                    </a:moveTo>
                    <a:cubicBezTo>
                      <a:pt x="0" y="180"/>
                      <a:pt x="0" y="180"/>
                      <a:pt x="0" y="180"/>
                    </a:cubicBezTo>
                    <a:cubicBezTo>
                      <a:pt x="39" y="75"/>
                      <a:pt x="88" y="0"/>
                      <a:pt x="110" y="0"/>
                    </a:cubicBezTo>
                    <a:cubicBezTo>
                      <a:pt x="131" y="0"/>
                      <a:pt x="180" y="75"/>
                      <a:pt x="219" y="180"/>
                    </a:cubicBez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Oval 179">
                <a:extLst>
                  <a:ext uri="{FF2B5EF4-FFF2-40B4-BE49-F238E27FC236}">
                    <a16:creationId xmlns:a16="http://schemas.microsoft.com/office/drawing/2014/main" id="{7F03794D-1AD3-4A7E-84CC-355444D5ED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" y="453"/>
                <a:ext cx="30" cy="2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Oval 180">
                <a:extLst>
                  <a:ext uri="{FF2B5EF4-FFF2-40B4-BE49-F238E27FC236}">
                    <a16:creationId xmlns:a16="http://schemas.microsoft.com/office/drawing/2014/main" id="{E5F1A8FB-4228-4A31-B1B6-EAABA77BA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453"/>
                <a:ext cx="31" cy="2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Oval 181">
                <a:extLst>
                  <a:ext uri="{FF2B5EF4-FFF2-40B4-BE49-F238E27FC236}">
                    <a16:creationId xmlns:a16="http://schemas.microsoft.com/office/drawing/2014/main" id="{1A466254-E8E8-4A20-B5CE-CD9C77421F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8" y="453"/>
                <a:ext cx="31" cy="2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Oval 182">
                <a:extLst>
                  <a:ext uri="{FF2B5EF4-FFF2-40B4-BE49-F238E27FC236}">
                    <a16:creationId xmlns:a16="http://schemas.microsoft.com/office/drawing/2014/main" id="{965CF359-27A4-4F89-A1A1-DFCA4DBD8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0" y="453"/>
                <a:ext cx="31" cy="2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Oval 183">
                <a:extLst>
                  <a:ext uri="{FF2B5EF4-FFF2-40B4-BE49-F238E27FC236}">
                    <a16:creationId xmlns:a16="http://schemas.microsoft.com/office/drawing/2014/main" id="{AC1942CE-7273-4EE9-A3D0-F1BCCE50DD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3" y="453"/>
                <a:ext cx="31" cy="3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184">
                <a:extLst>
                  <a:ext uri="{FF2B5EF4-FFF2-40B4-BE49-F238E27FC236}">
                    <a16:creationId xmlns:a16="http://schemas.microsoft.com/office/drawing/2014/main" id="{DF53681B-E001-4B4B-B7DB-F1D9B8BE31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" y="1856"/>
                <a:ext cx="28" cy="29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185">
                <a:extLst>
                  <a:ext uri="{FF2B5EF4-FFF2-40B4-BE49-F238E27FC236}">
                    <a16:creationId xmlns:a16="http://schemas.microsoft.com/office/drawing/2014/main" id="{F456EB91-E9FB-49A3-A5D3-3E8E937DE9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1856"/>
                <a:ext cx="29" cy="29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186">
                <a:extLst>
                  <a:ext uri="{FF2B5EF4-FFF2-40B4-BE49-F238E27FC236}">
                    <a16:creationId xmlns:a16="http://schemas.microsoft.com/office/drawing/2014/main" id="{880757D5-71FF-4C6D-B272-87FAAC9DEA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" y="1856"/>
                <a:ext cx="28" cy="29"/>
              </a:xfrm>
              <a:custGeom>
                <a:avLst/>
                <a:gdLst>
                  <a:gd name="T0" fmla="*/ 12 w 12"/>
                  <a:gd name="T1" fmla="*/ 6 h 12"/>
                  <a:gd name="T2" fmla="*/ 6 w 12"/>
                  <a:gd name="T3" fmla="*/ 12 h 12"/>
                  <a:gd name="T4" fmla="*/ 0 w 12"/>
                  <a:gd name="T5" fmla="*/ 6 h 12"/>
                  <a:gd name="T6" fmla="*/ 6 w 12"/>
                  <a:gd name="T7" fmla="*/ 0 h 12"/>
                  <a:gd name="T8" fmla="*/ 12 w 12"/>
                  <a:gd name="T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12" y="6"/>
                    </a:moveTo>
                    <a:cubicBezTo>
                      <a:pt x="12" y="10"/>
                      <a:pt x="10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lose/>
                  </a:path>
                </a:pathLst>
              </a:cu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187">
                <a:extLst>
                  <a:ext uri="{FF2B5EF4-FFF2-40B4-BE49-F238E27FC236}">
                    <a16:creationId xmlns:a16="http://schemas.microsoft.com/office/drawing/2014/main" id="{554B4DE9-7B85-4798-B518-CF3BF2EA7F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0" y="1856"/>
                <a:ext cx="29" cy="29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188">
                <a:extLst>
                  <a:ext uri="{FF2B5EF4-FFF2-40B4-BE49-F238E27FC236}">
                    <a16:creationId xmlns:a16="http://schemas.microsoft.com/office/drawing/2014/main" id="{168DF066-C74C-4023-AFDF-A00D54DE68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3" y="1856"/>
                <a:ext cx="28" cy="29"/>
              </a:xfrm>
              <a:prstGeom prst="ellipse">
                <a:avLst/>
              </a:prstGeom>
              <a:solidFill>
                <a:srgbClr val="C7C7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189">
                <a:extLst>
                  <a:ext uri="{FF2B5EF4-FFF2-40B4-BE49-F238E27FC236}">
                    <a16:creationId xmlns:a16="http://schemas.microsoft.com/office/drawing/2014/main" id="{4006B679-9414-4ECD-8C51-1C6F5346D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0" y="1937"/>
                <a:ext cx="384" cy="130"/>
              </a:xfrm>
              <a:custGeom>
                <a:avLst/>
                <a:gdLst>
                  <a:gd name="T0" fmla="*/ 368 w 384"/>
                  <a:gd name="T1" fmla="*/ 130 h 130"/>
                  <a:gd name="T2" fmla="*/ 16 w 384"/>
                  <a:gd name="T3" fmla="*/ 130 h 130"/>
                  <a:gd name="T4" fmla="*/ 0 w 384"/>
                  <a:gd name="T5" fmla="*/ 0 h 130"/>
                  <a:gd name="T6" fmla="*/ 384 w 384"/>
                  <a:gd name="T7" fmla="*/ 0 h 130"/>
                  <a:gd name="T8" fmla="*/ 368 w 384"/>
                  <a:gd name="T9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4" h="130">
                    <a:moveTo>
                      <a:pt x="368" y="130"/>
                    </a:moveTo>
                    <a:lnTo>
                      <a:pt x="16" y="130"/>
                    </a:lnTo>
                    <a:lnTo>
                      <a:pt x="0" y="0"/>
                    </a:lnTo>
                    <a:lnTo>
                      <a:pt x="384" y="0"/>
                    </a:lnTo>
                    <a:lnTo>
                      <a:pt x="368" y="130"/>
                    </a:lnTo>
                    <a:close/>
                  </a:path>
                </a:pathLst>
              </a:custGeom>
              <a:solidFill>
                <a:srgbClr val="FF4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190">
                <a:extLst>
                  <a:ext uri="{FF2B5EF4-FFF2-40B4-BE49-F238E27FC236}">
                    <a16:creationId xmlns:a16="http://schemas.microsoft.com/office/drawing/2014/main" id="{5B309319-EF25-4166-BD10-ACD09F669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0" y="1937"/>
                <a:ext cx="384" cy="130"/>
              </a:xfrm>
              <a:custGeom>
                <a:avLst/>
                <a:gdLst>
                  <a:gd name="T0" fmla="*/ 368 w 384"/>
                  <a:gd name="T1" fmla="*/ 130 h 130"/>
                  <a:gd name="T2" fmla="*/ 16 w 384"/>
                  <a:gd name="T3" fmla="*/ 130 h 130"/>
                  <a:gd name="T4" fmla="*/ 0 w 384"/>
                  <a:gd name="T5" fmla="*/ 0 h 130"/>
                  <a:gd name="T6" fmla="*/ 384 w 384"/>
                  <a:gd name="T7" fmla="*/ 0 h 130"/>
                  <a:gd name="T8" fmla="*/ 368 w 384"/>
                  <a:gd name="T9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4" h="130">
                    <a:moveTo>
                      <a:pt x="368" y="130"/>
                    </a:moveTo>
                    <a:lnTo>
                      <a:pt x="16" y="130"/>
                    </a:lnTo>
                    <a:lnTo>
                      <a:pt x="0" y="0"/>
                    </a:lnTo>
                    <a:lnTo>
                      <a:pt x="384" y="0"/>
                    </a:lnTo>
                    <a:lnTo>
                      <a:pt x="368" y="13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191">
                <a:extLst>
                  <a:ext uri="{FF2B5EF4-FFF2-40B4-BE49-F238E27FC236}">
                    <a16:creationId xmlns:a16="http://schemas.microsoft.com/office/drawing/2014/main" id="{C233D888-65C1-417E-B0DD-DA3156AB48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0" y="1937"/>
                <a:ext cx="384" cy="64"/>
              </a:xfrm>
              <a:prstGeom prst="rect">
                <a:avLst/>
              </a:prstGeom>
              <a:solidFill>
                <a:srgbClr val="F60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192">
                <a:extLst>
                  <a:ext uri="{FF2B5EF4-FFF2-40B4-BE49-F238E27FC236}">
                    <a16:creationId xmlns:a16="http://schemas.microsoft.com/office/drawing/2014/main" id="{F5FCCB82-32B4-45C9-B5D3-B1513BFAA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3423"/>
                <a:ext cx="712" cy="587"/>
              </a:xfrm>
              <a:custGeom>
                <a:avLst/>
                <a:gdLst>
                  <a:gd name="T0" fmla="*/ 292 w 300"/>
                  <a:gd name="T1" fmla="*/ 244 h 247"/>
                  <a:gd name="T2" fmla="*/ 28 w 300"/>
                  <a:gd name="T3" fmla="*/ 242 h 247"/>
                  <a:gd name="T4" fmla="*/ 21 w 300"/>
                  <a:gd name="T5" fmla="*/ 160 h 247"/>
                  <a:gd name="T6" fmla="*/ 20 w 300"/>
                  <a:gd name="T7" fmla="*/ 132 h 247"/>
                  <a:gd name="T8" fmla="*/ 0 w 300"/>
                  <a:gd name="T9" fmla="*/ 1 h 247"/>
                  <a:gd name="T10" fmla="*/ 165 w 300"/>
                  <a:gd name="T11" fmla="*/ 0 h 247"/>
                  <a:gd name="T12" fmla="*/ 180 w 300"/>
                  <a:gd name="T13" fmla="*/ 131 h 247"/>
                  <a:gd name="T14" fmla="*/ 179 w 300"/>
                  <a:gd name="T15" fmla="*/ 159 h 247"/>
                  <a:gd name="T16" fmla="*/ 283 w 300"/>
                  <a:gd name="T17" fmla="*/ 209 h 247"/>
                  <a:gd name="T18" fmla="*/ 292 w 300"/>
                  <a:gd name="T19" fmla="*/ 244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0" h="247">
                    <a:moveTo>
                      <a:pt x="292" y="244"/>
                    </a:moveTo>
                    <a:cubicBezTo>
                      <a:pt x="283" y="247"/>
                      <a:pt x="38" y="247"/>
                      <a:pt x="28" y="242"/>
                    </a:cubicBezTo>
                    <a:cubicBezTo>
                      <a:pt x="25" y="239"/>
                      <a:pt x="23" y="204"/>
                      <a:pt x="21" y="160"/>
                    </a:cubicBezTo>
                    <a:cubicBezTo>
                      <a:pt x="21" y="151"/>
                      <a:pt x="21" y="141"/>
                      <a:pt x="20" y="13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80" y="131"/>
                      <a:pt x="180" y="131"/>
                      <a:pt x="180" y="131"/>
                    </a:cubicBezTo>
                    <a:cubicBezTo>
                      <a:pt x="179" y="159"/>
                      <a:pt x="179" y="159"/>
                      <a:pt x="179" y="159"/>
                    </a:cubicBezTo>
                    <a:cubicBezTo>
                      <a:pt x="179" y="159"/>
                      <a:pt x="274" y="201"/>
                      <a:pt x="283" y="209"/>
                    </a:cubicBezTo>
                    <a:cubicBezTo>
                      <a:pt x="293" y="216"/>
                      <a:pt x="300" y="241"/>
                      <a:pt x="292" y="244"/>
                    </a:cubicBezTo>
                    <a:close/>
                  </a:path>
                </a:pathLst>
              </a:custGeom>
              <a:solidFill>
                <a:srgbClr val="D376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193">
                <a:extLst>
                  <a:ext uri="{FF2B5EF4-FFF2-40B4-BE49-F238E27FC236}">
                    <a16:creationId xmlns:a16="http://schemas.microsoft.com/office/drawing/2014/main" id="{215D293E-2DDF-4E66-A677-61E179C98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1" y="3734"/>
                <a:ext cx="665" cy="276"/>
              </a:xfrm>
              <a:custGeom>
                <a:avLst/>
                <a:gdLst>
                  <a:gd name="T0" fmla="*/ 272 w 280"/>
                  <a:gd name="T1" fmla="*/ 113 h 116"/>
                  <a:gd name="T2" fmla="*/ 8 w 280"/>
                  <a:gd name="T3" fmla="*/ 111 h 116"/>
                  <a:gd name="T4" fmla="*/ 0 w 280"/>
                  <a:gd name="T5" fmla="*/ 1 h 116"/>
                  <a:gd name="T6" fmla="*/ 160 w 280"/>
                  <a:gd name="T7" fmla="*/ 0 h 116"/>
                  <a:gd name="T8" fmla="*/ 159 w 280"/>
                  <a:gd name="T9" fmla="*/ 28 h 116"/>
                  <a:gd name="T10" fmla="*/ 263 w 280"/>
                  <a:gd name="T11" fmla="*/ 78 h 116"/>
                  <a:gd name="T12" fmla="*/ 272 w 280"/>
                  <a:gd name="T13" fmla="*/ 11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0" h="116">
                    <a:moveTo>
                      <a:pt x="272" y="113"/>
                    </a:moveTo>
                    <a:cubicBezTo>
                      <a:pt x="263" y="116"/>
                      <a:pt x="18" y="116"/>
                      <a:pt x="8" y="111"/>
                    </a:cubicBezTo>
                    <a:cubicBezTo>
                      <a:pt x="4" y="108"/>
                      <a:pt x="2" y="56"/>
                      <a:pt x="0" y="1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59" y="28"/>
                      <a:pt x="159" y="28"/>
                      <a:pt x="159" y="28"/>
                    </a:cubicBezTo>
                    <a:cubicBezTo>
                      <a:pt x="159" y="28"/>
                      <a:pt x="254" y="70"/>
                      <a:pt x="263" y="78"/>
                    </a:cubicBezTo>
                    <a:cubicBezTo>
                      <a:pt x="273" y="85"/>
                      <a:pt x="280" y="110"/>
                      <a:pt x="272" y="1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194">
                <a:extLst>
                  <a:ext uri="{FF2B5EF4-FFF2-40B4-BE49-F238E27FC236}">
                    <a16:creationId xmlns:a16="http://schemas.microsoft.com/office/drawing/2014/main" id="{9E608459-B3E1-4451-B174-4C0201D90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3801"/>
                <a:ext cx="662" cy="209"/>
              </a:xfrm>
              <a:custGeom>
                <a:avLst/>
                <a:gdLst>
                  <a:gd name="T0" fmla="*/ 271 w 279"/>
                  <a:gd name="T1" fmla="*/ 85 h 88"/>
                  <a:gd name="T2" fmla="*/ 7 w 279"/>
                  <a:gd name="T3" fmla="*/ 83 h 88"/>
                  <a:gd name="T4" fmla="*/ 0 w 279"/>
                  <a:gd name="T5" fmla="*/ 1 h 88"/>
                  <a:gd name="T6" fmla="*/ 158 w 279"/>
                  <a:gd name="T7" fmla="*/ 0 h 88"/>
                  <a:gd name="T8" fmla="*/ 262 w 279"/>
                  <a:gd name="T9" fmla="*/ 50 h 88"/>
                  <a:gd name="T10" fmla="*/ 271 w 279"/>
                  <a:gd name="T11" fmla="*/ 8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9" h="88">
                    <a:moveTo>
                      <a:pt x="271" y="85"/>
                    </a:moveTo>
                    <a:cubicBezTo>
                      <a:pt x="262" y="88"/>
                      <a:pt x="17" y="88"/>
                      <a:pt x="7" y="83"/>
                    </a:cubicBezTo>
                    <a:cubicBezTo>
                      <a:pt x="4" y="80"/>
                      <a:pt x="2" y="45"/>
                      <a:pt x="0" y="1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8" y="0"/>
                      <a:pt x="253" y="42"/>
                      <a:pt x="262" y="50"/>
                    </a:cubicBezTo>
                    <a:cubicBezTo>
                      <a:pt x="272" y="57"/>
                      <a:pt x="279" y="82"/>
                      <a:pt x="271" y="85"/>
                    </a:cubicBezTo>
                    <a:close/>
                  </a:path>
                </a:pathLst>
              </a:cu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195">
                <a:extLst>
                  <a:ext uri="{FF2B5EF4-FFF2-40B4-BE49-F238E27FC236}">
                    <a16:creationId xmlns:a16="http://schemas.microsoft.com/office/drawing/2014/main" id="{CA2FE82A-8EF3-4270-927F-99A1E16E5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977"/>
                <a:ext cx="591" cy="12"/>
              </a:xfrm>
              <a:custGeom>
                <a:avLst/>
                <a:gdLst>
                  <a:gd name="T0" fmla="*/ 248 w 249"/>
                  <a:gd name="T1" fmla="*/ 1 h 5"/>
                  <a:gd name="T2" fmla="*/ 0 w 249"/>
                  <a:gd name="T3" fmla="*/ 3 h 5"/>
                  <a:gd name="T4" fmla="*/ 0 w 249"/>
                  <a:gd name="T5" fmla="*/ 3 h 5"/>
                  <a:gd name="T6" fmla="*/ 248 w 249"/>
                  <a:gd name="T7" fmla="*/ 2 h 5"/>
                  <a:gd name="T8" fmla="*/ 248 w 249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5">
                    <a:moveTo>
                      <a:pt x="248" y="1"/>
                    </a:moveTo>
                    <a:cubicBezTo>
                      <a:pt x="207" y="0"/>
                      <a:pt x="41" y="0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1" y="5"/>
                      <a:pt x="207" y="3"/>
                      <a:pt x="248" y="2"/>
                    </a:cubicBezTo>
                    <a:cubicBezTo>
                      <a:pt x="249" y="2"/>
                      <a:pt x="249" y="1"/>
                      <a:pt x="248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196">
                <a:extLst>
                  <a:ext uri="{FF2B5EF4-FFF2-40B4-BE49-F238E27FC236}">
                    <a16:creationId xmlns:a16="http://schemas.microsoft.com/office/drawing/2014/main" id="{60690B32-FA8C-4F93-B7F1-7B7EFC650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7" y="3810"/>
                <a:ext cx="114" cy="50"/>
              </a:xfrm>
              <a:custGeom>
                <a:avLst/>
                <a:gdLst>
                  <a:gd name="T0" fmla="*/ 46 w 48"/>
                  <a:gd name="T1" fmla="*/ 0 h 21"/>
                  <a:gd name="T2" fmla="*/ 1 w 48"/>
                  <a:gd name="T3" fmla="*/ 20 h 21"/>
                  <a:gd name="T4" fmla="*/ 1 w 48"/>
                  <a:gd name="T5" fmla="*/ 20 h 21"/>
                  <a:gd name="T6" fmla="*/ 47 w 48"/>
                  <a:gd name="T7" fmla="*/ 2 h 21"/>
                  <a:gd name="T8" fmla="*/ 46 w 4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21">
                    <a:moveTo>
                      <a:pt x="46" y="0"/>
                    </a:moveTo>
                    <a:cubicBezTo>
                      <a:pt x="30" y="0"/>
                      <a:pt x="11" y="6"/>
                      <a:pt x="1" y="20"/>
                    </a:cubicBezTo>
                    <a:cubicBezTo>
                      <a:pt x="0" y="20"/>
                      <a:pt x="1" y="21"/>
                      <a:pt x="1" y="20"/>
                    </a:cubicBezTo>
                    <a:cubicBezTo>
                      <a:pt x="16" y="13"/>
                      <a:pt x="30" y="7"/>
                      <a:pt x="47" y="2"/>
                    </a:cubicBezTo>
                    <a:cubicBezTo>
                      <a:pt x="48" y="2"/>
                      <a:pt x="48" y="0"/>
                      <a:pt x="4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197">
                <a:extLst>
                  <a:ext uri="{FF2B5EF4-FFF2-40B4-BE49-F238E27FC236}">
                    <a16:creationId xmlns:a16="http://schemas.microsoft.com/office/drawing/2014/main" id="{625AEE69-6D44-41AE-AE75-1908FFA64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" y="3822"/>
                <a:ext cx="114" cy="50"/>
              </a:xfrm>
              <a:custGeom>
                <a:avLst/>
                <a:gdLst>
                  <a:gd name="T0" fmla="*/ 46 w 48"/>
                  <a:gd name="T1" fmla="*/ 0 h 21"/>
                  <a:gd name="T2" fmla="*/ 0 w 48"/>
                  <a:gd name="T3" fmla="*/ 20 h 21"/>
                  <a:gd name="T4" fmla="*/ 1 w 48"/>
                  <a:gd name="T5" fmla="*/ 20 h 21"/>
                  <a:gd name="T6" fmla="*/ 46 w 48"/>
                  <a:gd name="T7" fmla="*/ 2 h 21"/>
                  <a:gd name="T8" fmla="*/ 46 w 4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21">
                    <a:moveTo>
                      <a:pt x="46" y="0"/>
                    </a:moveTo>
                    <a:cubicBezTo>
                      <a:pt x="30" y="0"/>
                      <a:pt x="11" y="6"/>
                      <a:pt x="0" y="20"/>
                    </a:cubicBezTo>
                    <a:cubicBezTo>
                      <a:pt x="0" y="20"/>
                      <a:pt x="1" y="21"/>
                      <a:pt x="1" y="20"/>
                    </a:cubicBezTo>
                    <a:cubicBezTo>
                      <a:pt x="16" y="13"/>
                      <a:pt x="30" y="7"/>
                      <a:pt x="46" y="2"/>
                    </a:cubicBezTo>
                    <a:cubicBezTo>
                      <a:pt x="48" y="2"/>
                      <a:pt x="47" y="0"/>
                      <a:pt x="4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198">
                <a:extLst>
                  <a:ext uri="{FF2B5EF4-FFF2-40B4-BE49-F238E27FC236}">
                    <a16:creationId xmlns:a16="http://schemas.microsoft.com/office/drawing/2014/main" id="{79373B05-E417-4B5A-9B0E-A0A3E6284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3834"/>
                <a:ext cx="112" cy="50"/>
              </a:xfrm>
              <a:custGeom>
                <a:avLst/>
                <a:gdLst>
                  <a:gd name="T0" fmla="*/ 46 w 47"/>
                  <a:gd name="T1" fmla="*/ 0 h 21"/>
                  <a:gd name="T2" fmla="*/ 0 w 47"/>
                  <a:gd name="T3" fmla="*/ 19 h 21"/>
                  <a:gd name="T4" fmla="*/ 1 w 47"/>
                  <a:gd name="T5" fmla="*/ 20 h 21"/>
                  <a:gd name="T6" fmla="*/ 46 w 47"/>
                  <a:gd name="T7" fmla="*/ 2 h 21"/>
                  <a:gd name="T8" fmla="*/ 46 w 47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1">
                    <a:moveTo>
                      <a:pt x="46" y="0"/>
                    </a:moveTo>
                    <a:cubicBezTo>
                      <a:pt x="29" y="0"/>
                      <a:pt x="10" y="6"/>
                      <a:pt x="0" y="19"/>
                    </a:cubicBezTo>
                    <a:cubicBezTo>
                      <a:pt x="0" y="20"/>
                      <a:pt x="0" y="21"/>
                      <a:pt x="1" y="20"/>
                    </a:cubicBezTo>
                    <a:cubicBezTo>
                      <a:pt x="16" y="13"/>
                      <a:pt x="30" y="7"/>
                      <a:pt x="46" y="2"/>
                    </a:cubicBezTo>
                    <a:cubicBezTo>
                      <a:pt x="47" y="2"/>
                      <a:pt x="47" y="0"/>
                      <a:pt x="4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199">
                <a:extLst>
                  <a:ext uri="{FF2B5EF4-FFF2-40B4-BE49-F238E27FC236}">
                    <a16:creationId xmlns:a16="http://schemas.microsoft.com/office/drawing/2014/main" id="{C8CA5B8D-F1FB-4901-AF5F-D2C5C4D5E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9" y="2053"/>
                <a:ext cx="1068" cy="1741"/>
              </a:xfrm>
              <a:custGeom>
                <a:avLst/>
                <a:gdLst>
                  <a:gd name="T0" fmla="*/ 0 w 450"/>
                  <a:gd name="T1" fmla="*/ 0 h 733"/>
                  <a:gd name="T2" fmla="*/ 220 w 450"/>
                  <a:gd name="T3" fmla="*/ 347 h 733"/>
                  <a:gd name="T4" fmla="*/ 270 w 450"/>
                  <a:gd name="T5" fmla="*/ 733 h 733"/>
                  <a:gd name="T6" fmla="*/ 450 w 450"/>
                  <a:gd name="T7" fmla="*/ 729 h 733"/>
                  <a:gd name="T8" fmla="*/ 377 w 450"/>
                  <a:gd name="T9" fmla="*/ 319 h 733"/>
                  <a:gd name="T10" fmla="*/ 185 w 450"/>
                  <a:gd name="T11" fmla="*/ 7 h 733"/>
                  <a:gd name="T12" fmla="*/ 0 w 450"/>
                  <a:gd name="T13" fmla="*/ 0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733">
                    <a:moveTo>
                      <a:pt x="0" y="0"/>
                    </a:moveTo>
                    <a:cubicBezTo>
                      <a:pt x="0" y="0"/>
                      <a:pt x="215" y="324"/>
                      <a:pt x="220" y="347"/>
                    </a:cubicBezTo>
                    <a:cubicBezTo>
                      <a:pt x="228" y="382"/>
                      <a:pt x="270" y="733"/>
                      <a:pt x="270" y="733"/>
                    </a:cubicBezTo>
                    <a:cubicBezTo>
                      <a:pt x="450" y="729"/>
                      <a:pt x="450" y="729"/>
                      <a:pt x="450" y="729"/>
                    </a:cubicBezTo>
                    <a:cubicBezTo>
                      <a:pt x="450" y="729"/>
                      <a:pt x="409" y="419"/>
                      <a:pt x="377" y="319"/>
                    </a:cubicBezTo>
                    <a:cubicBezTo>
                      <a:pt x="353" y="247"/>
                      <a:pt x="185" y="7"/>
                      <a:pt x="185" y="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747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200">
                <a:extLst>
                  <a:ext uri="{FF2B5EF4-FFF2-40B4-BE49-F238E27FC236}">
                    <a16:creationId xmlns:a16="http://schemas.microsoft.com/office/drawing/2014/main" id="{FCD1514E-DEE6-47AC-934B-6FE61A103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3708"/>
                <a:ext cx="399" cy="15"/>
              </a:xfrm>
              <a:custGeom>
                <a:avLst/>
                <a:gdLst>
                  <a:gd name="T0" fmla="*/ 167 w 168"/>
                  <a:gd name="T1" fmla="*/ 1 h 6"/>
                  <a:gd name="T2" fmla="*/ 0 w 168"/>
                  <a:gd name="T3" fmla="*/ 3 h 6"/>
                  <a:gd name="T4" fmla="*/ 0 w 168"/>
                  <a:gd name="T5" fmla="*/ 4 h 6"/>
                  <a:gd name="T6" fmla="*/ 167 w 168"/>
                  <a:gd name="T7" fmla="*/ 2 h 6"/>
                  <a:gd name="T8" fmla="*/ 167 w 168"/>
                  <a:gd name="T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6">
                    <a:moveTo>
                      <a:pt x="167" y="1"/>
                    </a:moveTo>
                    <a:cubicBezTo>
                      <a:pt x="139" y="1"/>
                      <a:pt x="38" y="0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3" y="6"/>
                      <a:pt x="139" y="3"/>
                      <a:pt x="167" y="2"/>
                    </a:cubicBezTo>
                    <a:cubicBezTo>
                      <a:pt x="168" y="2"/>
                      <a:pt x="168" y="1"/>
                      <a:pt x="16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201">
                <a:extLst>
                  <a:ext uri="{FF2B5EF4-FFF2-40B4-BE49-F238E27FC236}">
                    <a16:creationId xmlns:a16="http://schemas.microsoft.com/office/drawing/2014/main" id="{4EDDA812-DD59-443F-B08A-4C7D3BD8F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" y="3428"/>
                <a:ext cx="640" cy="705"/>
              </a:xfrm>
              <a:custGeom>
                <a:avLst/>
                <a:gdLst>
                  <a:gd name="T0" fmla="*/ 261 w 270"/>
                  <a:gd name="T1" fmla="*/ 296 h 297"/>
                  <a:gd name="T2" fmla="*/ 1 w 270"/>
                  <a:gd name="T3" fmla="*/ 225 h 297"/>
                  <a:gd name="T4" fmla="*/ 1 w 270"/>
                  <a:gd name="T5" fmla="*/ 223 h 297"/>
                  <a:gd name="T6" fmla="*/ 21 w 270"/>
                  <a:gd name="T7" fmla="*/ 147 h 297"/>
                  <a:gd name="T8" fmla="*/ 33 w 270"/>
                  <a:gd name="T9" fmla="*/ 117 h 297"/>
                  <a:gd name="T10" fmla="*/ 82 w 270"/>
                  <a:gd name="T11" fmla="*/ 0 h 297"/>
                  <a:gd name="T12" fmla="*/ 241 w 270"/>
                  <a:gd name="T13" fmla="*/ 41 h 297"/>
                  <a:gd name="T14" fmla="*/ 182 w 270"/>
                  <a:gd name="T15" fmla="*/ 159 h 297"/>
                  <a:gd name="T16" fmla="*/ 174 w 270"/>
                  <a:gd name="T17" fmla="*/ 186 h 297"/>
                  <a:gd name="T18" fmla="*/ 262 w 270"/>
                  <a:gd name="T19" fmla="*/ 260 h 297"/>
                  <a:gd name="T20" fmla="*/ 261 w 270"/>
                  <a:gd name="T21" fmla="*/ 296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0" h="297">
                    <a:moveTo>
                      <a:pt x="261" y="296"/>
                    </a:moveTo>
                    <a:cubicBezTo>
                      <a:pt x="252" y="297"/>
                      <a:pt x="9" y="233"/>
                      <a:pt x="1" y="225"/>
                    </a:cubicBezTo>
                    <a:cubicBezTo>
                      <a:pt x="1" y="225"/>
                      <a:pt x="1" y="224"/>
                      <a:pt x="1" y="223"/>
                    </a:cubicBezTo>
                    <a:cubicBezTo>
                      <a:pt x="0" y="215"/>
                      <a:pt x="12" y="185"/>
                      <a:pt x="21" y="147"/>
                    </a:cubicBezTo>
                    <a:cubicBezTo>
                      <a:pt x="22" y="145"/>
                      <a:pt x="26" y="133"/>
                      <a:pt x="33" y="117"/>
                    </a:cubicBezTo>
                    <a:cubicBezTo>
                      <a:pt x="50" y="74"/>
                      <a:pt x="82" y="0"/>
                      <a:pt x="82" y="0"/>
                    </a:cubicBezTo>
                    <a:cubicBezTo>
                      <a:pt x="241" y="41"/>
                      <a:pt x="241" y="41"/>
                      <a:pt x="241" y="41"/>
                    </a:cubicBezTo>
                    <a:cubicBezTo>
                      <a:pt x="182" y="159"/>
                      <a:pt x="182" y="159"/>
                      <a:pt x="182" y="159"/>
                    </a:cubicBezTo>
                    <a:cubicBezTo>
                      <a:pt x="174" y="186"/>
                      <a:pt x="174" y="186"/>
                      <a:pt x="174" y="186"/>
                    </a:cubicBezTo>
                    <a:cubicBezTo>
                      <a:pt x="174" y="186"/>
                      <a:pt x="255" y="251"/>
                      <a:pt x="262" y="260"/>
                    </a:cubicBezTo>
                    <a:cubicBezTo>
                      <a:pt x="269" y="270"/>
                      <a:pt x="270" y="296"/>
                      <a:pt x="261" y="296"/>
                    </a:cubicBezTo>
                    <a:close/>
                  </a:path>
                </a:pathLst>
              </a:custGeom>
              <a:solidFill>
                <a:srgbClr val="D376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202">
                <a:extLst>
                  <a:ext uri="{FF2B5EF4-FFF2-40B4-BE49-F238E27FC236}">
                    <a16:creationId xmlns:a16="http://schemas.microsoft.com/office/drawing/2014/main" id="{E4BD560D-8C27-4F1F-BC8A-79C4CB688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" y="3706"/>
                <a:ext cx="640" cy="427"/>
              </a:xfrm>
              <a:custGeom>
                <a:avLst/>
                <a:gdLst>
                  <a:gd name="T0" fmla="*/ 261 w 270"/>
                  <a:gd name="T1" fmla="*/ 179 h 180"/>
                  <a:gd name="T2" fmla="*/ 1 w 270"/>
                  <a:gd name="T3" fmla="*/ 108 h 180"/>
                  <a:gd name="T4" fmla="*/ 1 w 270"/>
                  <a:gd name="T5" fmla="*/ 106 h 180"/>
                  <a:gd name="T6" fmla="*/ 21 w 270"/>
                  <a:gd name="T7" fmla="*/ 30 h 180"/>
                  <a:gd name="T8" fmla="*/ 33 w 270"/>
                  <a:gd name="T9" fmla="*/ 0 h 180"/>
                  <a:gd name="T10" fmla="*/ 182 w 270"/>
                  <a:gd name="T11" fmla="*/ 42 h 180"/>
                  <a:gd name="T12" fmla="*/ 174 w 270"/>
                  <a:gd name="T13" fmla="*/ 69 h 180"/>
                  <a:gd name="T14" fmla="*/ 262 w 270"/>
                  <a:gd name="T15" fmla="*/ 143 h 180"/>
                  <a:gd name="T16" fmla="*/ 261 w 270"/>
                  <a:gd name="T17" fmla="*/ 17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0" h="180">
                    <a:moveTo>
                      <a:pt x="261" y="179"/>
                    </a:moveTo>
                    <a:cubicBezTo>
                      <a:pt x="252" y="180"/>
                      <a:pt x="9" y="116"/>
                      <a:pt x="1" y="108"/>
                    </a:cubicBezTo>
                    <a:cubicBezTo>
                      <a:pt x="1" y="108"/>
                      <a:pt x="1" y="107"/>
                      <a:pt x="1" y="106"/>
                    </a:cubicBezTo>
                    <a:cubicBezTo>
                      <a:pt x="0" y="98"/>
                      <a:pt x="12" y="68"/>
                      <a:pt x="21" y="30"/>
                    </a:cubicBezTo>
                    <a:cubicBezTo>
                      <a:pt x="22" y="28"/>
                      <a:pt x="26" y="16"/>
                      <a:pt x="33" y="0"/>
                    </a:cubicBezTo>
                    <a:cubicBezTo>
                      <a:pt x="182" y="42"/>
                      <a:pt x="182" y="42"/>
                      <a:pt x="182" y="42"/>
                    </a:cubicBezTo>
                    <a:cubicBezTo>
                      <a:pt x="174" y="69"/>
                      <a:pt x="174" y="69"/>
                      <a:pt x="174" y="69"/>
                    </a:cubicBezTo>
                    <a:cubicBezTo>
                      <a:pt x="174" y="69"/>
                      <a:pt x="255" y="134"/>
                      <a:pt x="262" y="143"/>
                    </a:cubicBezTo>
                    <a:cubicBezTo>
                      <a:pt x="269" y="153"/>
                      <a:pt x="270" y="179"/>
                      <a:pt x="261" y="17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203">
                <a:extLst>
                  <a:ext uri="{FF2B5EF4-FFF2-40B4-BE49-F238E27FC236}">
                    <a16:creationId xmlns:a16="http://schemas.microsoft.com/office/drawing/2014/main" id="{6061BADC-601A-4373-809F-A3CD98948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" y="3777"/>
                <a:ext cx="645" cy="356"/>
              </a:xfrm>
              <a:custGeom>
                <a:avLst/>
                <a:gdLst>
                  <a:gd name="T0" fmla="*/ 263 w 272"/>
                  <a:gd name="T1" fmla="*/ 149 h 150"/>
                  <a:gd name="T2" fmla="*/ 3 w 272"/>
                  <a:gd name="T3" fmla="*/ 78 h 150"/>
                  <a:gd name="T4" fmla="*/ 23 w 272"/>
                  <a:gd name="T5" fmla="*/ 0 h 150"/>
                  <a:gd name="T6" fmla="*/ 176 w 272"/>
                  <a:gd name="T7" fmla="*/ 39 h 150"/>
                  <a:gd name="T8" fmla="*/ 264 w 272"/>
                  <a:gd name="T9" fmla="*/ 113 h 150"/>
                  <a:gd name="T10" fmla="*/ 263 w 272"/>
                  <a:gd name="T11" fmla="*/ 14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2" h="150">
                    <a:moveTo>
                      <a:pt x="263" y="149"/>
                    </a:moveTo>
                    <a:cubicBezTo>
                      <a:pt x="254" y="150"/>
                      <a:pt x="11" y="86"/>
                      <a:pt x="3" y="78"/>
                    </a:cubicBezTo>
                    <a:cubicBezTo>
                      <a:pt x="0" y="75"/>
                      <a:pt x="7" y="42"/>
                      <a:pt x="23" y="0"/>
                    </a:cubicBezTo>
                    <a:cubicBezTo>
                      <a:pt x="176" y="39"/>
                      <a:pt x="176" y="39"/>
                      <a:pt x="176" y="39"/>
                    </a:cubicBezTo>
                    <a:cubicBezTo>
                      <a:pt x="176" y="39"/>
                      <a:pt x="257" y="104"/>
                      <a:pt x="264" y="113"/>
                    </a:cubicBezTo>
                    <a:cubicBezTo>
                      <a:pt x="271" y="123"/>
                      <a:pt x="272" y="149"/>
                      <a:pt x="263" y="149"/>
                    </a:cubicBezTo>
                    <a:close/>
                  </a:path>
                </a:pathLst>
              </a:custGeom>
              <a:solidFill>
                <a:srgbClr val="FFC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204">
                <a:extLst>
                  <a:ext uri="{FF2B5EF4-FFF2-40B4-BE49-F238E27FC236}">
                    <a16:creationId xmlns:a16="http://schemas.microsoft.com/office/drawing/2014/main" id="{4B77ECFA-A243-4169-8CC2-189D8D6F6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6" y="3962"/>
                <a:ext cx="572" cy="148"/>
              </a:xfrm>
              <a:custGeom>
                <a:avLst/>
                <a:gdLst>
                  <a:gd name="T0" fmla="*/ 241 w 241"/>
                  <a:gd name="T1" fmla="*/ 61 h 62"/>
                  <a:gd name="T2" fmla="*/ 0 w 241"/>
                  <a:gd name="T3" fmla="*/ 0 h 62"/>
                  <a:gd name="T4" fmla="*/ 0 w 241"/>
                  <a:gd name="T5" fmla="*/ 0 h 62"/>
                  <a:gd name="T6" fmla="*/ 240 w 241"/>
                  <a:gd name="T7" fmla="*/ 62 h 62"/>
                  <a:gd name="T8" fmla="*/ 241 w 241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62">
                    <a:moveTo>
                      <a:pt x="241" y="61"/>
                    </a:moveTo>
                    <a:cubicBezTo>
                      <a:pt x="201" y="50"/>
                      <a:pt x="40" y="8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12"/>
                      <a:pt x="200" y="53"/>
                      <a:pt x="240" y="62"/>
                    </a:cubicBezTo>
                    <a:cubicBezTo>
                      <a:pt x="241" y="62"/>
                      <a:pt x="241" y="61"/>
                      <a:pt x="24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205">
                <a:extLst>
                  <a:ext uri="{FF2B5EF4-FFF2-40B4-BE49-F238E27FC236}">
                    <a16:creationId xmlns:a16="http://schemas.microsoft.com/office/drawing/2014/main" id="{D4BAFB7A-9FE7-4B99-BA53-C575402DE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8" y="3879"/>
                <a:ext cx="121" cy="29"/>
              </a:xfrm>
              <a:custGeom>
                <a:avLst/>
                <a:gdLst>
                  <a:gd name="T0" fmla="*/ 50 w 51"/>
                  <a:gd name="T1" fmla="*/ 4 h 12"/>
                  <a:gd name="T2" fmla="*/ 1 w 51"/>
                  <a:gd name="T3" fmla="*/ 11 h 12"/>
                  <a:gd name="T4" fmla="*/ 1 w 51"/>
                  <a:gd name="T5" fmla="*/ 12 h 12"/>
                  <a:gd name="T6" fmla="*/ 49 w 51"/>
                  <a:gd name="T7" fmla="*/ 6 h 12"/>
                  <a:gd name="T8" fmla="*/ 50 w 51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2">
                    <a:moveTo>
                      <a:pt x="50" y="4"/>
                    </a:moveTo>
                    <a:cubicBezTo>
                      <a:pt x="34" y="0"/>
                      <a:pt x="14" y="1"/>
                      <a:pt x="1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7" y="8"/>
                      <a:pt x="33" y="7"/>
                      <a:pt x="49" y="6"/>
                    </a:cubicBezTo>
                    <a:cubicBezTo>
                      <a:pt x="51" y="6"/>
                      <a:pt x="51" y="5"/>
                      <a:pt x="5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206">
                <a:extLst>
                  <a:ext uri="{FF2B5EF4-FFF2-40B4-BE49-F238E27FC236}">
                    <a16:creationId xmlns:a16="http://schemas.microsoft.com/office/drawing/2014/main" id="{A2FB47F3-4681-4B02-9440-D274E6F5C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4" y="3898"/>
                <a:ext cx="121" cy="29"/>
              </a:xfrm>
              <a:custGeom>
                <a:avLst/>
                <a:gdLst>
                  <a:gd name="T0" fmla="*/ 50 w 51"/>
                  <a:gd name="T1" fmla="*/ 4 h 12"/>
                  <a:gd name="T2" fmla="*/ 1 w 51"/>
                  <a:gd name="T3" fmla="*/ 11 h 12"/>
                  <a:gd name="T4" fmla="*/ 1 w 51"/>
                  <a:gd name="T5" fmla="*/ 12 h 12"/>
                  <a:gd name="T6" fmla="*/ 49 w 51"/>
                  <a:gd name="T7" fmla="*/ 6 h 12"/>
                  <a:gd name="T8" fmla="*/ 50 w 51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2">
                    <a:moveTo>
                      <a:pt x="50" y="4"/>
                    </a:moveTo>
                    <a:cubicBezTo>
                      <a:pt x="34" y="0"/>
                      <a:pt x="14" y="1"/>
                      <a:pt x="1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8" y="8"/>
                      <a:pt x="33" y="7"/>
                      <a:pt x="49" y="6"/>
                    </a:cubicBezTo>
                    <a:cubicBezTo>
                      <a:pt x="51" y="6"/>
                      <a:pt x="51" y="5"/>
                      <a:pt x="5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207">
                <a:extLst>
                  <a:ext uri="{FF2B5EF4-FFF2-40B4-BE49-F238E27FC236}">
                    <a16:creationId xmlns:a16="http://schemas.microsoft.com/office/drawing/2014/main" id="{B8FEFB97-0409-42A9-8DF2-464AE19EDF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3917"/>
                <a:ext cx="121" cy="29"/>
              </a:xfrm>
              <a:custGeom>
                <a:avLst/>
                <a:gdLst>
                  <a:gd name="T0" fmla="*/ 50 w 51"/>
                  <a:gd name="T1" fmla="*/ 4 h 12"/>
                  <a:gd name="T2" fmla="*/ 1 w 51"/>
                  <a:gd name="T3" fmla="*/ 11 h 12"/>
                  <a:gd name="T4" fmla="*/ 1 w 51"/>
                  <a:gd name="T5" fmla="*/ 12 h 12"/>
                  <a:gd name="T6" fmla="*/ 50 w 51"/>
                  <a:gd name="T7" fmla="*/ 6 h 12"/>
                  <a:gd name="T8" fmla="*/ 50 w 51"/>
                  <a:gd name="T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2">
                    <a:moveTo>
                      <a:pt x="50" y="4"/>
                    </a:moveTo>
                    <a:cubicBezTo>
                      <a:pt x="34" y="0"/>
                      <a:pt x="14" y="1"/>
                      <a:pt x="1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8" y="8"/>
                      <a:pt x="33" y="6"/>
                      <a:pt x="50" y="6"/>
                    </a:cubicBezTo>
                    <a:cubicBezTo>
                      <a:pt x="51" y="6"/>
                      <a:pt x="51" y="5"/>
                      <a:pt x="5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" name="Freeform 209">
              <a:extLst>
                <a:ext uri="{FF2B5EF4-FFF2-40B4-BE49-F238E27FC236}">
                  <a16:creationId xmlns:a16="http://schemas.microsoft.com/office/drawing/2014/main" id="{5E1F4FA3-A56B-431A-B9DB-29C2FDEF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76" y="2890594"/>
              <a:ext cx="987405" cy="2283004"/>
            </a:xfrm>
            <a:custGeom>
              <a:avLst/>
              <a:gdLst>
                <a:gd name="T0" fmla="*/ 178 w 351"/>
                <a:gd name="T1" fmla="*/ 811 h 811"/>
                <a:gd name="T2" fmla="*/ 0 w 351"/>
                <a:gd name="T3" fmla="*/ 764 h 811"/>
                <a:gd name="T4" fmla="*/ 177 w 351"/>
                <a:gd name="T5" fmla="*/ 369 h 811"/>
                <a:gd name="T6" fmla="*/ 45 w 351"/>
                <a:gd name="T7" fmla="*/ 135 h 811"/>
                <a:gd name="T8" fmla="*/ 87 w 351"/>
                <a:gd name="T9" fmla="*/ 0 h 811"/>
                <a:gd name="T10" fmla="*/ 271 w 351"/>
                <a:gd name="T11" fmla="*/ 52 h 811"/>
                <a:gd name="T12" fmla="*/ 230 w 351"/>
                <a:gd name="T13" fmla="*/ 104 h 811"/>
                <a:gd name="T14" fmla="*/ 348 w 351"/>
                <a:gd name="T15" fmla="*/ 361 h 811"/>
                <a:gd name="T16" fmla="*/ 178 w 351"/>
                <a:gd name="T17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1" h="811">
                  <a:moveTo>
                    <a:pt x="178" y="811"/>
                  </a:moveTo>
                  <a:cubicBezTo>
                    <a:pt x="0" y="764"/>
                    <a:pt x="0" y="764"/>
                    <a:pt x="0" y="764"/>
                  </a:cubicBezTo>
                  <a:cubicBezTo>
                    <a:pt x="0" y="764"/>
                    <a:pt x="178" y="393"/>
                    <a:pt x="177" y="369"/>
                  </a:cubicBezTo>
                  <a:cubicBezTo>
                    <a:pt x="176" y="349"/>
                    <a:pt x="52" y="169"/>
                    <a:pt x="45" y="135"/>
                  </a:cubicBezTo>
                  <a:cubicBezTo>
                    <a:pt x="34" y="80"/>
                    <a:pt x="61" y="31"/>
                    <a:pt x="87" y="0"/>
                  </a:cubicBezTo>
                  <a:cubicBezTo>
                    <a:pt x="271" y="52"/>
                    <a:pt x="271" y="52"/>
                    <a:pt x="271" y="52"/>
                  </a:cubicBezTo>
                  <a:cubicBezTo>
                    <a:pt x="271" y="52"/>
                    <a:pt x="257" y="84"/>
                    <a:pt x="230" y="104"/>
                  </a:cubicBezTo>
                  <a:cubicBezTo>
                    <a:pt x="230" y="104"/>
                    <a:pt x="345" y="297"/>
                    <a:pt x="348" y="361"/>
                  </a:cubicBezTo>
                  <a:cubicBezTo>
                    <a:pt x="351" y="425"/>
                    <a:pt x="178" y="811"/>
                    <a:pt x="178" y="811"/>
                  </a:cubicBezTo>
                  <a:close/>
                </a:path>
              </a:pathLst>
            </a:cu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10">
              <a:extLst>
                <a:ext uri="{FF2B5EF4-FFF2-40B4-BE49-F238E27FC236}">
                  <a16:creationId xmlns:a16="http://schemas.microsoft.com/office/drawing/2014/main" id="{4E08CA45-E9A2-4B4E-9B2E-A3C4506B8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395" y="4968531"/>
              <a:ext cx="432657" cy="114980"/>
            </a:xfrm>
            <a:custGeom>
              <a:avLst/>
              <a:gdLst>
                <a:gd name="T0" fmla="*/ 153 w 154"/>
                <a:gd name="T1" fmla="*/ 41 h 41"/>
                <a:gd name="T2" fmla="*/ 109 w 154"/>
                <a:gd name="T3" fmla="*/ 28 h 41"/>
                <a:gd name="T4" fmla="*/ 0 w 154"/>
                <a:gd name="T5" fmla="*/ 0 h 41"/>
                <a:gd name="T6" fmla="*/ 0 w 154"/>
                <a:gd name="T7" fmla="*/ 1 h 41"/>
                <a:gd name="T8" fmla="*/ 108 w 154"/>
                <a:gd name="T9" fmla="*/ 31 h 41"/>
                <a:gd name="T10" fmla="*/ 153 w 154"/>
                <a:gd name="T11" fmla="*/ 41 h 41"/>
                <a:gd name="T12" fmla="*/ 153 w 154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41">
                  <a:moveTo>
                    <a:pt x="153" y="41"/>
                  </a:moveTo>
                  <a:cubicBezTo>
                    <a:pt x="127" y="33"/>
                    <a:pt x="135" y="35"/>
                    <a:pt x="109" y="28"/>
                  </a:cubicBezTo>
                  <a:cubicBezTo>
                    <a:pt x="96" y="24"/>
                    <a:pt x="13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2" y="6"/>
                    <a:pt x="95" y="27"/>
                    <a:pt x="108" y="31"/>
                  </a:cubicBezTo>
                  <a:cubicBezTo>
                    <a:pt x="134" y="37"/>
                    <a:pt x="127" y="35"/>
                    <a:pt x="153" y="41"/>
                  </a:cubicBezTo>
                  <a:cubicBezTo>
                    <a:pt x="153" y="41"/>
                    <a:pt x="154" y="41"/>
                    <a:pt x="153" y="4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11">
              <a:extLst>
                <a:ext uri="{FF2B5EF4-FFF2-40B4-BE49-F238E27FC236}">
                  <a16:creationId xmlns:a16="http://schemas.microsoft.com/office/drawing/2014/main" id="{37ADC5C4-4397-41A1-AA4F-67D094298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618" y="3160857"/>
              <a:ext cx="151726" cy="73492"/>
            </a:xfrm>
            <a:custGeom>
              <a:avLst/>
              <a:gdLst>
                <a:gd name="T0" fmla="*/ 52 w 54"/>
                <a:gd name="T1" fmla="*/ 1 h 26"/>
                <a:gd name="T2" fmla="*/ 1 w 54"/>
                <a:gd name="T3" fmla="*/ 25 h 26"/>
                <a:gd name="T4" fmla="*/ 1 w 54"/>
                <a:gd name="T5" fmla="*/ 26 h 26"/>
                <a:gd name="T6" fmla="*/ 53 w 54"/>
                <a:gd name="T7" fmla="*/ 3 h 26"/>
                <a:gd name="T8" fmla="*/ 52 w 54"/>
                <a:gd name="T9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6">
                  <a:moveTo>
                    <a:pt x="52" y="1"/>
                  </a:moveTo>
                  <a:cubicBezTo>
                    <a:pt x="34" y="7"/>
                    <a:pt x="17" y="15"/>
                    <a:pt x="1" y="25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19" y="18"/>
                    <a:pt x="36" y="11"/>
                    <a:pt x="53" y="3"/>
                  </a:cubicBezTo>
                  <a:cubicBezTo>
                    <a:pt x="54" y="2"/>
                    <a:pt x="53" y="0"/>
                    <a:pt x="5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12">
              <a:extLst>
                <a:ext uri="{FF2B5EF4-FFF2-40B4-BE49-F238E27FC236}">
                  <a16:creationId xmlns:a16="http://schemas.microsoft.com/office/drawing/2014/main" id="{2C73F53A-7216-49D2-B417-BACD5A197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554" y="3144262"/>
              <a:ext cx="26078" cy="59268"/>
            </a:xfrm>
            <a:custGeom>
              <a:avLst/>
              <a:gdLst>
                <a:gd name="T0" fmla="*/ 5 w 9"/>
                <a:gd name="T1" fmla="*/ 2 h 21"/>
                <a:gd name="T2" fmla="*/ 2 w 9"/>
                <a:gd name="T3" fmla="*/ 12 h 21"/>
                <a:gd name="T4" fmla="*/ 1 w 9"/>
                <a:gd name="T5" fmla="*/ 20 h 21"/>
                <a:gd name="T6" fmla="*/ 2 w 9"/>
                <a:gd name="T7" fmla="*/ 20 h 21"/>
                <a:gd name="T8" fmla="*/ 5 w 9"/>
                <a:gd name="T9" fmla="*/ 12 h 21"/>
                <a:gd name="T10" fmla="*/ 9 w 9"/>
                <a:gd name="T11" fmla="*/ 3 h 21"/>
                <a:gd name="T12" fmla="*/ 5 w 9"/>
                <a:gd name="T1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1">
                  <a:moveTo>
                    <a:pt x="5" y="2"/>
                  </a:moveTo>
                  <a:cubicBezTo>
                    <a:pt x="4" y="5"/>
                    <a:pt x="3" y="9"/>
                    <a:pt x="2" y="12"/>
                  </a:cubicBezTo>
                  <a:cubicBezTo>
                    <a:pt x="1" y="15"/>
                    <a:pt x="0" y="17"/>
                    <a:pt x="1" y="20"/>
                  </a:cubicBezTo>
                  <a:cubicBezTo>
                    <a:pt x="1" y="21"/>
                    <a:pt x="2" y="21"/>
                    <a:pt x="2" y="20"/>
                  </a:cubicBezTo>
                  <a:cubicBezTo>
                    <a:pt x="4" y="18"/>
                    <a:pt x="4" y="15"/>
                    <a:pt x="5" y="12"/>
                  </a:cubicBezTo>
                  <a:cubicBezTo>
                    <a:pt x="6" y="9"/>
                    <a:pt x="8" y="6"/>
                    <a:pt x="9" y="3"/>
                  </a:cubicBezTo>
                  <a:cubicBezTo>
                    <a:pt x="9" y="1"/>
                    <a:pt x="6" y="0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3">
              <a:extLst>
                <a:ext uri="{FF2B5EF4-FFF2-40B4-BE49-F238E27FC236}">
                  <a16:creationId xmlns:a16="http://schemas.microsoft.com/office/drawing/2014/main" id="{EBCA312F-DBD4-481E-AC19-AA1BA162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481" y="3054174"/>
              <a:ext cx="61639" cy="98385"/>
            </a:xfrm>
            <a:custGeom>
              <a:avLst/>
              <a:gdLst>
                <a:gd name="T0" fmla="*/ 3 w 22"/>
                <a:gd name="T1" fmla="*/ 17 h 35"/>
                <a:gd name="T2" fmla="*/ 6 w 22"/>
                <a:gd name="T3" fmla="*/ 9 h 35"/>
                <a:gd name="T4" fmla="*/ 8 w 22"/>
                <a:gd name="T5" fmla="*/ 0 h 35"/>
                <a:gd name="T6" fmla="*/ 9 w 22"/>
                <a:gd name="T7" fmla="*/ 0 h 35"/>
                <a:gd name="T8" fmla="*/ 7 w 22"/>
                <a:gd name="T9" fmla="*/ 9 h 35"/>
                <a:gd name="T10" fmla="*/ 6 w 22"/>
                <a:gd name="T11" fmla="*/ 18 h 35"/>
                <a:gd name="T12" fmla="*/ 1 w 22"/>
                <a:gd name="T13" fmla="*/ 34 h 35"/>
                <a:gd name="T14" fmla="*/ 10 w 22"/>
                <a:gd name="T15" fmla="*/ 31 h 35"/>
                <a:gd name="T16" fmla="*/ 15 w 22"/>
                <a:gd name="T17" fmla="*/ 23 h 35"/>
                <a:gd name="T18" fmla="*/ 18 w 22"/>
                <a:gd name="T19" fmla="*/ 14 h 35"/>
                <a:gd name="T20" fmla="*/ 22 w 22"/>
                <a:gd name="T21" fmla="*/ 3 h 35"/>
                <a:gd name="T22" fmla="*/ 22 w 22"/>
                <a:gd name="T23" fmla="*/ 3 h 35"/>
                <a:gd name="T24" fmla="*/ 16 w 22"/>
                <a:gd name="T25" fmla="*/ 26 h 35"/>
                <a:gd name="T26" fmla="*/ 11 w 22"/>
                <a:gd name="T27" fmla="*/ 33 h 35"/>
                <a:gd name="T28" fmla="*/ 1 w 22"/>
                <a:gd name="T29" fmla="*/ 35 h 35"/>
                <a:gd name="T30" fmla="*/ 0 w 22"/>
                <a:gd name="T31" fmla="*/ 34 h 35"/>
                <a:gd name="T32" fmla="*/ 3 w 22"/>
                <a:gd name="T3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5">
                  <a:moveTo>
                    <a:pt x="3" y="17"/>
                  </a:moveTo>
                  <a:cubicBezTo>
                    <a:pt x="4" y="14"/>
                    <a:pt x="5" y="12"/>
                    <a:pt x="6" y="9"/>
                  </a:cubicBezTo>
                  <a:cubicBezTo>
                    <a:pt x="6" y="6"/>
                    <a:pt x="7" y="3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8" y="3"/>
                    <a:pt x="8" y="6"/>
                    <a:pt x="7" y="9"/>
                  </a:cubicBezTo>
                  <a:cubicBezTo>
                    <a:pt x="7" y="12"/>
                    <a:pt x="6" y="15"/>
                    <a:pt x="6" y="18"/>
                  </a:cubicBezTo>
                  <a:cubicBezTo>
                    <a:pt x="5" y="23"/>
                    <a:pt x="3" y="28"/>
                    <a:pt x="1" y="34"/>
                  </a:cubicBezTo>
                  <a:cubicBezTo>
                    <a:pt x="4" y="33"/>
                    <a:pt x="7" y="33"/>
                    <a:pt x="10" y="31"/>
                  </a:cubicBezTo>
                  <a:cubicBezTo>
                    <a:pt x="12" y="29"/>
                    <a:pt x="14" y="26"/>
                    <a:pt x="15" y="23"/>
                  </a:cubicBezTo>
                  <a:cubicBezTo>
                    <a:pt x="16" y="20"/>
                    <a:pt x="17" y="17"/>
                    <a:pt x="18" y="14"/>
                  </a:cubicBezTo>
                  <a:cubicBezTo>
                    <a:pt x="19" y="10"/>
                    <a:pt x="21" y="6"/>
                    <a:pt x="22" y="3"/>
                  </a:cubicBezTo>
                  <a:cubicBezTo>
                    <a:pt x="22" y="2"/>
                    <a:pt x="22" y="3"/>
                    <a:pt x="22" y="3"/>
                  </a:cubicBezTo>
                  <a:cubicBezTo>
                    <a:pt x="21" y="11"/>
                    <a:pt x="19" y="18"/>
                    <a:pt x="16" y="26"/>
                  </a:cubicBezTo>
                  <a:cubicBezTo>
                    <a:pt x="15" y="29"/>
                    <a:pt x="14" y="32"/>
                    <a:pt x="11" y="33"/>
                  </a:cubicBezTo>
                  <a:cubicBezTo>
                    <a:pt x="8" y="35"/>
                    <a:pt x="4" y="35"/>
                    <a:pt x="1" y="35"/>
                  </a:cubicBezTo>
                  <a:cubicBezTo>
                    <a:pt x="0" y="35"/>
                    <a:pt x="0" y="35"/>
                    <a:pt x="0" y="34"/>
                  </a:cubicBezTo>
                  <a:cubicBezTo>
                    <a:pt x="1" y="29"/>
                    <a:pt x="2" y="23"/>
                    <a:pt x="3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14">
              <a:extLst>
                <a:ext uri="{FF2B5EF4-FFF2-40B4-BE49-F238E27FC236}">
                  <a16:creationId xmlns:a16="http://schemas.microsoft.com/office/drawing/2014/main" id="{696E28AE-DD80-4F15-861C-9E6D5459E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110" y="3199973"/>
              <a:ext cx="328345" cy="1148614"/>
            </a:xfrm>
            <a:custGeom>
              <a:avLst/>
              <a:gdLst>
                <a:gd name="T0" fmla="*/ 1 w 117"/>
                <a:gd name="T1" fmla="*/ 0 h 408"/>
                <a:gd name="T2" fmla="*/ 24 w 117"/>
                <a:gd name="T3" fmla="*/ 37 h 408"/>
                <a:gd name="T4" fmla="*/ 45 w 117"/>
                <a:gd name="T5" fmla="*/ 74 h 408"/>
                <a:gd name="T6" fmla="*/ 83 w 117"/>
                <a:gd name="T7" fmla="*/ 151 h 408"/>
                <a:gd name="T8" fmla="*/ 99 w 117"/>
                <a:gd name="T9" fmla="*/ 190 h 408"/>
                <a:gd name="T10" fmla="*/ 113 w 117"/>
                <a:gd name="T11" fmla="*/ 230 h 408"/>
                <a:gd name="T12" fmla="*/ 115 w 117"/>
                <a:gd name="T13" fmla="*/ 272 h 408"/>
                <a:gd name="T14" fmla="*/ 104 w 117"/>
                <a:gd name="T15" fmla="*/ 314 h 408"/>
                <a:gd name="T16" fmla="*/ 69 w 117"/>
                <a:gd name="T17" fmla="*/ 407 h 408"/>
                <a:gd name="T18" fmla="*/ 67 w 117"/>
                <a:gd name="T19" fmla="*/ 406 h 408"/>
                <a:gd name="T20" fmla="*/ 96 w 117"/>
                <a:gd name="T21" fmla="*/ 323 h 408"/>
                <a:gd name="T22" fmla="*/ 110 w 117"/>
                <a:gd name="T23" fmla="*/ 240 h 408"/>
                <a:gd name="T24" fmla="*/ 98 w 117"/>
                <a:gd name="T25" fmla="*/ 200 h 408"/>
                <a:gd name="T26" fmla="*/ 82 w 117"/>
                <a:gd name="T27" fmla="*/ 160 h 408"/>
                <a:gd name="T28" fmla="*/ 45 w 117"/>
                <a:gd name="T29" fmla="*/ 84 h 408"/>
                <a:gd name="T30" fmla="*/ 23 w 117"/>
                <a:gd name="T31" fmla="*/ 43 h 408"/>
                <a:gd name="T32" fmla="*/ 1 w 117"/>
                <a:gd name="T33" fmla="*/ 1 h 408"/>
                <a:gd name="T34" fmla="*/ 1 w 117"/>
                <a:gd name="T3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7" h="408">
                  <a:moveTo>
                    <a:pt x="1" y="0"/>
                  </a:moveTo>
                  <a:cubicBezTo>
                    <a:pt x="8" y="13"/>
                    <a:pt x="16" y="25"/>
                    <a:pt x="24" y="37"/>
                  </a:cubicBezTo>
                  <a:cubicBezTo>
                    <a:pt x="31" y="50"/>
                    <a:pt x="38" y="62"/>
                    <a:pt x="45" y="74"/>
                  </a:cubicBezTo>
                  <a:cubicBezTo>
                    <a:pt x="59" y="99"/>
                    <a:pt x="71" y="125"/>
                    <a:pt x="83" y="151"/>
                  </a:cubicBezTo>
                  <a:cubicBezTo>
                    <a:pt x="89" y="164"/>
                    <a:pt x="94" y="177"/>
                    <a:pt x="99" y="190"/>
                  </a:cubicBezTo>
                  <a:cubicBezTo>
                    <a:pt x="105" y="203"/>
                    <a:pt x="110" y="217"/>
                    <a:pt x="113" y="230"/>
                  </a:cubicBezTo>
                  <a:cubicBezTo>
                    <a:pt x="116" y="244"/>
                    <a:pt x="117" y="258"/>
                    <a:pt x="115" y="272"/>
                  </a:cubicBezTo>
                  <a:cubicBezTo>
                    <a:pt x="112" y="287"/>
                    <a:pt x="108" y="301"/>
                    <a:pt x="104" y="314"/>
                  </a:cubicBezTo>
                  <a:cubicBezTo>
                    <a:pt x="94" y="346"/>
                    <a:pt x="83" y="377"/>
                    <a:pt x="69" y="407"/>
                  </a:cubicBezTo>
                  <a:cubicBezTo>
                    <a:pt x="69" y="408"/>
                    <a:pt x="67" y="407"/>
                    <a:pt x="67" y="406"/>
                  </a:cubicBezTo>
                  <a:cubicBezTo>
                    <a:pt x="77" y="378"/>
                    <a:pt x="87" y="351"/>
                    <a:pt x="96" y="323"/>
                  </a:cubicBezTo>
                  <a:cubicBezTo>
                    <a:pt x="104" y="296"/>
                    <a:pt x="114" y="268"/>
                    <a:pt x="110" y="240"/>
                  </a:cubicBezTo>
                  <a:cubicBezTo>
                    <a:pt x="107" y="226"/>
                    <a:pt x="103" y="213"/>
                    <a:pt x="98" y="200"/>
                  </a:cubicBezTo>
                  <a:cubicBezTo>
                    <a:pt x="93" y="186"/>
                    <a:pt x="88" y="173"/>
                    <a:pt x="82" y="160"/>
                  </a:cubicBezTo>
                  <a:cubicBezTo>
                    <a:pt x="71" y="134"/>
                    <a:pt x="58" y="109"/>
                    <a:pt x="45" y="84"/>
                  </a:cubicBezTo>
                  <a:cubicBezTo>
                    <a:pt x="38" y="70"/>
                    <a:pt x="31" y="56"/>
                    <a:pt x="23" y="43"/>
                  </a:cubicBezTo>
                  <a:cubicBezTo>
                    <a:pt x="16" y="28"/>
                    <a:pt x="9" y="1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5">
              <a:extLst>
                <a:ext uri="{FF2B5EF4-FFF2-40B4-BE49-F238E27FC236}">
                  <a16:creationId xmlns:a16="http://schemas.microsoft.com/office/drawing/2014/main" id="{B1CF73E8-C9BD-4F5F-8CAE-E5587B1E3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165" y="2994906"/>
              <a:ext cx="193214" cy="143429"/>
            </a:xfrm>
            <a:custGeom>
              <a:avLst/>
              <a:gdLst>
                <a:gd name="T0" fmla="*/ 1 w 69"/>
                <a:gd name="T1" fmla="*/ 46 h 51"/>
                <a:gd name="T2" fmla="*/ 24 w 69"/>
                <a:gd name="T3" fmla="*/ 46 h 51"/>
                <a:gd name="T4" fmla="*/ 36 w 69"/>
                <a:gd name="T5" fmla="*/ 44 h 51"/>
                <a:gd name="T6" fmla="*/ 47 w 69"/>
                <a:gd name="T7" fmla="*/ 39 h 51"/>
                <a:gd name="T8" fmla="*/ 59 w 69"/>
                <a:gd name="T9" fmla="*/ 22 h 51"/>
                <a:gd name="T10" fmla="*/ 68 w 69"/>
                <a:gd name="T11" fmla="*/ 1 h 51"/>
                <a:gd name="T12" fmla="*/ 69 w 69"/>
                <a:gd name="T13" fmla="*/ 1 h 51"/>
                <a:gd name="T14" fmla="*/ 66 w 69"/>
                <a:gd name="T15" fmla="*/ 14 h 51"/>
                <a:gd name="T16" fmla="*/ 62 w 69"/>
                <a:gd name="T17" fmla="*/ 25 h 51"/>
                <a:gd name="T18" fmla="*/ 49 w 69"/>
                <a:gd name="T19" fmla="*/ 44 h 51"/>
                <a:gd name="T20" fmla="*/ 26 w 69"/>
                <a:gd name="T21" fmla="*/ 50 h 51"/>
                <a:gd name="T22" fmla="*/ 1 w 69"/>
                <a:gd name="T23" fmla="*/ 48 h 51"/>
                <a:gd name="T24" fmla="*/ 1 w 69"/>
                <a:gd name="T25" fmla="*/ 4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51">
                  <a:moveTo>
                    <a:pt x="1" y="46"/>
                  </a:moveTo>
                  <a:cubicBezTo>
                    <a:pt x="4" y="46"/>
                    <a:pt x="9" y="47"/>
                    <a:pt x="24" y="46"/>
                  </a:cubicBezTo>
                  <a:cubicBezTo>
                    <a:pt x="28" y="46"/>
                    <a:pt x="32" y="45"/>
                    <a:pt x="36" y="44"/>
                  </a:cubicBezTo>
                  <a:cubicBezTo>
                    <a:pt x="40" y="43"/>
                    <a:pt x="43" y="42"/>
                    <a:pt x="47" y="39"/>
                  </a:cubicBezTo>
                  <a:cubicBezTo>
                    <a:pt x="52" y="35"/>
                    <a:pt x="56" y="28"/>
                    <a:pt x="59" y="22"/>
                  </a:cubicBezTo>
                  <a:cubicBezTo>
                    <a:pt x="63" y="16"/>
                    <a:pt x="66" y="8"/>
                    <a:pt x="68" y="1"/>
                  </a:cubicBezTo>
                  <a:cubicBezTo>
                    <a:pt x="68" y="0"/>
                    <a:pt x="69" y="1"/>
                    <a:pt x="69" y="1"/>
                  </a:cubicBezTo>
                  <a:cubicBezTo>
                    <a:pt x="68" y="5"/>
                    <a:pt x="67" y="9"/>
                    <a:pt x="66" y="14"/>
                  </a:cubicBezTo>
                  <a:cubicBezTo>
                    <a:pt x="65" y="18"/>
                    <a:pt x="64" y="21"/>
                    <a:pt x="62" y="25"/>
                  </a:cubicBezTo>
                  <a:cubicBezTo>
                    <a:pt x="59" y="32"/>
                    <a:pt x="55" y="39"/>
                    <a:pt x="49" y="44"/>
                  </a:cubicBezTo>
                  <a:cubicBezTo>
                    <a:pt x="43" y="49"/>
                    <a:pt x="34" y="50"/>
                    <a:pt x="26" y="50"/>
                  </a:cubicBezTo>
                  <a:cubicBezTo>
                    <a:pt x="21" y="51"/>
                    <a:pt x="3" y="50"/>
                    <a:pt x="1" y="48"/>
                  </a:cubicBezTo>
                  <a:cubicBezTo>
                    <a:pt x="0" y="47"/>
                    <a:pt x="0" y="46"/>
                    <a:pt x="1" y="4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6">
              <a:extLst>
                <a:ext uri="{FF2B5EF4-FFF2-40B4-BE49-F238E27FC236}">
                  <a16:creationId xmlns:a16="http://schemas.microsoft.com/office/drawing/2014/main" id="{3E136ADA-D2B0-451F-B09F-64AE4E3A4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17" y="2930897"/>
              <a:ext cx="455178" cy="2029337"/>
            </a:xfrm>
            <a:custGeom>
              <a:avLst/>
              <a:gdLst>
                <a:gd name="T0" fmla="*/ 0 w 162"/>
                <a:gd name="T1" fmla="*/ 719 h 721"/>
                <a:gd name="T2" fmla="*/ 145 w 162"/>
                <a:gd name="T3" fmla="*/ 398 h 721"/>
                <a:gd name="T4" fmla="*/ 158 w 162"/>
                <a:gd name="T5" fmla="*/ 364 h 721"/>
                <a:gd name="T6" fmla="*/ 151 w 162"/>
                <a:gd name="T7" fmla="*/ 327 h 721"/>
                <a:gd name="T8" fmla="*/ 117 w 162"/>
                <a:gd name="T9" fmla="*/ 265 h 721"/>
                <a:gd name="T10" fmla="*/ 78 w 162"/>
                <a:gd name="T11" fmla="*/ 205 h 721"/>
                <a:gd name="T12" fmla="*/ 41 w 162"/>
                <a:gd name="T13" fmla="*/ 144 h 721"/>
                <a:gd name="T14" fmla="*/ 28 w 162"/>
                <a:gd name="T15" fmla="*/ 80 h 721"/>
                <a:gd name="T16" fmla="*/ 51 w 162"/>
                <a:gd name="T17" fmla="*/ 16 h 721"/>
                <a:gd name="T18" fmla="*/ 59 w 162"/>
                <a:gd name="T19" fmla="*/ 0 h 721"/>
                <a:gd name="T20" fmla="*/ 60 w 162"/>
                <a:gd name="T21" fmla="*/ 1 h 721"/>
                <a:gd name="T22" fmla="*/ 32 w 162"/>
                <a:gd name="T23" fmla="*/ 67 h 721"/>
                <a:gd name="T24" fmla="*/ 29 w 162"/>
                <a:gd name="T25" fmla="*/ 102 h 721"/>
                <a:gd name="T26" fmla="*/ 39 w 162"/>
                <a:gd name="T27" fmla="*/ 137 h 721"/>
                <a:gd name="T28" fmla="*/ 75 w 162"/>
                <a:gd name="T29" fmla="*/ 197 h 721"/>
                <a:gd name="T30" fmla="*/ 114 w 162"/>
                <a:gd name="T31" fmla="*/ 257 h 721"/>
                <a:gd name="T32" fmla="*/ 150 w 162"/>
                <a:gd name="T33" fmla="*/ 320 h 721"/>
                <a:gd name="T34" fmla="*/ 161 w 162"/>
                <a:gd name="T35" fmla="*/ 350 h 721"/>
                <a:gd name="T36" fmla="*/ 153 w 162"/>
                <a:gd name="T37" fmla="*/ 384 h 721"/>
                <a:gd name="T38" fmla="*/ 1 w 162"/>
                <a:gd name="T39" fmla="*/ 720 h 721"/>
                <a:gd name="T40" fmla="*/ 0 w 162"/>
                <a:gd name="T41" fmla="*/ 719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" h="721">
                  <a:moveTo>
                    <a:pt x="0" y="719"/>
                  </a:moveTo>
                  <a:cubicBezTo>
                    <a:pt x="20" y="669"/>
                    <a:pt x="124" y="445"/>
                    <a:pt x="145" y="398"/>
                  </a:cubicBezTo>
                  <a:cubicBezTo>
                    <a:pt x="150" y="387"/>
                    <a:pt x="155" y="376"/>
                    <a:pt x="158" y="364"/>
                  </a:cubicBezTo>
                  <a:cubicBezTo>
                    <a:pt x="161" y="351"/>
                    <a:pt x="157" y="339"/>
                    <a:pt x="151" y="327"/>
                  </a:cubicBezTo>
                  <a:cubicBezTo>
                    <a:pt x="141" y="306"/>
                    <a:pt x="129" y="285"/>
                    <a:pt x="117" y="265"/>
                  </a:cubicBezTo>
                  <a:cubicBezTo>
                    <a:pt x="104" y="244"/>
                    <a:pt x="91" y="225"/>
                    <a:pt x="78" y="205"/>
                  </a:cubicBezTo>
                  <a:cubicBezTo>
                    <a:pt x="65" y="185"/>
                    <a:pt x="51" y="165"/>
                    <a:pt x="41" y="144"/>
                  </a:cubicBezTo>
                  <a:cubicBezTo>
                    <a:pt x="31" y="124"/>
                    <a:pt x="25" y="102"/>
                    <a:pt x="28" y="80"/>
                  </a:cubicBezTo>
                  <a:cubicBezTo>
                    <a:pt x="31" y="57"/>
                    <a:pt x="41" y="36"/>
                    <a:pt x="51" y="16"/>
                  </a:cubicBezTo>
                  <a:cubicBezTo>
                    <a:pt x="54" y="11"/>
                    <a:pt x="57" y="6"/>
                    <a:pt x="59" y="0"/>
                  </a:cubicBezTo>
                  <a:cubicBezTo>
                    <a:pt x="60" y="0"/>
                    <a:pt x="60" y="0"/>
                    <a:pt x="60" y="1"/>
                  </a:cubicBezTo>
                  <a:cubicBezTo>
                    <a:pt x="48" y="22"/>
                    <a:pt x="37" y="43"/>
                    <a:pt x="32" y="67"/>
                  </a:cubicBezTo>
                  <a:cubicBezTo>
                    <a:pt x="29" y="78"/>
                    <a:pt x="28" y="90"/>
                    <a:pt x="29" y="102"/>
                  </a:cubicBezTo>
                  <a:cubicBezTo>
                    <a:pt x="30" y="114"/>
                    <a:pt x="34" y="126"/>
                    <a:pt x="39" y="137"/>
                  </a:cubicBezTo>
                  <a:cubicBezTo>
                    <a:pt x="49" y="158"/>
                    <a:pt x="62" y="178"/>
                    <a:pt x="75" y="197"/>
                  </a:cubicBezTo>
                  <a:cubicBezTo>
                    <a:pt x="88" y="217"/>
                    <a:pt x="101" y="237"/>
                    <a:pt x="114" y="257"/>
                  </a:cubicBezTo>
                  <a:cubicBezTo>
                    <a:pt x="127" y="277"/>
                    <a:pt x="139" y="298"/>
                    <a:pt x="150" y="320"/>
                  </a:cubicBezTo>
                  <a:cubicBezTo>
                    <a:pt x="154" y="329"/>
                    <a:pt x="159" y="339"/>
                    <a:pt x="161" y="350"/>
                  </a:cubicBezTo>
                  <a:cubicBezTo>
                    <a:pt x="162" y="362"/>
                    <a:pt x="158" y="373"/>
                    <a:pt x="153" y="384"/>
                  </a:cubicBezTo>
                  <a:cubicBezTo>
                    <a:pt x="133" y="430"/>
                    <a:pt x="4" y="714"/>
                    <a:pt x="1" y="720"/>
                  </a:cubicBezTo>
                  <a:cubicBezTo>
                    <a:pt x="1" y="721"/>
                    <a:pt x="0" y="720"/>
                    <a:pt x="0" y="7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7">
              <a:extLst>
                <a:ext uri="{FF2B5EF4-FFF2-40B4-BE49-F238E27FC236}">
                  <a16:creationId xmlns:a16="http://schemas.microsoft.com/office/drawing/2014/main" id="{8EDE22EB-CCE6-47C3-8204-7F77DB7E7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032" y="2030023"/>
              <a:ext cx="1169951" cy="630612"/>
            </a:xfrm>
            <a:custGeom>
              <a:avLst/>
              <a:gdLst>
                <a:gd name="T0" fmla="*/ 60 w 416"/>
                <a:gd name="T1" fmla="*/ 150 h 224"/>
                <a:gd name="T2" fmla="*/ 231 w 416"/>
                <a:gd name="T3" fmla="*/ 218 h 224"/>
                <a:gd name="T4" fmla="*/ 406 w 416"/>
                <a:gd name="T5" fmla="*/ 95 h 224"/>
                <a:gd name="T6" fmla="*/ 327 w 416"/>
                <a:gd name="T7" fmla="*/ 10 h 224"/>
                <a:gd name="T8" fmla="*/ 222 w 416"/>
                <a:gd name="T9" fmla="*/ 118 h 224"/>
                <a:gd name="T10" fmla="*/ 71 w 416"/>
                <a:gd name="T11" fmla="*/ 100 h 224"/>
                <a:gd name="T12" fmla="*/ 60 w 416"/>
                <a:gd name="T13" fmla="*/ 1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6" h="224">
                  <a:moveTo>
                    <a:pt x="60" y="150"/>
                  </a:moveTo>
                  <a:cubicBezTo>
                    <a:pt x="88" y="166"/>
                    <a:pt x="192" y="224"/>
                    <a:pt x="231" y="218"/>
                  </a:cubicBezTo>
                  <a:cubicBezTo>
                    <a:pt x="293" y="210"/>
                    <a:pt x="383" y="118"/>
                    <a:pt x="406" y="95"/>
                  </a:cubicBezTo>
                  <a:cubicBezTo>
                    <a:pt x="416" y="85"/>
                    <a:pt x="338" y="0"/>
                    <a:pt x="327" y="10"/>
                  </a:cubicBezTo>
                  <a:cubicBezTo>
                    <a:pt x="319" y="17"/>
                    <a:pt x="232" y="114"/>
                    <a:pt x="222" y="118"/>
                  </a:cubicBezTo>
                  <a:cubicBezTo>
                    <a:pt x="211" y="122"/>
                    <a:pt x="124" y="111"/>
                    <a:pt x="71" y="100"/>
                  </a:cubicBezTo>
                  <a:cubicBezTo>
                    <a:pt x="20" y="90"/>
                    <a:pt x="0" y="116"/>
                    <a:pt x="60" y="150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8">
              <a:extLst>
                <a:ext uri="{FF2B5EF4-FFF2-40B4-BE49-F238E27FC236}">
                  <a16:creationId xmlns:a16="http://schemas.microsoft.com/office/drawing/2014/main" id="{9CF044D7-0D6F-41F3-A93E-86939E84A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638" y="1872370"/>
              <a:ext cx="416062" cy="508520"/>
            </a:xfrm>
            <a:custGeom>
              <a:avLst/>
              <a:gdLst>
                <a:gd name="T0" fmla="*/ 136 w 148"/>
                <a:gd name="T1" fmla="*/ 116 h 181"/>
                <a:gd name="T2" fmla="*/ 73 w 148"/>
                <a:gd name="T3" fmla="*/ 176 h 181"/>
                <a:gd name="T4" fmla="*/ 2 w 148"/>
                <a:gd name="T5" fmla="*/ 102 h 181"/>
                <a:gd name="T6" fmla="*/ 69 w 148"/>
                <a:gd name="T7" fmla="*/ 10 h 181"/>
                <a:gd name="T8" fmla="*/ 136 w 148"/>
                <a:gd name="T9" fmla="*/ 11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81">
                  <a:moveTo>
                    <a:pt x="136" y="116"/>
                  </a:moveTo>
                  <a:cubicBezTo>
                    <a:pt x="125" y="137"/>
                    <a:pt x="86" y="172"/>
                    <a:pt x="73" y="176"/>
                  </a:cubicBezTo>
                  <a:cubicBezTo>
                    <a:pt x="60" y="181"/>
                    <a:pt x="0" y="116"/>
                    <a:pt x="2" y="102"/>
                  </a:cubicBezTo>
                  <a:cubicBezTo>
                    <a:pt x="4" y="88"/>
                    <a:pt x="46" y="20"/>
                    <a:pt x="69" y="10"/>
                  </a:cubicBezTo>
                  <a:cubicBezTo>
                    <a:pt x="91" y="0"/>
                    <a:pt x="148" y="94"/>
                    <a:pt x="136" y="116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9">
              <a:extLst>
                <a:ext uri="{FF2B5EF4-FFF2-40B4-BE49-F238E27FC236}">
                  <a16:creationId xmlns:a16="http://schemas.microsoft.com/office/drawing/2014/main" id="{276C3B4B-5150-453A-BE95-28C0D123D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023" y="1801248"/>
              <a:ext cx="342569" cy="442139"/>
            </a:xfrm>
            <a:custGeom>
              <a:avLst/>
              <a:gdLst>
                <a:gd name="T0" fmla="*/ 3 w 122"/>
                <a:gd name="T1" fmla="*/ 57 h 157"/>
                <a:gd name="T2" fmla="*/ 18 w 122"/>
                <a:gd name="T3" fmla="*/ 62 h 157"/>
                <a:gd name="T4" fmla="*/ 6 w 122"/>
                <a:gd name="T5" fmla="*/ 91 h 157"/>
                <a:gd name="T6" fmla="*/ 30 w 122"/>
                <a:gd name="T7" fmla="*/ 92 h 157"/>
                <a:gd name="T8" fmla="*/ 20 w 122"/>
                <a:gd name="T9" fmla="*/ 121 h 157"/>
                <a:gd name="T10" fmla="*/ 44 w 122"/>
                <a:gd name="T11" fmla="*/ 119 h 157"/>
                <a:gd name="T12" fmla="*/ 43 w 122"/>
                <a:gd name="T13" fmla="*/ 143 h 157"/>
                <a:gd name="T14" fmla="*/ 92 w 122"/>
                <a:gd name="T15" fmla="*/ 116 h 157"/>
                <a:gd name="T16" fmla="*/ 101 w 122"/>
                <a:gd name="T17" fmla="*/ 141 h 157"/>
                <a:gd name="T18" fmla="*/ 117 w 122"/>
                <a:gd name="T19" fmla="*/ 85 h 157"/>
                <a:gd name="T20" fmla="*/ 103 w 122"/>
                <a:gd name="T21" fmla="*/ 76 h 157"/>
                <a:gd name="T22" fmla="*/ 106 w 122"/>
                <a:gd name="T23" fmla="*/ 55 h 157"/>
                <a:gd name="T24" fmla="*/ 93 w 122"/>
                <a:gd name="T25" fmla="*/ 50 h 157"/>
                <a:gd name="T26" fmla="*/ 93 w 122"/>
                <a:gd name="T27" fmla="*/ 33 h 157"/>
                <a:gd name="T28" fmla="*/ 79 w 122"/>
                <a:gd name="T29" fmla="*/ 27 h 157"/>
                <a:gd name="T30" fmla="*/ 75 w 122"/>
                <a:gd name="T31" fmla="*/ 11 h 157"/>
                <a:gd name="T32" fmla="*/ 3 w 122"/>
                <a:gd name="T33" fmla="*/ 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157">
                  <a:moveTo>
                    <a:pt x="3" y="57"/>
                  </a:moveTo>
                  <a:cubicBezTo>
                    <a:pt x="3" y="70"/>
                    <a:pt x="18" y="62"/>
                    <a:pt x="18" y="62"/>
                  </a:cubicBezTo>
                  <a:cubicBezTo>
                    <a:pt x="18" y="62"/>
                    <a:pt x="0" y="78"/>
                    <a:pt x="6" y="91"/>
                  </a:cubicBezTo>
                  <a:cubicBezTo>
                    <a:pt x="11" y="103"/>
                    <a:pt x="29" y="93"/>
                    <a:pt x="30" y="92"/>
                  </a:cubicBezTo>
                  <a:cubicBezTo>
                    <a:pt x="29" y="93"/>
                    <a:pt x="13" y="109"/>
                    <a:pt x="20" y="121"/>
                  </a:cubicBezTo>
                  <a:cubicBezTo>
                    <a:pt x="28" y="134"/>
                    <a:pt x="43" y="120"/>
                    <a:pt x="44" y="119"/>
                  </a:cubicBezTo>
                  <a:cubicBezTo>
                    <a:pt x="43" y="120"/>
                    <a:pt x="35" y="135"/>
                    <a:pt x="43" y="143"/>
                  </a:cubicBezTo>
                  <a:cubicBezTo>
                    <a:pt x="56" y="157"/>
                    <a:pt x="77" y="119"/>
                    <a:pt x="92" y="116"/>
                  </a:cubicBezTo>
                  <a:cubicBezTo>
                    <a:pt x="92" y="116"/>
                    <a:pt x="101" y="140"/>
                    <a:pt x="101" y="141"/>
                  </a:cubicBezTo>
                  <a:cubicBezTo>
                    <a:pt x="101" y="141"/>
                    <a:pt x="122" y="105"/>
                    <a:pt x="117" y="85"/>
                  </a:cubicBezTo>
                  <a:cubicBezTo>
                    <a:pt x="114" y="75"/>
                    <a:pt x="103" y="76"/>
                    <a:pt x="103" y="76"/>
                  </a:cubicBezTo>
                  <a:cubicBezTo>
                    <a:pt x="103" y="76"/>
                    <a:pt x="111" y="65"/>
                    <a:pt x="106" y="55"/>
                  </a:cubicBezTo>
                  <a:cubicBezTo>
                    <a:pt x="103" y="50"/>
                    <a:pt x="93" y="50"/>
                    <a:pt x="93" y="50"/>
                  </a:cubicBezTo>
                  <a:cubicBezTo>
                    <a:pt x="93" y="50"/>
                    <a:pt x="99" y="41"/>
                    <a:pt x="93" y="33"/>
                  </a:cubicBezTo>
                  <a:cubicBezTo>
                    <a:pt x="89" y="26"/>
                    <a:pt x="79" y="27"/>
                    <a:pt x="79" y="27"/>
                  </a:cubicBezTo>
                  <a:cubicBezTo>
                    <a:pt x="79" y="27"/>
                    <a:pt x="81" y="16"/>
                    <a:pt x="75" y="11"/>
                  </a:cubicBezTo>
                  <a:cubicBezTo>
                    <a:pt x="62" y="0"/>
                    <a:pt x="1" y="30"/>
                    <a:pt x="3" y="57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20">
              <a:extLst>
                <a:ext uri="{FF2B5EF4-FFF2-40B4-BE49-F238E27FC236}">
                  <a16:creationId xmlns:a16="http://schemas.microsoft.com/office/drawing/2014/main" id="{524E9040-C94E-4FD8-8DE0-70E7C4F24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3066" y="1877111"/>
              <a:ext cx="174248" cy="104312"/>
            </a:xfrm>
            <a:custGeom>
              <a:avLst/>
              <a:gdLst>
                <a:gd name="T0" fmla="*/ 62 w 62"/>
                <a:gd name="T1" fmla="*/ 0 h 37"/>
                <a:gd name="T2" fmla="*/ 62 w 62"/>
                <a:gd name="T3" fmla="*/ 0 h 37"/>
                <a:gd name="T4" fmla="*/ 1 w 62"/>
                <a:gd name="T5" fmla="*/ 35 h 37"/>
                <a:gd name="T6" fmla="*/ 2 w 62"/>
                <a:gd name="T7" fmla="*/ 36 h 37"/>
                <a:gd name="T8" fmla="*/ 62 w 62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37">
                  <a:moveTo>
                    <a:pt x="62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39" y="5"/>
                    <a:pt x="16" y="18"/>
                    <a:pt x="1" y="35"/>
                  </a:cubicBezTo>
                  <a:cubicBezTo>
                    <a:pt x="0" y="35"/>
                    <a:pt x="1" y="37"/>
                    <a:pt x="2" y="36"/>
                  </a:cubicBezTo>
                  <a:cubicBezTo>
                    <a:pt x="21" y="21"/>
                    <a:pt x="39" y="9"/>
                    <a:pt x="6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1">
              <a:extLst>
                <a:ext uri="{FF2B5EF4-FFF2-40B4-BE49-F238E27FC236}">
                  <a16:creationId xmlns:a16="http://schemas.microsoft.com/office/drawing/2014/main" id="{4B01D82B-9AA9-4834-BCE4-7934A380C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6257" y="1942306"/>
              <a:ext cx="183731" cy="123277"/>
            </a:xfrm>
            <a:custGeom>
              <a:avLst/>
              <a:gdLst>
                <a:gd name="T0" fmla="*/ 65 w 65"/>
                <a:gd name="T1" fmla="*/ 0 h 44"/>
                <a:gd name="T2" fmla="*/ 65 w 65"/>
                <a:gd name="T3" fmla="*/ 0 h 44"/>
                <a:gd name="T4" fmla="*/ 1 w 65"/>
                <a:gd name="T5" fmla="*/ 42 h 44"/>
                <a:gd name="T6" fmla="*/ 1 w 65"/>
                <a:gd name="T7" fmla="*/ 43 h 44"/>
                <a:gd name="T8" fmla="*/ 65 w 65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44">
                  <a:moveTo>
                    <a:pt x="65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42" y="5"/>
                    <a:pt x="16" y="20"/>
                    <a:pt x="1" y="42"/>
                  </a:cubicBezTo>
                  <a:cubicBezTo>
                    <a:pt x="0" y="43"/>
                    <a:pt x="1" y="44"/>
                    <a:pt x="1" y="43"/>
                  </a:cubicBezTo>
                  <a:cubicBezTo>
                    <a:pt x="12" y="29"/>
                    <a:pt x="45" y="8"/>
                    <a:pt x="6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2">
              <a:extLst>
                <a:ext uri="{FF2B5EF4-FFF2-40B4-BE49-F238E27FC236}">
                  <a16:creationId xmlns:a16="http://schemas.microsoft.com/office/drawing/2014/main" id="{7D6C3960-CE1A-4D66-9A84-ECD5B493B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373" y="2012242"/>
              <a:ext cx="169507" cy="130390"/>
            </a:xfrm>
            <a:custGeom>
              <a:avLst/>
              <a:gdLst>
                <a:gd name="T0" fmla="*/ 1 w 60"/>
                <a:gd name="T1" fmla="*/ 46 h 46"/>
                <a:gd name="T2" fmla="*/ 60 w 60"/>
                <a:gd name="T3" fmla="*/ 1 h 46"/>
                <a:gd name="T4" fmla="*/ 60 w 60"/>
                <a:gd name="T5" fmla="*/ 0 h 46"/>
                <a:gd name="T6" fmla="*/ 23 w 60"/>
                <a:gd name="T7" fmla="*/ 19 h 46"/>
                <a:gd name="T8" fmla="*/ 1 w 60"/>
                <a:gd name="T9" fmla="*/ 46 h 46"/>
                <a:gd name="T10" fmla="*/ 1 w 60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6">
                  <a:moveTo>
                    <a:pt x="1" y="46"/>
                  </a:moveTo>
                  <a:cubicBezTo>
                    <a:pt x="17" y="25"/>
                    <a:pt x="37" y="12"/>
                    <a:pt x="60" y="1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7" y="3"/>
                    <a:pt x="33" y="11"/>
                    <a:pt x="23" y="19"/>
                  </a:cubicBezTo>
                  <a:cubicBezTo>
                    <a:pt x="13" y="26"/>
                    <a:pt x="6" y="34"/>
                    <a:pt x="1" y="46"/>
                  </a:cubicBezTo>
                  <a:cubicBezTo>
                    <a:pt x="0" y="46"/>
                    <a:pt x="1" y="46"/>
                    <a:pt x="1" y="4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3">
              <a:extLst>
                <a:ext uri="{FF2B5EF4-FFF2-40B4-BE49-F238E27FC236}">
                  <a16:creationId xmlns:a16="http://schemas.microsoft.com/office/drawing/2014/main" id="{142617BD-873E-40BB-BE48-B65C64B43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320" y="1975496"/>
              <a:ext cx="250111" cy="242999"/>
            </a:xfrm>
            <a:custGeom>
              <a:avLst/>
              <a:gdLst>
                <a:gd name="T0" fmla="*/ 15 w 89"/>
                <a:gd name="T1" fmla="*/ 0 h 86"/>
                <a:gd name="T2" fmla="*/ 6 w 89"/>
                <a:gd name="T3" fmla="*/ 11 h 86"/>
                <a:gd name="T4" fmla="*/ 2 w 89"/>
                <a:gd name="T5" fmla="*/ 24 h 86"/>
                <a:gd name="T6" fmla="*/ 4 w 89"/>
                <a:gd name="T7" fmla="*/ 30 h 86"/>
                <a:gd name="T8" fmla="*/ 10 w 89"/>
                <a:gd name="T9" fmla="*/ 33 h 86"/>
                <a:gd name="T10" fmla="*/ 22 w 89"/>
                <a:gd name="T11" fmla="*/ 31 h 86"/>
                <a:gd name="T12" fmla="*/ 31 w 89"/>
                <a:gd name="T13" fmla="*/ 25 h 86"/>
                <a:gd name="T14" fmla="*/ 24 w 89"/>
                <a:gd name="T15" fmla="*/ 33 h 86"/>
                <a:gd name="T16" fmla="*/ 18 w 89"/>
                <a:gd name="T17" fmla="*/ 45 h 86"/>
                <a:gd name="T18" fmla="*/ 18 w 89"/>
                <a:gd name="T19" fmla="*/ 58 h 86"/>
                <a:gd name="T20" fmla="*/ 28 w 89"/>
                <a:gd name="T21" fmla="*/ 62 h 86"/>
                <a:gd name="T22" fmla="*/ 39 w 89"/>
                <a:gd name="T23" fmla="*/ 56 h 86"/>
                <a:gd name="T24" fmla="*/ 48 w 89"/>
                <a:gd name="T25" fmla="*/ 47 h 86"/>
                <a:gd name="T26" fmla="*/ 43 w 89"/>
                <a:gd name="T27" fmla="*/ 58 h 86"/>
                <a:gd name="T28" fmla="*/ 39 w 89"/>
                <a:gd name="T29" fmla="*/ 68 h 86"/>
                <a:gd name="T30" fmla="*/ 39 w 89"/>
                <a:gd name="T31" fmla="*/ 77 h 86"/>
                <a:gd name="T32" fmla="*/ 46 w 89"/>
                <a:gd name="T33" fmla="*/ 82 h 86"/>
                <a:gd name="T34" fmla="*/ 55 w 89"/>
                <a:gd name="T35" fmla="*/ 79 h 86"/>
                <a:gd name="T36" fmla="*/ 71 w 89"/>
                <a:gd name="T37" fmla="*/ 66 h 86"/>
                <a:gd name="T38" fmla="*/ 80 w 89"/>
                <a:gd name="T39" fmla="*/ 59 h 86"/>
                <a:gd name="T40" fmla="*/ 89 w 89"/>
                <a:gd name="T41" fmla="*/ 54 h 86"/>
                <a:gd name="T42" fmla="*/ 80 w 89"/>
                <a:gd name="T43" fmla="*/ 60 h 86"/>
                <a:gd name="T44" fmla="*/ 73 w 89"/>
                <a:gd name="T45" fmla="*/ 67 h 86"/>
                <a:gd name="T46" fmla="*/ 56 w 89"/>
                <a:gd name="T47" fmla="*/ 82 h 86"/>
                <a:gd name="T48" fmla="*/ 46 w 89"/>
                <a:gd name="T49" fmla="*/ 86 h 86"/>
                <a:gd name="T50" fmla="*/ 36 w 89"/>
                <a:gd name="T51" fmla="*/ 79 h 86"/>
                <a:gd name="T52" fmla="*/ 35 w 89"/>
                <a:gd name="T53" fmla="*/ 67 h 86"/>
                <a:gd name="T54" fmla="*/ 39 w 89"/>
                <a:gd name="T55" fmla="*/ 56 h 86"/>
                <a:gd name="T56" fmla="*/ 42 w 89"/>
                <a:gd name="T57" fmla="*/ 59 h 86"/>
                <a:gd name="T58" fmla="*/ 29 w 89"/>
                <a:gd name="T59" fmla="*/ 67 h 86"/>
                <a:gd name="T60" fmla="*/ 20 w 89"/>
                <a:gd name="T61" fmla="*/ 66 h 86"/>
                <a:gd name="T62" fmla="*/ 14 w 89"/>
                <a:gd name="T63" fmla="*/ 60 h 86"/>
                <a:gd name="T64" fmla="*/ 14 w 89"/>
                <a:gd name="T65" fmla="*/ 44 h 86"/>
                <a:gd name="T66" fmla="*/ 21 w 89"/>
                <a:gd name="T67" fmla="*/ 31 h 86"/>
                <a:gd name="T68" fmla="*/ 24 w 89"/>
                <a:gd name="T69" fmla="*/ 34 h 86"/>
                <a:gd name="T70" fmla="*/ 9 w 89"/>
                <a:gd name="T71" fmla="*/ 36 h 86"/>
                <a:gd name="T72" fmla="*/ 2 w 89"/>
                <a:gd name="T73" fmla="*/ 31 h 86"/>
                <a:gd name="T74" fmla="*/ 0 w 89"/>
                <a:gd name="T75" fmla="*/ 24 h 86"/>
                <a:gd name="T76" fmla="*/ 5 w 89"/>
                <a:gd name="T77" fmla="*/ 10 h 86"/>
                <a:gd name="T78" fmla="*/ 15 w 89"/>
                <a:gd name="T7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9" h="86">
                  <a:moveTo>
                    <a:pt x="15" y="0"/>
                  </a:moveTo>
                  <a:cubicBezTo>
                    <a:pt x="12" y="3"/>
                    <a:pt x="9" y="7"/>
                    <a:pt x="6" y="11"/>
                  </a:cubicBezTo>
                  <a:cubicBezTo>
                    <a:pt x="4" y="15"/>
                    <a:pt x="2" y="19"/>
                    <a:pt x="2" y="24"/>
                  </a:cubicBezTo>
                  <a:cubicBezTo>
                    <a:pt x="2" y="26"/>
                    <a:pt x="3" y="28"/>
                    <a:pt x="4" y="30"/>
                  </a:cubicBezTo>
                  <a:cubicBezTo>
                    <a:pt x="6" y="31"/>
                    <a:pt x="8" y="32"/>
                    <a:pt x="10" y="33"/>
                  </a:cubicBezTo>
                  <a:cubicBezTo>
                    <a:pt x="14" y="34"/>
                    <a:pt x="18" y="33"/>
                    <a:pt x="22" y="31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1" y="37"/>
                    <a:pt x="19" y="41"/>
                    <a:pt x="18" y="45"/>
                  </a:cubicBezTo>
                  <a:cubicBezTo>
                    <a:pt x="16" y="50"/>
                    <a:pt x="16" y="54"/>
                    <a:pt x="18" y="58"/>
                  </a:cubicBezTo>
                  <a:cubicBezTo>
                    <a:pt x="20" y="61"/>
                    <a:pt x="24" y="63"/>
                    <a:pt x="28" y="62"/>
                  </a:cubicBezTo>
                  <a:cubicBezTo>
                    <a:pt x="32" y="61"/>
                    <a:pt x="36" y="59"/>
                    <a:pt x="39" y="5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1" y="61"/>
                    <a:pt x="40" y="64"/>
                    <a:pt x="39" y="68"/>
                  </a:cubicBezTo>
                  <a:cubicBezTo>
                    <a:pt x="38" y="71"/>
                    <a:pt x="38" y="74"/>
                    <a:pt x="39" y="77"/>
                  </a:cubicBezTo>
                  <a:cubicBezTo>
                    <a:pt x="40" y="80"/>
                    <a:pt x="43" y="82"/>
                    <a:pt x="46" y="82"/>
                  </a:cubicBezTo>
                  <a:cubicBezTo>
                    <a:pt x="49" y="82"/>
                    <a:pt x="52" y="81"/>
                    <a:pt x="55" y="79"/>
                  </a:cubicBezTo>
                  <a:cubicBezTo>
                    <a:pt x="61" y="76"/>
                    <a:pt x="66" y="71"/>
                    <a:pt x="71" y="66"/>
                  </a:cubicBezTo>
                  <a:cubicBezTo>
                    <a:pt x="74" y="64"/>
                    <a:pt x="77" y="61"/>
                    <a:pt x="80" y="59"/>
                  </a:cubicBezTo>
                  <a:cubicBezTo>
                    <a:pt x="83" y="57"/>
                    <a:pt x="86" y="54"/>
                    <a:pt x="89" y="54"/>
                  </a:cubicBezTo>
                  <a:cubicBezTo>
                    <a:pt x="86" y="55"/>
                    <a:pt x="83" y="57"/>
                    <a:pt x="80" y="60"/>
                  </a:cubicBezTo>
                  <a:cubicBezTo>
                    <a:pt x="78" y="62"/>
                    <a:pt x="75" y="65"/>
                    <a:pt x="73" y="67"/>
                  </a:cubicBezTo>
                  <a:cubicBezTo>
                    <a:pt x="68" y="72"/>
                    <a:pt x="63" y="77"/>
                    <a:pt x="56" y="82"/>
                  </a:cubicBezTo>
                  <a:cubicBezTo>
                    <a:pt x="53" y="84"/>
                    <a:pt x="50" y="86"/>
                    <a:pt x="46" y="86"/>
                  </a:cubicBezTo>
                  <a:cubicBezTo>
                    <a:pt x="41" y="86"/>
                    <a:pt x="37" y="82"/>
                    <a:pt x="36" y="79"/>
                  </a:cubicBezTo>
                  <a:cubicBezTo>
                    <a:pt x="34" y="75"/>
                    <a:pt x="34" y="71"/>
                    <a:pt x="35" y="67"/>
                  </a:cubicBezTo>
                  <a:cubicBezTo>
                    <a:pt x="36" y="63"/>
                    <a:pt x="37" y="60"/>
                    <a:pt x="39" y="56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38" y="62"/>
                    <a:pt x="34" y="65"/>
                    <a:pt x="29" y="67"/>
                  </a:cubicBezTo>
                  <a:cubicBezTo>
                    <a:pt x="26" y="67"/>
                    <a:pt x="23" y="67"/>
                    <a:pt x="20" y="66"/>
                  </a:cubicBezTo>
                  <a:cubicBezTo>
                    <a:pt x="18" y="64"/>
                    <a:pt x="16" y="62"/>
                    <a:pt x="14" y="60"/>
                  </a:cubicBezTo>
                  <a:cubicBezTo>
                    <a:pt x="12" y="55"/>
                    <a:pt x="12" y="49"/>
                    <a:pt x="14" y="44"/>
                  </a:cubicBezTo>
                  <a:cubicBezTo>
                    <a:pt x="16" y="39"/>
                    <a:pt x="18" y="35"/>
                    <a:pt x="21" y="31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19" y="36"/>
                    <a:pt x="14" y="38"/>
                    <a:pt x="9" y="36"/>
                  </a:cubicBezTo>
                  <a:cubicBezTo>
                    <a:pt x="6" y="35"/>
                    <a:pt x="4" y="33"/>
                    <a:pt x="2" y="31"/>
                  </a:cubicBezTo>
                  <a:cubicBezTo>
                    <a:pt x="1" y="29"/>
                    <a:pt x="0" y="26"/>
                    <a:pt x="0" y="24"/>
                  </a:cubicBezTo>
                  <a:cubicBezTo>
                    <a:pt x="0" y="19"/>
                    <a:pt x="3" y="14"/>
                    <a:pt x="5" y="10"/>
                  </a:cubicBezTo>
                  <a:cubicBezTo>
                    <a:pt x="8" y="6"/>
                    <a:pt x="11" y="3"/>
                    <a:pt x="1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4">
              <a:extLst>
                <a:ext uri="{FF2B5EF4-FFF2-40B4-BE49-F238E27FC236}">
                  <a16:creationId xmlns:a16="http://schemas.microsoft.com/office/drawing/2014/main" id="{DCAB6743-FE3B-4A43-8147-67A9E0936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604" y="1837994"/>
              <a:ext cx="267891" cy="315306"/>
            </a:xfrm>
            <a:custGeom>
              <a:avLst/>
              <a:gdLst>
                <a:gd name="T0" fmla="*/ 0 w 95"/>
                <a:gd name="T1" fmla="*/ 101 h 112"/>
                <a:gd name="T2" fmla="*/ 45 w 95"/>
                <a:gd name="T3" fmla="*/ 22 h 112"/>
                <a:gd name="T4" fmla="*/ 87 w 95"/>
                <a:gd name="T5" fmla="*/ 78 h 112"/>
                <a:gd name="T6" fmla="*/ 47 w 95"/>
                <a:gd name="T7" fmla="*/ 63 h 112"/>
                <a:gd name="T8" fmla="*/ 26 w 95"/>
                <a:gd name="T9" fmla="*/ 107 h 112"/>
                <a:gd name="T10" fmla="*/ 0 w 95"/>
                <a:gd name="T11" fmla="*/ 10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112">
                  <a:moveTo>
                    <a:pt x="0" y="101"/>
                  </a:moveTo>
                  <a:cubicBezTo>
                    <a:pt x="0" y="101"/>
                    <a:pt x="7" y="0"/>
                    <a:pt x="45" y="22"/>
                  </a:cubicBezTo>
                  <a:cubicBezTo>
                    <a:pt x="57" y="29"/>
                    <a:pt x="95" y="70"/>
                    <a:pt x="87" y="78"/>
                  </a:cubicBezTo>
                  <a:cubicBezTo>
                    <a:pt x="77" y="88"/>
                    <a:pt x="58" y="74"/>
                    <a:pt x="47" y="63"/>
                  </a:cubicBezTo>
                  <a:cubicBezTo>
                    <a:pt x="47" y="63"/>
                    <a:pt x="49" y="98"/>
                    <a:pt x="26" y="107"/>
                  </a:cubicBezTo>
                  <a:cubicBezTo>
                    <a:pt x="11" y="112"/>
                    <a:pt x="0" y="101"/>
                    <a:pt x="0" y="101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5">
              <a:extLst>
                <a:ext uri="{FF2B5EF4-FFF2-40B4-BE49-F238E27FC236}">
                  <a16:creationId xmlns:a16="http://schemas.microsoft.com/office/drawing/2014/main" id="{D7334D24-848C-4A24-A02D-60FD306E8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320" y="1897262"/>
              <a:ext cx="168321" cy="233516"/>
            </a:xfrm>
            <a:custGeom>
              <a:avLst/>
              <a:gdLst>
                <a:gd name="T0" fmla="*/ 11 w 60"/>
                <a:gd name="T1" fmla="*/ 0 h 83"/>
                <a:gd name="T2" fmla="*/ 24 w 60"/>
                <a:gd name="T3" fmla="*/ 8 h 83"/>
                <a:gd name="T4" fmla="*/ 36 w 60"/>
                <a:gd name="T5" fmla="*/ 19 h 83"/>
                <a:gd name="T6" fmla="*/ 55 w 60"/>
                <a:gd name="T7" fmla="*/ 43 h 83"/>
                <a:gd name="T8" fmla="*/ 59 w 60"/>
                <a:gd name="T9" fmla="*/ 50 h 83"/>
                <a:gd name="T10" fmla="*/ 59 w 60"/>
                <a:gd name="T11" fmla="*/ 55 h 83"/>
                <a:gd name="T12" fmla="*/ 59 w 60"/>
                <a:gd name="T13" fmla="*/ 57 h 83"/>
                <a:gd name="T14" fmla="*/ 57 w 60"/>
                <a:gd name="T15" fmla="*/ 59 h 83"/>
                <a:gd name="T16" fmla="*/ 49 w 60"/>
                <a:gd name="T17" fmla="*/ 63 h 83"/>
                <a:gd name="T18" fmla="*/ 40 w 60"/>
                <a:gd name="T19" fmla="*/ 62 h 83"/>
                <a:gd name="T20" fmla="*/ 26 w 60"/>
                <a:gd name="T21" fmla="*/ 54 h 83"/>
                <a:gd name="T22" fmla="*/ 15 w 60"/>
                <a:gd name="T23" fmla="*/ 43 h 83"/>
                <a:gd name="T24" fmla="*/ 18 w 60"/>
                <a:gd name="T25" fmla="*/ 42 h 83"/>
                <a:gd name="T26" fmla="*/ 17 w 60"/>
                <a:gd name="T27" fmla="*/ 54 h 83"/>
                <a:gd name="T28" fmla="*/ 14 w 60"/>
                <a:gd name="T29" fmla="*/ 65 h 83"/>
                <a:gd name="T30" fmla="*/ 8 w 60"/>
                <a:gd name="T31" fmla="*/ 76 h 83"/>
                <a:gd name="T32" fmla="*/ 0 w 60"/>
                <a:gd name="T33" fmla="*/ 83 h 83"/>
                <a:gd name="T34" fmla="*/ 7 w 60"/>
                <a:gd name="T35" fmla="*/ 75 h 83"/>
                <a:gd name="T36" fmla="*/ 12 w 60"/>
                <a:gd name="T37" fmla="*/ 65 h 83"/>
                <a:gd name="T38" fmla="*/ 14 w 60"/>
                <a:gd name="T39" fmla="*/ 54 h 83"/>
                <a:gd name="T40" fmla="*/ 14 w 60"/>
                <a:gd name="T41" fmla="*/ 42 h 83"/>
                <a:gd name="T42" fmla="*/ 14 w 60"/>
                <a:gd name="T43" fmla="*/ 38 h 83"/>
                <a:gd name="T44" fmla="*/ 17 w 60"/>
                <a:gd name="T45" fmla="*/ 41 h 83"/>
                <a:gd name="T46" fmla="*/ 29 w 60"/>
                <a:gd name="T47" fmla="*/ 51 h 83"/>
                <a:gd name="T48" fmla="*/ 42 w 60"/>
                <a:gd name="T49" fmla="*/ 57 h 83"/>
                <a:gd name="T50" fmla="*/ 54 w 60"/>
                <a:gd name="T51" fmla="*/ 56 h 83"/>
                <a:gd name="T52" fmla="*/ 52 w 60"/>
                <a:gd name="T53" fmla="*/ 45 h 83"/>
                <a:gd name="T54" fmla="*/ 43 w 60"/>
                <a:gd name="T55" fmla="*/ 32 h 83"/>
                <a:gd name="T56" fmla="*/ 34 w 60"/>
                <a:gd name="T57" fmla="*/ 20 h 83"/>
                <a:gd name="T58" fmla="*/ 11 w 60"/>
                <a:gd name="T5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83">
                  <a:moveTo>
                    <a:pt x="11" y="0"/>
                  </a:moveTo>
                  <a:cubicBezTo>
                    <a:pt x="16" y="2"/>
                    <a:pt x="20" y="5"/>
                    <a:pt x="24" y="8"/>
                  </a:cubicBezTo>
                  <a:cubicBezTo>
                    <a:pt x="28" y="11"/>
                    <a:pt x="32" y="15"/>
                    <a:pt x="36" y="19"/>
                  </a:cubicBezTo>
                  <a:cubicBezTo>
                    <a:pt x="43" y="26"/>
                    <a:pt x="50" y="34"/>
                    <a:pt x="55" y="43"/>
                  </a:cubicBezTo>
                  <a:cubicBezTo>
                    <a:pt x="57" y="45"/>
                    <a:pt x="58" y="47"/>
                    <a:pt x="59" y="50"/>
                  </a:cubicBezTo>
                  <a:cubicBezTo>
                    <a:pt x="59" y="51"/>
                    <a:pt x="60" y="53"/>
                    <a:pt x="59" y="55"/>
                  </a:cubicBezTo>
                  <a:cubicBezTo>
                    <a:pt x="59" y="55"/>
                    <a:pt x="59" y="56"/>
                    <a:pt x="59" y="57"/>
                  </a:cubicBezTo>
                  <a:cubicBezTo>
                    <a:pt x="58" y="58"/>
                    <a:pt x="58" y="59"/>
                    <a:pt x="57" y="59"/>
                  </a:cubicBezTo>
                  <a:cubicBezTo>
                    <a:pt x="55" y="62"/>
                    <a:pt x="52" y="62"/>
                    <a:pt x="49" y="63"/>
                  </a:cubicBezTo>
                  <a:cubicBezTo>
                    <a:pt x="46" y="63"/>
                    <a:pt x="43" y="62"/>
                    <a:pt x="40" y="62"/>
                  </a:cubicBezTo>
                  <a:cubicBezTo>
                    <a:pt x="35" y="60"/>
                    <a:pt x="31" y="57"/>
                    <a:pt x="26" y="54"/>
                  </a:cubicBezTo>
                  <a:cubicBezTo>
                    <a:pt x="22" y="51"/>
                    <a:pt x="18" y="47"/>
                    <a:pt x="15" y="43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46"/>
                    <a:pt x="18" y="50"/>
                    <a:pt x="17" y="54"/>
                  </a:cubicBezTo>
                  <a:cubicBezTo>
                    <a:pt x="16" y="58"/>
                    <a:pt x="15" y="62"/>
                    <a:pt x="14" y="65"/>
                  </a:cubicBezTo>
                  <a:cubicBezTo>
                    <a:pt x="13" y="69"/>
                    <a:pt x="11" y="72"/>
                    <a:pt x="8" y="76"/>
                  </a:cubicBezTo>
                  <a:cubicBezTo>
                    <a:pt x="6" y="79"/>
                    <a:pt x="3" y="81"/>
                    <a:pt x="0" y="83"/>
                  </a:cubicBezTo>
                  <a:cubicBezTo>
                    <a:pt x="3" y="81"/>
                    <a:pt x="5" y="78"/>
                    <a:pt x="7" y="75"/>
                  </a:cubicBezTo>
                  <a:cubicBezTo>
                    <a:pt x="9" y="72"/>
                    <a:pt x="11" y="68"/>
                    <a:pt x="12" y="65"/>
                  </a:cubicBezTo>
                  <a:cubicBezTo>
                    <a:pt x="13" y="61"/>
                    <a:pt x="14" y="57"/>
                    <a:pt x="14" y="54"/>
                  </a:cubicBezTo>
                  <a:cubicBezTo>
                    <a:pt x="14" y="50"/>
                    <a:pt x="15" y="46"/>
                    <a:pt x="14" y="42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1" y="44"/>
                    <a:pt x="25" y="48"/>
                    <a:pt x="29" y="51"/>
                  </a:cubicBezTo>
                  <a:cubicBezTo>
                    <a:pt x="33" y="53"/>
                    <a:pt x="37" y="56"/>
                    <a:pt x="42" y="57"/>
                  </a:cubicBezTo>
                  <a:cubicBezTo>
                    <a:pt x="46" y="59"/>
                    <a:pt x="51" y="59"/>
                    <a:pt x="54" y="56"/>
                  </a:cubicBezTo>
                  <a:cubicBezTo>
                    <a:pt x="57" y="54"/>
                    <a:pt x="54" y="49"/>
                    <a:pt x="52" y="45"/>
                  </a:cubicBezTo>
                  <a:cubicBezTo>
                    <a:pt x="49" y="40"/>
                    <a:pt x="46" y="36"/>
                    <a:pt x="43" y="32"/>
                  </a:cubicBezTo>
                  <a:cubicBezTo>
                    <a:pt x="40" y="28"/>
                    <a:pt x="37" y="24"/>
                    <a:pt x="34" y="20"/>
                  </a:cubicBezTo>
                  <a:cubicBezTo>
                    <a:pt x="27" y="13"/>
                    <a:pt x="20" y="5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6">
              <a:extLst>
                <a:ext uri="{FF2B5EF4-FFF2-40B4-BE49-F238E27FC236}">
                  <a16:creationId xmlns:a16="http://schemas.microsoft.com/office/drawing/2014/main" id="{F9C0339E-338B-4A44-B48F-8DC4257B8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032" y="2130778"/>
              <a:ext cx="1052600" cy="546451"/>
            </a:xfrm>
            <a:custGeom>
              <a:avLst/>
              <a:gdLst>
                <a:gd name="T0" fmla="*/ 300 w 374"/>
                <a:gd name="T1" fmla="*/ 0 h 194"/>
                <a:gd name="T2" fmla="*/ 374 w 374"/>
                <a:gd name="T3" fmla="*/ 108 h 194"/>
                <a:gd name="T4" fmla="*/ 231 w 374"/>
                <a:gd name="T5" fmla="*/ 188 h 194"/>
                <a:gd name="T6" fmla="*/ 59 w 374"/>
                <a:gd name="T7" fmla="*/ 119 h 194"/>
                <a:gd name="T8" fmla="*/ 78 w 374"/>
                <a:gd name="T9" fmla="*/ 62 h 194"/>
                <a:gd name="T10" fmla="*/ 219 w 374"/>
                <a:gd name="T11" fmla="*/ 81 h 194"/>
                <a:gd name="T12" fmla="*/ 300 w 374"/>
                <a:gd name="T13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194">
                  <a:moveTo>
                    <a:pt x="300" y="0"/>
                  </a:moveTo>
                  <a:cubicBezTo>
                    <a:pt x="374" y="108"/>
                    <a:pt x="374" y="108"/>
                    <a:pt x="374" y="108"/>
                  </a:cubicBezTo>
                  <a:cubicBezTo>
                    <a:pt x="374" y="108"/>
                    <a:pt x="295" y="172"/>
                    <a:pt x="231" y="188"/>
                  </a:cubicBezTo>
                  <a:cubicBezTo>
                    <a:pt x="204" y="194"/>
                    <a:pt x="103" y="147"/>
                    <a:pt x="59" y="119"/>
                  </a:cubicBezTo>
                  <a:cubicBezTo>
                    <a:pt x="14" y="91"/>
                    <a:pt x="0" y="52"/>
                    <a:pt x="78" y="62"/>
                  </a:cubicBezTo>
                  <a:cubicBezTo>
                    <a:pt x="156" y="72"/>
                    <a:pt x="214" y="83"/>
                    <a:pt x="219" y="81"/>
                  </a:cubicBezTo>
                  <a:cubicBezTo>
                    <a:pt x="224" y="80"/>
                    <a:pt x="300" y="0"/>
                    <a:pt x="300" y="0"/>
                  </a:cubicBezTo>
                  <a:close/>
                </a:path>
              </a:pathLst>
            </a:cu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7">
              <a:extLst>
                <a:ext uri="{FF2B5EF4-FFF2-40B4-BE49-F238E27FC236}">
                  <a16:creationId xmlns:a16="http://schemas.microsoft.com/office/drawing/2014/main" id="{97443DEB-2D18-4FD2-B6DB-69E8143BD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9154" y="2198344"/>
              <a:ext cx="938805" cy="444510"/>
            </a:xfrm>
            <a:custGeom>
              <a:avLst/>
              <a:gdLst>
                <a:gd name="T0" fmla="*/ 0 w 334"/>
                <a:gd name="T1" fmla="*/ 46 h 158"/>
                <a:gd name="T2" fmla="*/ 6 w 334"/>
                <a:gd name="T3" fmla="*/ 47 h 158"/>
                <a:gd name="T4" fmla="*/ 118 w 334"/>
                <a:gd name="T5" fmla="*/ 120 h 158"/>
                <a:gd name="T6" fmla="*/ 119 w 334"/>
                <a:gd name="T7" fmla="*/ 118 h 158"/>
                <a:gd name="T8" fmla="*/ 109 w 334"/>
                <a:gd name="T9" fmla="*/ 111 h 158"/>
                <a:gd name="T10" fmla="*/ 203 w 334"/>
                <a:gd name="T11" fmla="*/ 115 h 158"/>
                <a:gd name="T12" fmla="*/ 209 w 334"/>
                <a:gd name="T13" fmla="*/ 119 h 158"/>
                <a:gd name="T14" fmla="*/ 199 w 334"/>
                <a:gd name="T15" fmla="*/ 110 h 158"/>
                <a:gd name="T16" fmla="*/ 65 w 334"/>
                <a:gd name="T17" fmla="*/ 44 h 158"/>
                <a:gd name="T18" fmla="*/ 75 w 334"/>
                <a:gd name="T19" fmla="*/ 52 h 158"/>
                <a:gd name="T20" fmla="*/ 66 w 334"/>
                <a:gd name="T21" fmla="*/ 43 h 158"/>
                <a:gd name="T22" fmla="*/ 89 w 334"/>
                <a:gd name="T23" fmla="*/ 85 h 158"/>
                <a:gd name="T24" fmla="*/ 76 w 334"/>
                <a:gd name="T25" fmla="*/ 86 h 158"/>
                <a:gd name="T26" fmla="*/ 82 w 334"/>
                <a:gd name="T27" fmla="*/ 87 h 158"/>
                <a:gd name="T28" fmla="*/ 89 w 334"/>
                <a:gd name="T29" fmla="*/ 85 h 158"/>
                <a:gd name="T30" fmla="*/ 321 w 334"/>
                <a:gd name="T31" fmla="*/ 86 h 158"/>
                <a:gd name="T32" fmla="*/ 322 w 334"/>
                <a:gd name="T33" fmla="*/ 88 h 158"/>
                <a:gd name="T34" fmla="*/ 334 w 334"/>
                <a:gd name="T35" fmla="*/ 86 h 158"/>
                <a:gd name="T36" fmla="*/ 34 w 334"/>
                <a:gd name="T37" fmla="*/ 81 h 158"/>
                <a:gd name="T38" fmla="*/ 30 w 334"/>
                <a:gd name="T39" fmla="*/ 87 h 158"/>
                <a:gd name="T40" fmla="*/ 39 w 334"/>
                <a:gd name="T41" fmla="*/ 77 h 158"/>
                <a:gd name="T42" fmla="*/ 128 w 334"/>
                <a:gd name="T43" fmla="*/ 58 h 158"/>
                <a:gd name="T44" fmla="*/ 120 w 334"/>
                <a:gd name="T45" fmla="*/ 68 h 158"/>
                <a:gd name="T46" fmla="*/ 129 w 334"/>
                <a:gd name="T47" fmla="*/ 58 h 158"/>
                <a:gd name="T48" fmla="*/ 163 w 334"/>
                <a:gd name="T49" fmla="*/ 139 h 158"/>
                <a:gd name="T50" fmla="*/ 155 w 334"/>
                <a:gd name="T51" fmla="*/ 149 h 158"/>
                <a:gd name="T52" fmla="*/ 160 w 334"/>
                <a:gd name="T53" fmla="*/ 145 h 158"/>
                <a:gd name="T54" fmla="*/ 163 w 334"/>
                <a:gd name="T55" fmla="*/ 139 h 158"/>
                <a:gd name="T56" fmla="*/ 216 w 334"/>
                <a:gd name="T57" fmla="*/ 157 h 158"/>
                <a:gd name="T58" fmla="*/ 215 w 334"/>
                <a:gd name="T59" fmla="*/ 155 h 158"/>
                <a:gd name="T60" fmla="*/ 203 w 334"/>
                <a:gd name="T61" fmla="*/ 157 h 158"/>
                <a:gd name="T62" fmla="*/ 156 w 334"/>
                <a:gd name="T63" fmla="*/ 97 h 158"/>
                <a:gd name="T64" fmla="*/ 162 w 334"/>
                <a:gd name="T65" fmla="*/ 96 h 158"/>
                <a:gd name="T66" fmla="*/ 150 w 334"/>
                <a:gd name="T67" fmla="*/ 96 h 158"/>
                <a:gd name="T68" fmla="*/ 230 w 334"/>
                <a:gd name="T69" fmla="*/ 29 h 158"/>
                <a:gd name="T70" fmla="*/ 239 w 334"/>
                <a:gd name="T71" fmla="*/ 37 h 158"/>
                <a:gd name="T72" fmla="*/ 230 w 334"/>
                <a:gd name="T73" fmla="*/ 28 h 158"/>
                <a:gd name="T74" fmla="*/ 276 w 334"/>
                <a:gd name="T75" fmla="*/ 96 h 158"/>
                <a:gd name="T76" fmla="*/ 285 w 334"/>
                <a:gd name="T77" fmla="*/ 104 h 158"/>
                <a:gd name="T78" fmla="*/ 281 w 334"/>
                <a:gd name="T79" fmla="*/ 99 h 158"/>
                <a:gd name="T80" fmla="*/ 276 w 334"/>
                <a:gd name="T81" fmla="*/ 96 h 158"/>
                <a:gd name="T82" fmla="*/ 321 w 334"/>
                <a:gd name="T83" fmla="*/ 57 h 158"/>
                <a:gd name="T84" fmla="*/ 321 w 334"/>
                <a:gd name="T85" fmla="*/ 55 h 158"/>
                <a:gd name="T86" fmla="*/ 312 w 334"/>
                <a:gd name="T87" fmla="*/ 48 h 158"/>
                <a:gd name="T88" fmla="*/ 276 w 334"/>
                <a:gd name="T89" fmla="*/ 52 h 158"/>
                <a:gd name="T90" fmla="*/ 272 w 334"/>
                <a:gd name="T91" fmla="*/ 57 h 158"/>
                <a:gd name="T92" fmla="*/ 281 w 334"/>
                <a:gd name="T93" fmla="*/ 48 h 158"/>
                <a:gd name="T94" fmla="*/ 193 w 334"/>
                <a:gd name="T95" fmla="*/ 64 h 158"/>
                <a:gd name="T96" fmla="*/ 186 w 334"/>
                <a:gd name="T97" fmla="*/ 74 h 158"/>
                <a:gd name="T98" fmla="*/ 194 w 334"/>
                <a:gd name="T99" fmla="*/ 64 h 158"/>
                <a:gd name="T100" fmla="*/ 254 w 334"/>
                <a:gd name="T101" fmla="*/ 127 h 158"/>
                <a:gd name="T102" fmla="*/ 245 w 334"/>
                <a:gd name="T103" fmla="*/ 137 h 158"/>
                <a:gd name="T104" fmla="*/ 250 w 334"/>
                <a:gd name="T105" fmla="*/ 133 h 158"/>
                <a:gd name="T106" fmla="*/ 254 w 334"/>
                <a:gd name="T107" fmla="*/ 127 h 158"/>
                <a:gd name="T108" fmla="*/ 281 w 334"/>
                <a:gd name="T109" fmla="*/ 4 h 158"/>
                <a:gd name="T110" fmla="*/ 280 w 334"/>
                <a:gd name="T111" fmla="*/ 3 h 158"/>
                <a:gd name="T112" fmla="*/ 268 w 334"/>
                <a:gd name="T113" fmla="*/ 4 h 158"/>
                <a:gd name="T114" fmla="*/ 231 w 334"/>
                <a:gd name="T115" fmla="*/ 90 h 158"/>
                <a:gd name="T116" fmla="*/ 238 w 334"/>
                <a:gd name="T117" fmla="*/ 88 h 158"/>
                <a:gd name="T118" fmla="*/ 225 w 334"/>
                <a:gd name="T119" fmla="*/ 89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4" h="158">
                  <a:moveTo>
                    <a:pt x="6" y="47"/>
                  </a:moveTo>
                  <a:cubicBezTo>
                    <a:pt x="6" y="47"/>
                    <a:pt x="5" y="47"/>
                    <a:pt x="4" y="47"/>
                  </a:cubicBezTo>
                  <a:cubicBezTo>
                    <a:pt x="3" y="47"/>
                    <a:pt x="2" y="47"/>
                    <a:pt x="1" y="47"/>
                  </a:cubicBezTo>
                  <a:cubicBezTo>
                    <a:pt x="1" y="47"/>
                    <a:pt x="0" y="46"/>
                    <a:pt x="0" y="46"/>
                  </a:cubicBezTo>
                  <a:cubicBezTo>
                    <a:pt x="0" y="45"/>
                    <a:pt x="0" y="45"/>
                    <a:pt x="1" y="44"/>
                  </a:cubicBezTo>
                  <a:cubicBezTo>
                    <a:pt x="1" y="45"/>
                    <a:pt x="1" y="45"/>
                    <a:pt x="2" y="46"/>
                  </a:cubicBezTo>
                  <a:cubicBezTo>
                    <a:pt x="3" y="46"/>
                    <a:pt x="3" y="46"/>
                    <a:pt x="4" y="46"/>
                  </a:cubicBezTo>
                  <a:cubicBezTo>
                    <a:pt x="5" y="47"/>
                    <a:pt x="6" y="47"/>
                    <a:pt x="6" y="47"/>
                  </a:cubicBezTo>
                  <a:close/>
                  <a:moveTo>
                    <a:pt x="111" y="111"/>
                  </a:moveTo>
                  <a:cubicBezTo>
                    <a:pt x="112" y="112"/>
                    <a:pt x="113" y="112"/>
                    <a:pt x="113" y="112"/>
                  </a:cubicBezTo>
                  <a:cubicBezTo>
                    <a:pt x="114" y="113"/>
                    <a:pt x="115" y="114"/>
                    <a:pt x="115" y="115"/>
                  </a:cubicBezTo>
                  <a:cubicBezTo>
                    <a:pt x="115" y="117"/>
                    <a:pt x="116" y="119"/>
                    <a:pt x="118" y="120"/>
                  </a:cubicBezTo>
                  <a:cubicBezTo>
                    <a:pt x="119" y="120"/>
                    <a:pt x="120" y="120"/>
                    <a:pt x="121" y="120"/>
                  </a:cubicBezTo>
                  <a:cubicBezTo>
                    <a:pt x="122" y="120"/>
                    <a:pt x="122" y="120"/>
                    <a:pt x="123" y="120"/>
                  </a:cubicBezTo>
                  <a:cubicBezTo>
                    <a:pt x="122" y="119"/>
                    <a:pt x="122" y="119"/>
                    <a:pt x="121" y="119"/>
                  </a:cubicBezTo>
                  <a:cubicBezTo>
                    <a:pt x="120" y="119"/>
                    <a:pt x="119" y="119"/>
                    <a:pt x="119" y="118"/>
                  </a:cubicBezTo>
                  <a:cubicBezTo>
                    <a:pt x="118" y="118"/>
                    <a:pt x="117" y="116"/>
                    <a:pt x="117" y="115"/>
                  </a:cubicBezTo>
                  <a:cubicBezTo>
                    <a:pt x="117" y="113"/>
                    <a:pt x="116" y="111"/>
                    <a:pt x="114" y="111"/>
                  </a:cubicBezTo>
                  <a:cubicBezTo>
                    <a:pt x="113" y="110"/>
                    <a:pt x="112" y="110"/>
                    <a:pt x="111" y="110"/>
                  </a:cubicBezTo>
                  <a:cubicBezTo>
                    <a:pt x="110" y="111"/>
                    <a:pt x="110" y="111"/>
                    <a:pt x="109" y="111"/>
                  </a:cubicBezTo>
                  <a:cubicBezTo>
                    <a:pt x="110" y="111"/>
                    <a:pt x="110" y="111"/>
                    <a:pt x="111" y="111"/>
                  </a:cubicBezTo>
                  <a:close/>
                  <a:moveTo>
                    <a:pt x="199" y="111"/>
                  </a:moveTo>
                  <a:cubicBezTo>
                    <a:pt x="200" y="112"/>
                    <a:pt x="201" y="112"/>
                    <a:pt x="201" y="112"/>
                  </a:cubicBezTo>
                  <a:cubicBezTo>
                    <a:pt x="202" y="113"/>
                    <a:pt x="203" y="114"/>
                    <a:pt x="203" y="115"/>
                  </a:cubicBezTo>
                  <a:cubicBezTo>
                    <a:pt x="203" y="117"/>
                    <a:pt x="204" y="119"/>
                    <a:pt x="206" y="120"/>
                  </a:cubicBezTo>
                  <a:cubicBezTo>
                    <a:pt x="207" y="120"/>
                    <a:pt x="208" y="120"/>
                    <a:pt x="209" y="120"/>
                  </a:cubicBezTo>
                  <a:cubicBezTo>
                    <a:pt x="210" y="120"/>
                    <a:pt x="210" y="120"/>
                    <a:pt x="211" y="120"/>
                  </a:cubicBezTo>
                  <a:cubicBezTo>
                    <a:pt x="210" y="119"/>
                    <a:pt x="210" y="119"/>
                    <a:pt x="209" y="119"/>
                  </a:cubicBezTo>
                  <a:cubicBezTo>
                    <a:pt x="208" y="119"/>
                    <a:pt x="207" y="119"/>
                    <a:pt x="207" y="118"/>
                  </a:cubicBezTo>
                  <a:cubicBezTo>
                    <a:pt x="206" y="118"/>
                    <a:pt x="205" y="116"/>
                    <a:pt x="205" y="115"/>
                  </a:cubicBezTo>
                  <a:cubicBezTo>
                    <a:pt x="205" y="113"/>
                    <a:pt x="204" y="111"/>
                    <a:pt x="202" y="111"/>
                  </a:cubicBezTo>
                  <a:cubicBezTo>
                    <a:pt x="201" y="110"/>
                    <a:pt x="200" y="110"/>
                    <a:pt x="199" y="110"/>
                  </a:cubicBezTo>
                  <a:cubicBezTo>
                    <a:pt x="198" y="111"/>
                    <a:pt x="198" y="111"/>
                    <a:pt x="197" y="111"/>
                  </a:cubicBezTo>
                  <a:cubicBezTo>
                    <a:pt x="198" y="111"/>
                    <a:pt x="198" y="111"/>
                    <a:pt x="199" y="111"/>
                  </a:cubicBezTo>
                  <a:close/>
                  <a:moveTo>
                    <a:pt x="63" y="44"/>
                  </a:moveTo>
                  <a:cubicBezTo>
                    <a:pt x="64" y="44"/>
                    <a:pt x="64" y="44"/>
                    <a:pt x="65" y="44"/>
                  </a:cubicBezTo>
                  <a:cubicBezTo>
                    <a:pt x="66" y="45"/>
                    <a:pt x="67" y="46"/>
                    <a:pt x="67" y="47"/>
                  </a:cubicBezTo>
                  <a:cubicBezTo>
                    <a:pt x="67" y="49"/>
                    <a:pt x="68" y="51"/>
                    <a:pt x="70" y="52"/>
                  </a:cubicBezTo>
                  <a:cubicBezTo>
                    <a:pt x="71" y="52"/>
                    <a:pt x="72" y="52"/>
                    <a:pt x="72" y="52"/>
                  </a:cubicBezTo>
                  <a:cubicBezTo>
                    <a:pt x="73" y="52"/>
                    <a:pt x="74" y="52"/>
                    <a:pt x="75" y="52"/>
                  </a:cubicBezTo>
                  <a:cubicBezTo>
                    <a:pt x="74" y="51"/>
                    <a:pt x="73" y="51"/>
                    <a:pt x="72" y="51"/>
                  </a:cubicBezTo>
                  <a:cubicBezTo>
                    <a:pt x="72" y="51"/>
                    <a:pt x="71" y="51"/>
                    <a:pt x="70" y="51"/>
                  </a:cubicBezTo>
                  <a:cubicBezTo>
                    <a:pt x="69" y="50"/>
                    <a:pt x="69" y="49"/>
                    <a:pt x="69" y="47"/>
                  </a:cubicBezTo>
                  <a:cubicBezTo>
                    <a:pt x="69" y="45"/>
                    <a:pt x="67" y="43"/>
                    <a:pt x="66" y="43"/>
                  </a:cubicBezTo>
                  <a:cubicBezTo>
                    <a:pt x="65" y="42"/>
                    <a:pt x="64" y="43"/>
                    <a:pt x="63" y="43"/>
                  </a:cubicBezTo>
                  <a:cubicBezTo>
                    <a:pt x="62" y="43"/>
                    <a:pt x="61" y="43"/>
                    <a:pt x="61" y="43"/>
                  </a:cubicBezTo>
                  <a:cubicBezTo>
                    <a:pt x="61" y="43"/>
                    <a:pt x="62" y="43"/>
                    <a:pt x="63" y="44"/>
                  </a:cubicBezTo>
                  <a:close/>
                  <a:moveTo>
                    <a:pt x="89" y="85"/>
                  </a:moveTo>
                  <a:cubicBezTo>
                    <a:pt x="88" y="86"/>
                    <a:pt x="87" y="86"/>
                    <a:pt x="87" y="86"/>
                  </a:cubicBezTo>
                  <a:cubicBezTo>
                    <a:pt x="85" y="87"/>
                    <a:pt x="84" y="86"/>
                    <a:pt x="83" y="85"/>
                  </a:cubicBezTo>
                  <a:cubicBezTo>
                    <a:pt x="82" y="84"/>
                    <a:pt x="80" y="84"/>
                    <a:pt x="78" y="84"/>
                  </a:cubicBezTo>
                  <a:cubicBezTo>
                    <a:pt x="77" y="85"/>
                    <a:pt x="76" y="85"/>
                    <a:pt x="76" y="86"/>
                  </a:cubicBezTo>
                  <a:cubicBezTo>
                    <a:pt x="75" y="87"/>
                    <a:pt x="75" y="87"/>
                    <a:pt x="74" y="88"/>
                  </a:cubicBezTo>
                  <a:cubicBezTo>
                    <a:pt x="75" y="88"/>
                    <a:pt x="76" y="87"/>
                    <a:pt x="76" y="87"/>
                  </a:cubicBezTo>
                  <a:cubicBezTo>
                    <a:pt x="77" y="86"/>
                    <a:pt x="78" y="86"/>
                    <a:pt x="78" y="86"/>
                  </a:cubicBezTo>
                  <a:cubicBezTo>
                    <a:pt x="80" y="86"/>
                    <a:pt x="81" y="86"/>
                    <a:pt x="82" y="87"/>
                  </a:cubicBezTo>
                  <a:cubicBezTo>
                    <a:pt x="83" y="88"/>
                    <a:pt x="86" y="89"/>
                    <a:pt x="87" y="88"/>
                  </a:cubicBezTo>
                  <a:cubicBezTo>
                    <a:pt x="88" y="87"/>
                    <a:pt x="89" y="87"/>
                    <a:pt x="89" y="86"/>
                  </a:cubicBezTo>
                  <a:cubicBezTo>
                    <a:pt x="90" y="85"/>
                    <a:pt x="90" y="85"/>
                    <a:pt x="91" y="84"/>
                  </a:cubicBezTo>
                  <a:cubicBezTo>
                    <a:pt x="90" y="84"/>
                    <a:pt x="89" y="85"/>
                    <a:pt x="89" y="85"/>
                  </a:cubicBezTo>
                  <a:close/>
                  <a:moveTo>
                    <a:pt x="332" y="88"/>
                  </a:moveTo>
                  <a:cubicBezTo>
                    <a:pt x="331" y="88"/>
                    <a:pt x="331" y="88"/>
                    <a:pt x="330" y="89"/>
                  </a:cubicBezTo>
                  <a:cubicBezTo>
                    <a:pt x="329" y="89"/>
                    <a:pt x="327" y="88"/>
                    <a:pt x="326" y="88"/>
                  </a:cubicBezTo>
                  <a:cubicBezTo>
                    <a:pt x="325" y="86"/>
                    <a:pt x="323" y="86"/>
                    <a:pt x="321" y="86"/>
                  </a:cubicBezTo>
                  <a:cubicBezTo>
                    <a:pt x="320" y="87"/>
                    <a:pt x="319" y="88"/>
                    <a:pt x="319" y="88"/>
                  </a:cubicBezTo>
                  <a:cubicBezTo>
                    <a:pt x="319" y="89"/>
                    <a:pt x="318" y="90"/>
                    <a:pt x="318" y="90"/>
                  </a:cubicBezTo>
                  <a:cubicBezTo>
                    <a:pt x="318" y="90"/>
                    <a:pt x="319" y="89"/>
                    <a:pt x="320" y="89"/>
                  </a:cubicBezTo>
                  <a:cubicBezTo>
                    <a:pt x="320" y="88"/>
                    <a:pt x="321" y="88"/>
                    <a:pt x="322" y="88"/>
                  </a:cubicBezTo>
                  <a:cubicBezTo>
                    <a:pt x="323" y="88"/>
                    <a:pt x="324" y="88"/>
                    <a:pt x="325" y="89"/>
                  </a:cubicBezTo>
                  <a:cubicBezTo>
                    <a:pt x="327" y="90"/>
                    <a:pt x="329" y="91"/>
                    <a:pt x="331" y="90"/>
                  </a:cubicBezTo>
                  <a:cubicBezTo>
                    <a:pt x="331" y="90"/>
                    <a:pt x="332" y="89"/>
                    <a:pt x="333" y="88"/>
                  </a:cubicBezTo>
                  <a:cubicBezTo>
                    <a:pt x="333" y="88"/>
                    <a:pt x="333" y="87"/>
                    <a:pt x="334" y="86"/>
                  </a:cubicBezTo>
                  <a:cubicBezTo>
                    <a:pt x="333" y="87"/>
                    <a:pt x="333" y="87"/>
                    <a:pt x="332" y="88"/>
                  </a:cubicBezTo>
                  <a:close/>
                  <a:moveTo>
                    <a:pt x="38" y="77"/>
                  </a:moveTo>
                  <a:cubicBezTo>
                    <a:pt x="38" y="78"/>
                    <a:pt x="38" y="78"/>
                    <a:pt x="37" y="79"/>
                  </a:cubicBezTo>
                  <a:cubicBezTo>
                    <a:pt x="37" y="80"/>
                    <a:pt x="35" y="81"/>
                    <a:pt x="34" y="81"/>
                  </a:cubicBezTo>
                  <a:cubicBezTo>
                    <a:pt x="32" y="81"/>
                    <a:pt x="30" y="82"/>
                    <a:pt x="30" y="84"/>
                  </a:cubicBezTo>
                  <a:cubicBezTo>
                    <a:pt x="29" y="85"/>
                    <a:pt x="29" y="86"/>
                    <a:pt x="29" y="87"/>
                  </a:cubicBezTo>
                  <a:cubicBezTo>
                    <a:pt x="30" y="87"/>
                    <a:pt x="30" y="88"/>
                    <a:pt x="30" y="89"/>
                  </a:cubicBezTo>
                  <a:cubicBezTo>
                    <a:pt x="30" y="88"/>
                    <a:pt x="30" y="87"/>
                    <a:pt x="30" y="87"/>
                  </a:cubicBezTo>
                  <a:cubicBezTo>
                    <a:pt x="30" y="86"/>
                    <a:pt x="31" y="85"/>
                    <a:pt x="31" y="85"/>
                  </a:cubicBezTo>
                  <a:cubicBezTo>
                    <a:pt x="32" y="84"/>
                    <a:pt x="33" y="83"/>
                    <a:pt x="34" y="83"/>
                  </a:cubicBezTo>
                  <a:cubicBezTo>
                    <a:pt x="36" y="83"/>
                    <a:pt x="38" y="82"/>
                    <a:pt x="39" y="80"/>
                  </a:cubicBezTo>
                  <a:cubicBezTo>
                    <a:pt x="39" y="79"/>
                    <a:pt x="39" y="78"/>
                    <a:pt x="39" y="77"/>
                  </a:cubicBezTo>
                  <a:cubicBezTo>
                    <a:pt x="39" y="76"/>
                    <a:pt x="39" y="75"/>
                    <a:pt x="38" y="75"/>
                  </a:cubicBezTo>
                  <a:cubicBezTo>
                    <a:pt x="38" y="75"/>
                    <a:pt x="38" y="76"/>
                    <a:pt x="38" y="77"/>
                  </a:cubicBezTo>
                  <a:close/>
                  <a:moveTo>
                    <a:pt x="129" y="56"/>
                  </a:moveTo>
                  <a:cubicBezTo>
                    <a:pt x="128" y="57"/>
                    <a:pt x="128" y="57"/>
                    <a:pt x="128" y="58"/>
                  </a:cubicBezTo>
                  <a:cubicBezTo>
                    <a:pt x="127" y="59"/>
                    <a:pt x="126" y="60"/>
                    <a:pt x="125" y="60"/>
                  </a:cubicBezTo>
                  <a:cubicBezTo>
                    <a:pt x="123" y="60"/>
                    <a:pt x="121" y="61"/>
                    <a:pt x="120" y="63"/>
                  </a:cubicBezTo>
                  <a:cubicBezTo>
                    <a:pt x="120" y="64"/>
                    <a:pt x="120" y="65"/>
                    <a:pt x="120" y="65"/>
                  </a:cubicBezTo>
                  <a:cubicBezTo>
                    <a:pt x="120" y="66"/>
                    <a:pt x="120" y="67"/>
                    <a:pt x="120" y="68"/>
                  </a:cubicBezTo>
                  <a:cubicBezTo>
                    <a:pt x="121" y="67"/>
                    <a:pt x="121" y="66"/>
                    <a:pt x="121" y="65"/>
                  </a:cubicBezTo>
                  <a:cubicBezTo>
                    <a:pt x="121" y="65"/>
                    <a:pt x="121" y="64"/>
                    <a:pt x="122" y="63"/>
                  </a:cubicBezTo>
                  <a:cubicBezTo>
                    <a:pt x="122" y="62"/>
                    <a:pt x="124" y="62"/>
                    <a:pt x="125" y="62"/>
                  </a:cubicBezTo>
                  <a:cubicBezTo>
                    <a:pt x="127" y="62"/>
                    <a:pt x="129" y="60"/>
                    <a:pt x="129" y="58"/>
                  </a:cubicBezTo>
                  <a:cubicBezTo>
                    <a:pt x="130" y="58"/>
                    <a:pt x="130" y="57"/>
                    <a:pt x="130" y="56"/>
                  </a:cubicBezTo>
                  <a:cubicBezTo>
                    <a:pt x="129" y="55"/>
                    <a:pt x="129" y="54"/>
                    <a:pt x="129" y="53"/>
                  </a:cubicBezTo>
                  <a:cubicBezTo>
                    <a:pt x="129" y="54"/>
                    <a:pt x="129" y="55"/>
                    <a:pt x="129" y="56"/>
                  </a:cubicBezTo>
                  <a:close/>
                  <a:moveTo>
                    <a:pt x="163" y="139"/>
                  </a:moveTo>
                  <a:cubicBezTo>
                    <a:pt x="163" y="140"/>
                    <a:pt x="163" y="140"/>
                    <a:pt x="163" y="141"/>
                  </a:cubicBezTo>
                  <a:cubicBezTo>
                    <a:pt x="162" y="142"/>
                    <a:pt x="161" y="143"/>
                    <a:pt x="160" y="143"/>
                  </a:cubicBezTo>
                  <a:cubicBezTo>
                    <a:pt x="158" y="143"/>
                    <a:pt x="156" y="144"/>
                    <a:pt x="155" y="146"/>
                  </a:cubicBezTo>
                  <a:cubicBezTo>
                    <a:pt x="155" y="147"/>
                    <a:pt x="155" y="148"/>
                    <a:pt x="155" y="149"/>
                  </a:cubicBezTo>
                  <a:cubicBezTo>
                    <a:pt x="155" y="149"/>
                    <a:pt x="155" y="150"/>
                    <a:pt x="155" y="151"/>
                  </a:cubicBezTo>
                  <a:cubicBezTo>
                    <a:pt x="155" y="150"/>
                    <a:pt x="156" y="149"/>
                    <a:pt x="156" y="149"/>
                  </a:cubicBezTo>
                  <a:cubicBezTo>
                    <a:pt x="156" y="148"/>
                    <a:pt x="156" y="147"/>
                    <a:pt x="156" y="147"/>
                  </a:cubicBezTo>
                  <a:cubicBezTo>
                    <a:pt x="157" y="145"/>
                    <a:pt x="158" y="145"/>
                    <a:pt x="160" y="145"/>
                  </a:cubicBezTo>
                  <a:cubicBezTo>
                    <a:pt x="162" y="145"/>
                    <a:pt x="163" y="144"/>
                    <a:pt x="164" y="142"/>
                  </a:cubicBezTo>
                  <a:cubicBezTo>
                    <a:pt x="164" y="141"/>
                    <a:pt x="164" y="140"/>
                    <a:pt x="164" y="139"/>
                  </a:cubicBezTo>
                  <a:cubicBezTo>
                    <a:pt x="164" y="138"/>
                    <a:pt x="164" y="137"/>
                    <a:pt x="164" y="137"/>
                  </a:cubicBezTo>
                  <a:cubicBezTo>
                    <a:pt x="164" y="137"/>
                    <a:pt x="163" y="138"/>
                    <a:pt x="163" y="139"/>
                  </a:cubicBezTo>
                  <a:close/>
                  <a:moveTo>
                    <a:pt x="205" y="156"/>
                  </a:moveTo>
                  <a:cubicBezTo>
                    <a:pt x="206" y="155"/>
                    <a:pt x="206" y="155"/>
                    <a:pt x="207" y="155"/>
                  </a:cubicBezTo>
                  <a:cubicBezTo>
                    <a:pt x="208" y="154"/>
                    <a:pt x="210" y="155"/>
                    <a:pt x="210" y="156"/>
                  </a:cubicBezTo>
                  <a:cubicBezTo>
                    <a:pt x="212" y="157"/>
                    <a:pt x="214" y="158"/>
                    <a:pt x="216" y="157"/>
                  </a:cubicBezTo>
                  <a:cubicBezTo>
                    <a:pt x="217" y="156"/>
                    <a:pt x="217" y="156"/>
                    <a:pt x="218" y="155"/>
                  </a:cubicBezTo>
                  <a:cubicBezTo>
                    <a:pt x="218" y="154"/>
                    <a:pt x="219" y="154"/>
                    <a:pt x="219" y="153"/>
                  </a:cubicBezTo>
                  <a:cubicBezTo>
                    <a:pt x="219" y="153"/>
                    <a:pt x="218" y="154"/>
                    <a:pt x="217" y="154"/>
                  </a:cubicBezTo>
                  <a:cubicBezTo>
                    <a:pt x="217" y="155"/>
                    <a:pt x="216" y="155"/>
                    <a:pt x="215" y="155"/>
                  </a:cubicBezTo>
                  <a:cubicBezTo>
                    <a:pt x="214" y="156"/>
                    <a:pt x="213" y="155"/>
                    <a:pt x="212" y="154"/>
                  </a:cubicBezTo>
                  <a:cubicBezTo>
                    <a:pt x="210" y="153"/>
                    <a:pt x="208" y="152"/>
                    <a:pt x="206" y="153"/>
                  </a:cubicBezTo>
                  <a:cubicBezTo>
                    <a:pt x="206" y="154"/>
                    <a:pt x="205" y="154"/>
                    <a:pt x="204" y="155"/>
                  </a:cubicBezTo>
                  <a:cubicBezTo>
                    <a:pt x="204" y="156"/>
                    <a:pt x="203" y="156"/>
                    <a:pt x="203" y="157"/>
                  </a:cubicBezTo>
                  <a:cubicBezTo>
                    <a:pt x="204" y="157"/>
                    <a:pt x="204" y="156"/>
                    <a:pt x="205" y="156"/>
                  </a:cubicBezTo>
                  <a:close/>
                  <a:moveTo>
                    <a:pt x="150" y="97"/>
                  </a:moveTo>
                  <a:cubicBezTo>
                    <a:pt x="151" y="97"/>
                    <a:pt x="151" y="96"/>
                    <a:pt x="152" y="96"/>
                  </a:cubicBezTo>
                  <a:cubicBezTo>
                    <a:pt x="153" y="96"/>
                    <a:pt x="155" y="96"/>
                    <a:pt x="156" y="97"/>
                  </a:cubicBezTo>
                  <a:cubicBezTo>
                    <a:pt x="157" y="98"/>
                    <a:pt x="159" y="99"/>
                    <a:pt x="161" y="98"/>
                  </a:cubicBezTo>
                  <a:cubicBezTo>
                    <a:pt x="162" y="98"/>
                    <a:pt x="163" y="97"/>
                    <a:pt x="163" y="96"/>
                  </a:cubicBezTo>
                  <a:cubicBezTo>
                    <a:pt x="163" y="96"/>
                    <a:pt x="164" y="95"/>
                    <a:pt x="164" y="94"/>
                  </a:cubicBezTo>
                  <a:cubicBezTo>
                    <a:pt x="164" y="95"/>
                    <a:pt x="163" y="95"/>
                    <a:pt x="162" y="96"/>
                  </a:cubicBezTo>
                  <a:cubicBezTo>
                    <a:pt x="162" y="96"/>
                    <a:pt x="161" y="97"/>
                    <a:pt x="160" y="97"/>
                  </a:cubicBezTo>
                  <a:cubicBezTo>
                    <a:pt x="159" y="97"/>
                    <a:pt x="158" y="97"/>
                    <a:pt x="157" y="96"/>
                  </a:cubicBezTo>
                  <a:cubicBezTo>
                    <a:pt x="156" y="94"/>
                    <a:pt x="153" y="94"/>
                    <a:pt x="152" y="95"/>
                  </a:cubicBezTo>
                  <a:cubicBezTo>
                    <a:pt x="151" y="95"/>
                    <a:pt x="150" y="96"/>
                    <a:pt x="150" y="96"/>
                  </a:cubicBezTo>
                  <a:cubicBezTo>
                    <a:pt x="149" y="97"/>
                    <a:pt x="149" y="98"/>
                    <a:pt x="148" y="98"/>
                  </a:cubicBezTo>
                  <a:cubicBezTo>
                    <a:pt x="149" y="98"/>
                    <a:pt x="150" y="98"/>
                    <a:pt x="150" y="97"/>
                  </a:cubicBezTo>
                  <a:close/>
                  <a:moveTo>
                    <a:pt x="228" y="28"/>
                  </a:moveTo>
                  <a:cubicBezTo>
                    <a:pt x="228" y="29"/>
                    <a:pt x="229" y="29"/>
                    <a:pt x="230" y="29"/>
                  </a:cubicBezTo>
                  <a:cubicBezTo>
                    <a:pt x="231" y="30"/>
                    <a:pt x="231" y="31"/>
                    <a:pt x="231" y="32"/>
                  </a:cubicBezTo>
                  <a:cubicBezTo>
                    <a:pt x="231" y="34"/>
                    <a:pt x="233" y="36"/>
                    <a:pt x="234" y="37"/>
                  </a:cubicBezTo>
                  <a:cubicBezTo>
                    <a:pt x="235" y="37"/>
                    <a:pt x="236" y="37"/>
                    <a:pt x="237" y="37"/>
                  </a:cubicBezTo>
                  <a:cubicBezTo>
                    <a:pt x="238" y="37"/>
                    <a:pt x="239" y="37"/>
                    <a:pt x="239" y="37"/>
                  </a:cubicBezTo>
                  <a:cubicBezTo>
                    <a:pt x="239" y="36"/>
                    <a:pt x="238" y="36"/>
                    <a:pt x="237" y="36"/>
                  </a:cubicBezTo>
                  <a:cubicBezTo>
                    <a:pt x="236" y="36"/>
                    <a:pt x="236" y="36"/>
                    <a:pt x="235" y="35"/>
                  </a:cubicBezTo>
                  <a:cubicBezTo>
                    <a:pt x="234" y="35"/>
                    <a:pt x="233" y="33"/>
                    <a:pt x="233" y="32"/>
                  </a:cubicBezTo>
                  <a:cubicBezTo>
                    <a:pt x="233" y="30"/>
                    <a:pt x="232" y="28"/>
                    <a:pt x="230" y="28"/>
                  </a:cubicBezTo>
                  <a:cubicBezTo>
                    <a:pt x="229" y="27"/>
                    <a:pt x="228" y="27"/>
                    <a:pt x="228" y="27"/>
                  </a:cubicBezTo>
                  <a:cubicBezTo>
                    <a:pt x="227" y="28"/>
                    <a:pt x="226" y="28"/>
                    <a:pt x="225" y="28"/>
                  </a:cubicBezTo>
                  <a:cubicBezTo>
                    <a:pt x="226" y="28"/>
                    <a:pt x="227" y="28"/>
                    <a:pt x="228" y="28"/>
                  </a:cubicBezTo>
                  <a:close/>
                  <a:moveTo>
                    <a:pt x="276" y="96"/>
                  </a:moveTo>
                  <a:cubicBezTo>
                    <a:pt x="276" y="96"/>
                    <a:pt x="277" y="96"/>
                    <a:pt x="278" y="96"/>
                  </a:cubicBezTo>
                  <a:cubicBezTo>
                    <a:pt x="279" y="97"/>
                    <a:pt x="279" y="98"/>
                    <a:pt x="279" y="99"/>
                  </a:cubicBezTo>
                  <a:cubicBezTo>
                    <a:pt x="279" y="101"/>
                    <a:pt x="281" y="103"/>
                    <a:pt x="282" y="104"/>
                  </a:cubicBezTo>
                  <a:cubicBezTo>
                    <a:pt x="283" y="104"/>
                    <a:pt x="284" y="104"/>
                    <a:pt x="285" y="104"/>
                  </a:cubicBezTo>
                  <a:cubicBezTo>
                    <a:pt x="286" y="104"/>
                    <a:pt x="287" y="104"/>
                    <a:pt x="288" y="104"/>
                  </a:cubicBezTo>
                  <a:cubicBezTo>
                    <a:pt x="287" y="104"/>
                    <a:pt x="286" y="103"/>
                    <a:pt x="285" y="103"/>
                  </a:cubicBezTo>
                  <a:cubicBezTo>
                    <a:pt x="284" y="103"/>
                    <a:pt x="284" y="103"/>
                    <a:pt x="283" y="103"/>
                  </a:cubicBezTo>
                  <a:cubicBezTo>
                    <a:pt x="282" y="102"/>
                    <a:pt x="281" y="101"/>
                    <a:pt x="281" y="99"/>
                  </a:cubicBezTo>
                  <a:cubicBezTo>
                    <a:pt x="281" y="97"/>
                    <a:pt x="280" y="96"/>
                    <a:pt x="278" y="95"/>
                  </a:cubicBezTo>
                  <a:cubicBezTo>
                    <a:pt x="277" y="95"/>
                    <a:pt x="276" y="95"/>
                    <a:pt x="276" y="95"/>
                  </a:cubicBezTo>
                  <a:cubicBezTo>
                    <a:pt x="275" y="95"/>
                    <a:pt x="274" y="95"/>
                    <a:pt x="273" y="95"/>
                  </a:cubicBezTo>
                  <a:cubicBezTo>
                    <a:pt x="274" y="95"/>
                    <a:pt x="275" y="96"/>
                    <a:pt x="276" y="96"/>
                  </a:cubicBezTo>
                  <a:close/>
                  <a:moveTo>
                    <a:pt x="314" y="48"/>
                  </a:moveTo>
                  <a:cubicBezTo>
                    <a:pt x="315" y="48"/>
                    <a:pt x="315" y="49"/>
                    <a:pt x="316" y="49"/>
                  </a:cubicBezTo>
                  <a:cubicBezTo>
                    <a:pt x="317" y="50"/>
                    <a:pt x="318" y="51"/>
                    <a:pt x="318" y="52"/>
                  </a:cubicBezTo>
                  <a:cubicBezTo>
                    <a:pt x="318" y="54"/>
                    <a:pt x="319" y="56"/>
                    <a:pt x="321" y="57"/>
                  </a:cubicBezTo>
                  <a:cubicBezTo>
                    <a:pt x="322" y="57"/>
                    <a:pt x="323" y="57"/>
                    <a:pt x="323" y="57"/>
                  </a:cubicBezTo>
                  <a:cubicBezTo>
                    <a:pt x="324" y="57"/>
                    <a:pt x="325" y="57"/>
                    <a:pt x="326" y="56"/>
                  </a:cubicBezTo>
                  <a:cubicBezTo>
                    <a:pt x="325" y="56"/>
                    <a:pt x="324" y="56"/>
                    <a:pt x="323" y="56"/>
                  </a:cubicBezTo>
                  <a:cubicBezTo>
                    <a:pt x="323" y="56"/>
                    <a:pt x="322" y="56"/>
                    <a:pt x="321" y="55"/>
                  </a:cubicBezTo>
                  <a:cubicBezTo>
                    <a:pt x="320" y="55"/>
                    <a:pt x="320" y="53"/>
                    <a:pt x="320" y="52"/>
                  </a:cubicBezTo>
                  <a:cubicBezTo>
                    <a:pt x="320" y="50"/>
                    <a:pt x="318" y="48"/>
                    <a:pt x="317" y="48"/>
                  </a:cubicBezTo>
                  <a:cubicBezTo>
                    <a:pt x="316" y="47"/>
                    <a:pt x="315" y="47"/>
                    <a:pt x="314" y="47"/>
                  </a:cubicBezTo>
                  <a:cubicBezTo>
                    <a:pt x="313" y="48"/>
                    <a:pt x="312" y="48"/>
                    <a:pt x="312" y="48"/>
                  </a:cubicBezTo>
                  <a:cubicBezTo>
                    <a:pt x="312" y="48"/>
                    <a:pt x="313" y="48"/>
                    <a:pt x="314" y="48"/>
                  </a:cubicBezTo>
                  <a:close/>
                  <a:moveTo>
                    <a:pt x="280" y="48"/>
                  </a:moveTo>
                  <a:cubicBezTo>
                    <a:pt x="280" y="49"/>
                    <a:pt x="280" y="49"/>
                    <a:pt x="279" y="50"/>
                  </a:cubicBezTo>
                  <a:cubicBezTo>
                    <a:pt x="279" y="51"/>
                    <a:pt x="277" y="52"/>
                    <a:pt x="276" y="52"/>
                  </a:cubicBezTo>
                  <a:cubicBezTo>
                    <a:pt x="274" y="52"/>
                    <a:pt x="272" y="53"/>
                    <a:pt x="272" y="55"/>
                  </a:cubicBezTo>
                  <a:cubicBezTo>
                    <a:pt x="271" y="56"/>
                    <a:pt x="271" y="57"/>
                    <a:pt x="271" y="57"/>
                  </a:cubicBezTo>
                  <a:cubicBezTo>
                    <a:pt x="271" y="58"/>
                    <a:pt x="272" y="59"/>
                    <a:pt x="272" y="60"/>
                  </a:cubicBezTo>
                  <a:cubicBezTo>
                    <a:pt x="272" y="59"/>
                    <a:pt x="272" y="58"/>
                    <a:pt x="272" y="57"/>
                  </a:cubicBezTo>
                  <a:cubicBezTo>
                    <a:pt x="272" y="57"/>
                    <a:pt x="273" y="56"/>
                    <a:pt x="273" y="55"/>
                  </a:cubicBezTo>
                  <a:cubicBezTo>
                    <a:pt x="274" y="54"/>
                    <a:pt x="275" y="54"/>
                    <a:pt x="276" y="54"/>
                  </a:cubicBezTo>
                  <a:cubicBezTo>
                    <a:pt x="278" y="54"/>
                    <a:pt x="280" y="52"/>
                    <a:pt x="281" y="51"/>
                  </a:cubicBezTo>
                  <a:cubicBezTo>
                    <a:pt x="281" y="50"/>
                    <a:pt x="281" y="49"/>
                    <a:pt x="281" y="48"/>
                  </a:cubicBezTo>
                  <a:cubicBezTo>
                    <a:pt x="281" y="47"/>
                    <a:pt x="281" y="46"/>
                    <a:pt x="280" y="46"/>
                  </a:cubicBezTo>
                  <a:cubicBezTo>
                    <a:pt x="280" y="46"/>
                    <a:pt x="280" y="47"/>
                    <a:pt x="280" y="48"/>
                  </a:cubicBezTo>
                  <a:close/>
                  <a:moveTo>
                    <a:pt x="194" y="62"/>
                  </a:moveTo>
                  <a:cubicBezTo>
                    <a:pt x="194" y="63"/>
                    <a:pt x="193" y="63"/>
                    <a:pt x="193" y="64"/>
                  </a:cubicBezTo>
                  <a:cubicBezTo>
                    <a:pt x="192" y="65"/>
                    <a:pt x="191" y="66"/>
                    <a:pt x="190" y="66"/>
                  </a:cubicBezTo>
                  <a:cubicBezTo>
                    <a:pt x="188" y="66"/>
                    <a:pt x="186" y="67"/>
                    <a:pt x="185" y="69"/>
                  </a:cubicBezTo>
                  <a:cubicBezTo>
                    <a:pt x="185" y="70"/>
                    <a:pt x="185" y="71"/>
                    <a:pt x="185" y="71"/>
                  </a:cubicBezTo>
                  <a:cubicBezTo>
                    <a:pt x="185" y="72"/>
                    <a:pt x="185" y="73"/>
                    <a:pt x="186" y="74"/>
                  </a:cubicBezTo>
                  <a:cubicBezTo>
                    <a:pt x="186" y="73"/>
                    <a:pt x="186" y="72"/>
                    <a:pt x="186" y="71"/>
                  </a:cubicBezTo>
                  <a:cubicBezTo>
                    <a:pt x="186" y="71"/>
                    <a:pt x="186" y="70"/>
                    <a:pt x="187" y="69"/>
                  </a:cubicBezTo>
                  <a:cubicBezTo>
                    <a:pt x="188" y="68"/>
                    <a:pt x="189" y="68"/>
                    <a:pt x="190" y="68"/>
                  </a:cubicBezTo>
                  <a:cubicBezTo>
                    <a:pt x="192" y="68"/>
                    <a:pt x="194" y="66"/>
                    <a:pt x="194" y="64"/>
                  </a:cubicBezTo>
                  <a:cubicBezTo>
                    <a:pt x="195" y="64"/>
                    <a:pt x="195" y="63"/>
                    <a:pt x="195" y="62"/>
                  </a:cubicBezTo>
                  <a:cubicBezTo>
                    <a:pt x="194" y="61"/>
                    <a:pt x="194" y="60"/>
                    <a:pt x="194" y="59"/>
                  </a:cubicBezTo>
                  <a:cubicBezTo>
                    <a:pt x="194" y="60"/>
                    <a:pt x="194" y="61"/>
                    <a:pt x="194" y="62"/>
                  </a:cubicBezTo>
                  <a:close/>
                  <a:moveTo>
                    <a:pt x="254" y="127"/>
                  </a:moveTo>
                  <a:cubicBezTo>
                    <a:pt x="254" y="128"/>
                    <a:pt x="253" y="129"/>
                    <a:pt x="253" y="129"/>
                  </a:cubicBezTo>
                  <a:cubicBezTo>
                    <a:pt x="252" y="131"/>
                    <a:pt x="251" y="131"/>
                    <a:pt x="250" y="131"/>
                  </a:cubicBezTo>
                  <a:cubicBezTo>
                    <a:pt x="248" y="131"/>
                    <a:pt x="246" y="132"/>
                    <a:pt x="245" y="134"/>
                  </a:cubicBezTo>
                  <a:cubicBezTo>
                    <a:pt x="245" y="135"/>
                    <a:pt x="245" y="136"/>
                    <a:pt x="245" y="137"/>
                  </a:cubicBezTo>
                  <a:cubicBezTo>
                    <a:pt x="245" y="138"/>
                    <a:pt x="245" y="139"/>
                    <a:pt x="246" y="139"/>
                  </a:cubicBezTo>
                  <a:cubicBezTo>
                    <a:pt x="246" y="139"/>
                    <a:pt x="246" y="138"/>
                    <a:pt x="246" y="137"/>
                  </a:cubicBezTo>
                  <a:cubicBezTo>
                    <a:pt x="246" y="136"/>
                    <a:pt x="246" y="136"/>
                    <a:pt x="247" y="135"/>
                  </a:cubicBezTo>
                  <a:cubicBezTo>
                    <a:pt x="247" y="134"/>
                    <a:pt x="249" y="133"/>
                    <a:pt x="250" y="133"/>
                  </a:cubicBezTo>
                  <a:cubicBezTo>
                    <a:pt x="252" y="133"/>
                    <a:pt x="254" y="132"/>
                    <a:pt x="254" y="130"/>
                  </a:cubicBezTo>
                  <a:cubicBezTo>
                    <a:pt x="255" y="129"/>
                    <a:pt x="255" y="128"/>
                    <a:pt x="255" y="127"/>
                  </a:cubicBezTo>
                  <a:cubicBezTo>
                    <a:pt x="254" y="127"/>
                    <a:pt x="254" y="126"/>
                    <a:pt x="254" y="125"/>
                  </a:cubicBezTo>
                  <a:cubicBezTo>
                    <a:pt x="254" y="126"/>
                    <a:pt x="254" y="127"/>
                    <a:pt x="254" y="127"/>
                  </a:cubicBezTo>
                  <a:close/>
                  <a:moveTo>
                    <a:pt x="270" y="3"/>
                  </a:moveTo>
                  <a:cubicBezTo>
                    <a:pt x="271" y="3"/>
                    <a:pt x="271" y="2"/>
                    <a:pt x="272" y="2"/>
                  </a:cubicBezTo>
                  <a:cubicBezTo>
                    <a:pt x="273" y="2"/>
                    <a:pt x="275" y="2"/>
                    <a:pt x="275" y="3"/>
                  </a:cubicBezTo>
                  <a:cubicBezTo>
                    <a:pt x="277" y="4"/>
                    <a:pt x="279" y="5"/>
                    <a:pt x="281" y="4"/>
                  </a:cubicBezTo>
                  <a:cubicBezTo>
                    <a:pt x="282" y="4"/>
                    <a:pt x="282" y="3"/>
                    <a:pt x="283" y="2"/>
                  </a:cubicBezTo>
                  <a:cubicBezTo>
                    <a:pt x="283" y="2"/>
                    <a:pt x="284" y="1"/>
                    <a:pt x="284" y="0"/>
                  </a:cubicBezTo>
                  <a:cubicBezTo>
                    <a:pt x="283" y="1"/>
                    <a:pt x="283" y="1"/>
                    <a:pt x="282" y="2"/>
                  </a:cubicBezTo>
                  <a:cubicBezTo>
                    <a:pt x="282" y="2"/>
                    <a:pt x="281" y="3"/>
                    <a:pt x="280" y="3"/>
                  </a:cubicBezTo>
                  <a:cubicBezTo>
                    <a:pt x="279" y="3"/>
                    <a:pt x="278" y="3"/>
                    <a:pt x="277" y="2"/>
                  </a:cubicBezTo>
                  <a:cubicBezTo>
                    <a:pt x="275" y="0"/>
                    <a:pt x="273" y="0"/>
                    <a:pt x="271" y="1"/>
                  </a:cubicBezTo>
                  <a:cubicBezTo>
                    <a:pt x="271" y="1"/>
                    <a:pt x="270" y="2"/>
                    <a:pt x="269" y="2"/>
                  </a:cubicBezTo>
                  <a:cubicBezTo>
                    <a:pt x="269" y="3"/>
                    <a:pt x="268" y="4"/>
                    <a:pt x="268" y="4"/>
                  </a:cubicBezTo>
                  <a:cubicBezTo>
                    <a:pt x="269" y="4"/>
                    <a:pt x="269" y="4"/>
                    <a:pt x="270" y="3"/>
                  </a:cubicBezTo>
                  <a:close/>
                  <a:moveTo>
                    <a:pt x="226" y="90"/>
                  </a:moveTo>
                  <a:cubicBezTo>
                    <a:pt x="227" y="89"/>
                    <a:pt x="227" y="89"/>
                    <a:pt x="228" y="89"/>
                  </a:cubicBezTo>
                  <a:cubicBezTo>
                    <a:pt x="229" y="88"/>
                    <a:pt x="231" y="89"/>
                    <a:pt x="231" y="90"/>
                  </a:cubicBezTo>
                  <a:cubicBezTo>
                    <a:pt x="233" y="91"/>
                    <a:pt x="235" y="91"/>
                    <a:pt x="237" y="91"/>
                  </a:cubicBezTo>
                  <a:cubicBezTo>
                    <a:pt x="238" y="90"/>
                    <a:pt x="238" y="90"/>
                    <a:pt x="239" y="89"/>
                  </a:cubicBezTo>
                  <a:cubicBezTo>
                    <a:pt x="239" y="88"/>
                    <a:pt x="240" y="88"/>
                    <a:pt x="240" y="87"/>
                  </a:cubicBezTo>
                  <a:cubicBezTo>
                    <a:pt x="240" y="87"/>
                    <a:pt x="239" y="88"/>
                    <a:pt x="238" y="88"/>
                  </a:cubicBezTo>
                  <a:cubicBezTo>
                    <a:pt x="238" y="89"/>
                    <a:pt x="237" y="89"/>
                    <a:pt x="236" y="89"/>
                  </a:cubicBezTo>
                  <a:cubicBezTo>
                    <a:pt x="235" y="89"/>
                    <a:pt x="234" y="89"/>
                    <a:pt x="233" y="88"/>
                  </a:cubicBezTo>
                  <a:cubicBezTo>
                    <a:pt x="231" y="87"/>
                    <a:pt x="229" y="86"/>
                    <a:pt x="227" y="87"/>
                  </a:cubicBezTo>
                  <a:cubicBezTo>
                    <a:pt x="227" y="88"/>
                    <a:pt x="226" y="88"/>
                    <a:pt x="225" y="89"/>
                  </a:cubicBezTo>
                  <a:cubicBezTo>
                    <a:pt x="225" y="90"/>
                    <a:pt x="224" y="90"/>
                    <a:pt x="224" y="91"/>
                  </a:cubicBezTo>
                  <a:cubicBezTo>
                    <a:pt x="225" y="91"/>
                    <a:pt x="225" y="90"/>
                    <a:pt x="226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6E6B2A7B-01A1-4CB8-ABC4-1C99107FA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262" y="2206641"/>
              <a:ext cx="163580" cy="253667"/>
            </a:xfrm>
            <a:custGeom>
              <a:avLst/>
              <a:gdLst>
                <a:gd name="T0" fmla="*/ 0 w 58"/>
                <a:gd name="T1" fmla="*/ 0 h 90"/>
                <a:gd name="T2" fmla="*/ 13 w 58"/>
                <a:gd name="T3" fmla="*/ 23 h 90"/>
                <a:gd name="T4" fmla="*/ 27 w 58"/>
                <a:gd name="T5" fmla="*/ 46 h 90"/>
                <a:gd name="T6" fmla="*/ 58 w 58"/>
                <a:gd name="T7" fmla="*/ 90 h 90"/>
                <a:gd name="T8" fmla="*/ 58 w 58"/>
                <a:gd name="T9" fmla="*/ 90 h 90"/>
                <a:gd name="T10" fmla="*/ 30 w 58"/>
                <a:gd name="T11" fmla="*/ 44 h 90"/>
                <a:gd name="T12" fmla="*/ 16 w 58"/>
                <a:gd name="T13" fmla="*/ 22 h 90"/>
                <a:gd name="T14" fmla="*/ 0 w 58"/>
                <a:gd name="T1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90">
                  <a:moveTo>
                    <a:pt x="0" y="0"/>
                  </a:moveTo>
                  <a:cubicBezTo>
                    <a:pt x="4" y="8"/>
                    <a:pt x="9" y="15"/>
                    <a:pt x="13" y="23"/>
                  </a:cubicBezTo>
                  <a:cubicBezTo>
                    <a:pt x="18" y="31"/>
                    <a:pt x="23" y="38"/>
                    <a:pt x="27" y="46"/>
                  </a:cubicBezTo>
                  <a:cubicBezTo>
                    <a:pt x="32" y="53"/>
                    <a:pt x="53" y="83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4" y="82"/>
                    <a:pt x="35" y="52"/>
                    <a:pt x="30" y="44"/>
                  </a:cubicBezTo>
                  <a:cubicBezTo>
                    <a:pt x="26" y="37"/>
                    <a:pt x="21" y="29"/>
                    <a:pt x="16" y="22"/>
                  </a:cubicBezTo>
                  <a:cubicBezTo>
                    <a:pt x="11" y="15"/>
                    <a:pt x="6" y="7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9">
              <a:extLst>
                <a:ext uri="{FF2B5EF4-FFF2-40B4-BE49-F238E27FC236}">
                  <a16:creationId xmlns:a16="http://schemas.microsoft.com/office/drawing/2014/main" id="{D75BA1E2-CBEB-46EB-8E44-7CD9EDDC7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149" y="2319251"/>
              <a:ext cx="481256" cy="315306"/>
            </a:xfrm>
            <a:custGeom>
              <a:avLst/>
              <a:gdLst>
                <a:gd name="T0" fmla="*/ 171 w 171"/>
                <a:gd name="T1" fmla="*/ 112 h 112"/>
                <a:gd name="T2" fmla="*/ 45 w 171"/>
                <a:gd name="T3" fmla="*/ 52 h 112"/>
                <a:gd name="T4" fmla="*/ 12 w 171"/>
                <a:gd name="T5" fmla="*/ 1 h 112"/>
                <a:gd name="T6" fmla="*/ 14 w 171"/>
                <a:gd name="T7" fmla="*/ 0 h 112"/>
                <a:gd name="T8" fmla="*/ 171 w 171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12">
                  <a:moveTo>
                    <a:pt x="171" y="112"/>
                  </a:moveTo>
                  <a:cubicBezTo>
                    <a:pt x="130" y="98"/>
                    <a:pt x="74" y="71"/>
                    <a:pt x="45" y="52"/>
                  </a:cubicBezTo>
                  <a:cubicBezTo>
                    <a:pt x="16" y="34"/>
                    <a:pt x="0" y="12"/>
                    <a:pt x="12" y="1"/>
                  </a:cubicBezTo>
                  <a:cubicBezTo>
                    <a:pt x="13" y="0"/>
                    <a:pt x="14" y="0"/>
                    <a:pt x="14" y="0"/>
                  </a:cubicBezTo>
                  <a:lnTo>
                    <a:pt x="171" y="112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0">
              <a:extLst>
                <a:ext uri="{FF2B5EF4-FFF2-40B4-BE49-F238E27FC236}">
                  <a16:creationId xmlns:a16="http://schemas.microsoft.com/office/drawing/2014/main" id="{85E51386-FF81-452D-87FA-337A04362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98" y="2237461"/>
              <a:ext cx="720699" cy="915098"/>
            </a:xfrm>
            <a:custGeom>
              <a:avLst/>
              <a:gdLst>
                <a:gd name="T0" fmla="*/ 233 w 256"/>
                <a:gd name="T1" fmla="*/ 322 h 325"/>
                <a:gd name="T2" fmla="*/ 2 w 256"/>
                <a:gd name="T3" fmla="*/ 265 h 325"/>
                <a:gd name="T4" fmla="*/ 187 w 256"/>
                <a:gd name="T5" fmla="*/ 7 h 325"/>
                <a:gd name="T6" fmla="*/ 243 w 256"/>
                <a:gd name="T7" fmla="*/ 26 h 325"/>
                <a:gd name="T8" fmla="*/ 252 w 256"/>
                <a:gd name="T9" fmla="*/ 99 h 325"/>
                <a:gd name="T10" fmla="*/ 233 w 256"/>
                <a:gd name="T11" fmla="*/ 322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" h="325">
                  <a:moveTo>
                    <a:pt x="233" y="322"/>
                  </a:moveTo>
                  <a:cubicBezTo>
                    <a:pt x="228" y="325"/>
                    <a:pt x="3" y="266"/>
                    <a:pt x="2" y="265"/>
                  </a:cubicBezTo>
                  <a:cubicBezTo>
                    <a:pt x="0" y="260"/>
                    <a:pt x="121" y="36"/>
                    <a:pt x="187" y="7"/>
                  </a:cubicBezTo>
                  <a:cubicBezTo>
                    <a:pt x="201" y="0"/>
                    <a:pt x="236" y="16"/>
                    <a:pt x="243" y="26"/>
                  </a:cubicBezTo>
                  <a:cubicBezTo>
                    <a:pt x="247" y="33"/>
                    <a:pt x="251" y="69"/>
                    <a:pt x="252" y="99"/>
                  </a:cubicBezTo>
                  <a:cubicBezTo>
                    <a:pt x="256" y="158"/>
                    <a:pt x="237" y="319"/>
                    <a:pt x="233" y="322"/>
                  </a:cubicBezTo>
                  <a:close/>
                </a:path>
              </a:pathLst>
            </a:cu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1">
              <a:extLst>
                <a:ext uri="{FF2B5EF4-FFF2-40B4-BE49-F238E27FC236}">
                  <a16:creationId xmlns:a16="http://schemas.microsoft.com/office/drawing/2014/main" id="{A59E416E-399B-493E-9EA8-78CA0CC69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312" y="2305026"/>
              <a:ext cx="604534" cy="779967"/>
            </a:xfrm>
            <a:custGeom>
              <a:avLst/>
              <a:gdLst>
                <a:gd name="T0" fmla="*/ 111 w 215"/>
                <a:gd name="T1" fmla="*/ 82 h 277"/>
                <a:gd name="T2" fmla="*/ 107 w 215"/>
                <a:gd name="T3" fmla="*/ 78 h 277"/>
                <a:gd name="T4" fmla="*/ 150 w 215"/>
                <a:gd name="T5" fmla="*/ 234 h 277"/>
                <a:gd name="T6" fmla="*/ 157 w 215"/>
                <a:gd name="T7" fmla="*/ 241 h 277"/>
                <a:gd name="T8" fmla="*/ 145 w 215"/>
                <a:gd name="T9" fmla="*/ 233 h 277"/>
                <a:gd name="T10" fmla="*/ 210 w 215"/>
                <a:gd name="T11" fmla="*/ 92 h 277"/>
                <a:gd name="T12" fmla="*/ 209 w 215"/>
                <a:gd name="T13" fmla="*/ 87 h 277"/>
                <a:gd name="T14" fmla="*/ 148 w 215"/>
                <a:gd name="T15" fmla="*/ 1 h 277"/>
                <a:gd name="T16" fmla="*/ 160 w 215"/>
                <a:gd name="T17" fmla="*/ 9 h 277"/>
                <a:gd name="T18" fmla="*/ 148 w 215"/>
                <a:gd name="T19" fmla="*/ 0 h 277"/>
                <a:gd name="T20" fmla="*/ 44 w 215"/>
                <a:gd name="T21" fmla="*/ 145 h 277"/>
                <a:gd name="T22" fmla="*/ 48 w 215"/>
                <a:gd name="T23" fmla="*/ 148 h 277"/>
                <a:gd name="T24" fmla="*/ 40 w 215"/>
                <a:gd name="T25" fmla="*/ 141 h 277"/>
                <a:gd name="T26" fmla="*/ 98 w 215"/>
                <a:gd name="T27" fmla="*/ 217 h 277"/>
                <a:gd name="T28" fmla="*/ 91 w 215"/>
                <a:gd name="T29" fmla="*/ 207 h 277"/>
                <a:gd name="T30" fmla="*/ 4 w 215"/>
                <a:gd name="T31" fmla="*/ 223 h 277"/>
                <a:gd name="T32" fmla="*/ 12 w 215"/>
                <a:gd name="T33" fmla="*/ 230 h 277"/>
                <a:gd name="T34" fmla="*/ 0 w 215"/>
                <a:gd name="T35" fmla="*/ 222 h 277"/>
                <a:gd name="T36" fmla="*/ 135 w 215"/>
                <a:gd name="T37" fmla="*/ 151 h 277"/>
                <a:gd name="T38" fmla="*/ 134 w 215"/>
                <a:gd name="T39" fmla="*/ 147 h 277"/>
                <a:gd name="T40" fmla="*/ 195 w 215"/>
                <a:gd name="T41" fmla="*/ 185 h 277"/>
                <a:gd name="T42" fmla="*/ 207 w 215"/>
                <a:gd name="T43" fmla="*/ 193 h 277"/>
                <a:gd name="T44" fmla="*/ 195 w 215"/>
                <a:gd name="T45" fmla="*/ 184 h 277"/>
                <a:gd name="T46" fmla="*/ 189 w 215"/>
                <a:gd name="T47" fmla="*/ 142 h 277"/>
                <a:gd name="T48" fmla="*/ 184 w 215"/>
                <a:gd name="T49" fmla="*/ 142 h 277"/>
                <a:gd name="T50" fmla="*/ 194 w 215"/>
                <a:gd name="T51" fmla="*/ 142 h 277"/>
                <a:gd name="T52" fmla="*/ 104 w 215"/>
                <a:gd name="T53" fmla="*/ 30 h 277"/>
                <a:gd name="T54" fmla="*/ 113 w 215"/>
                <a:gd name="T55" fmla="*/ 23 h 277"/>
                <a:gd name="T56" fmla="*/ 92 w 215"/>
                <a:gd name="T57" fmla="*/ 163 h 277"/>
                <a:gd name="T58" fmla="*/ 85 w 215"/>
                <a:gd name="T59" fmla="*/ 170 h 277"/>
                <a:gd name="T60" fmla="*/ 93 w 215"/>
                <a:gd name="T61" fmla="*/ 158 h 277"/>
                <a:gd name="T62" fmla="*/ 184 w 215"/>
                <a:gd name="T63" fmla="*/ 46 h 277"/>
                <a:gd name="T64" fmla="*/ 188 w 215"/>
                <a:gd name="T65" fmla="*/ 45 h 277"/>
                <a:gd name="T66" fmla="*/ 192 w 215"/>
                <a:gd name="T67" fmla="*/ 265 h 277"/>
                <a:gd name="T68" fmla="*/ 184 w 215"/>
                <a:gd name="T69" fmla="*/ 277 h 277"/>
                <a:gd name="T70" fmla="*/ 193 w 215"/>
                <a:gd name="T71" fmla="*/ 265 h 277"/>
                <a:gd name="T72" fmla="*/ 11 w 215"/>
                <a:gd name="T73" fmla="*/ 169 h 277"/>
                <a:gd name="T74" fmla="*/ 8 w 215"/>
                <a:gd name="T75" fmla="*/ 173 h 277"/>
                <a:gd name="T76" fmla="*/ 15 w 215"/>
                <a:gd name="T77" fmla="*/ 166 h 277"/>
                <a:gd name="T78" fmla="*/ 156 w 215"/>
                <a:gd name="T79" fmla="*/ 111 h 277"/>
                <a:gd name="T80" fmla="*/ 165 w 215"/>
                <a:gd name="T81" fmla="*/ 104 h 277"/>
                <a:gd name="T82" fmla="*/ 61 w 215"/>
                <a:gd name="T83" fmla="*/ 89 h 277"/>
                <a:gd name="T84" fmla="*/ 54 w 215"/>
                <a:gd name="T85" fmla="*/ 97 h 277"/>
                <a:gd name="T86" fmla="*/ 62 w 215"/>
                <a:gd name="T87" fmla="*/ 85 h 277"/>
                <a:gd name="T88" fmla="*/ 53 w 215"/>
                <a:gd name="T89" fmla="*/ 251 h 277"/>
                <a:gd name="T90" fmla="*/ 58 w 215"/>
                <a:gd name="T91" fmla="*/ 250 h 277"/>
                <a:gd name="T92" fmla="*/ 141 w 215"/>
                <a:gd name="T93" fmla="*/ 55 h 277"/>
                <a:gd name="T94" fmla="*/ 155 w 215"/>
                <a:gd name="T95" fmla="*/ 52 h 277"/>
                <a:gd name="T96" fmla="*/ 140 w 215"/>
                <a:gd name="T97" fmla="*/ 54 h 277"/>
                <a:gd name="T98" fmla="*/ 88 w 215"/>
                <a:gd name="T99" fmla="*/ 116 h 277"/>
                <a:gd name="T100" fmla="*/ 93 w 215"/>
                <a:gd name="T101" fmla="*/ 115 h 277"/>
                <a:gd name="T102" fmla="*/ 83 w 215"/>
                <a:gd name="T103" fmla="*/ 116 h 277"/>
                <a:gd name="T104" fmla="*/ 52 w 215"/>
                <a:gd name="T105" fmla="*/ 202 h 277"/>
                <a:gd name="T106" fmla="*/ 40 w 215"/>
                <a:gd name="T107" fmla="*/ 200 h 277"/>
                <a:gd name="T108" fmla="*/ 145 w 215"/>
                <a:gd name="T109" fmla="*/ 192 h 277"/>
                <a:gd name="T110" fmla="*/ 155 w 215"/>
                <a:gd name="T111" fmla="*/ 192 h 277"/>
                <a:gd name="T112" fmla="*/ 141 w 215"/>
                <a:gd name="T113" fmla="*/ 195 h 277"/>
                <a:gd name="T114" fmla="*/ 114 w 215"/>
                <a:gd name="T115" fmla="*/ 257 h 277"/>
                <a:gd name="T116" fmla="*/ 110 w 215"/>
                <a:gd name="T117" fmla="*/ 255 h 277"/>
                <a:gd name="T118" fmla="*/ 209 w 215"/>
                <a:gd name="T119" fmla="*/ 228 h 277"/>
                <a:gd name="T120" fmla="*/ 201 w 215"/>
                <a:gd name="T121" fmla="*/ 22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5" h="277">
                  <a:moveTo>
                    <a:pt x="101" y="74"/>
                  </a:moveTo>
                  <a:cubicBezTo>
                    <a:pt x="102" y="74"/>
                    <a:pt x="102" y="74"/>
                    <a:pt x="103" y="74"/>
                  </a:cubicBezTo>
                  <a:cubicBezTo>
                    <a:pt x="104" y="74"/>
                    <a:pt x="105" y="74"/>
                    <a:pt x="106" y="74"/>
                  </a:cubicBezTo>
                  <a:cubicBezTo>
                    <a:pt x="108" y="75"/>
                    <a:pt x="109" y="76"/>
                    <a:pt x="109" y="78"/>
                  </a:cubicBezTo>
                  <a:cubicBezTo>
                    <a:pt x="109" y="80"/>
                    <a:pt x="110" y="81"/>
                    <a:pt x="111" y="82"/>
                  </a:cubicBezTo>
                  <a:cubicBezTo>
                    <a:pt x="111" y="82"/>
                    <a:pt x="112" y="82"/>
                    <a:pt x="113" y="82"/>
                  </a:cubicBezTo>
                  <a:cubicBezTo>
                    <a:pt x="113" y="82"/>
                    <a:pt x="114" y="83"/>
                    <a:pt x="115" y="83"/>
                  </a:cubicBezTo>
                  <a:cubicBezTo>
                    <a:pt x="114" y="83"/>
                    <a:pt x="113" y="83"/>
                    <a:pt x="113" y="83"/>
                  </a:cubicBezTo>
                  <a:cubicBezTo>
                    <a:pt x="112" y="83"/>
                    <a:pt x="111" y="83"/>
                    <a:pt x="110" y="83"/>
                  </a:cubicBezTo>
                  <a:cubicBezTo>
                    <a:pt x="108" y="82"/>
                    <a:pt x="107" y="80"/>
                    <a:pt x="107" y="78"/>
                  </a:cubicBezTo>
                  <a:cubicBezTo>
                    <a:pt x="107" y="77"/>
                    <a:pt x="106" y="76"/>
                    <a:pt x="105" y="75"/>
                  </a:cubicBezTo>
                  <a:cubicBezTo>
                    <a:pt x="105" y="75"/>
                    <a:pt x="104" y="75"/>
                    <a:pt x="103" y="75"/>
                  </a:cubicBezTo>
                  <a:cubicBezTo>
                    <a:pt x="102" y="75"/>
                    <a:pt x="102" y="74"/>
                    <a:pt x="101" y="74"/>
                  </a:cubicBezTo>
                  <a:close/>
                  <a:moveTo>
                    <a:pt x="147" y="233"/>
                  </a:moveTo>
                  <a:cubicBezTo>
                    <a:pt x="148" y="233"/>
                    <a:pt x="149" y="234"/>
                    <a:pt x="150" y="234"/>
                  </a:cubicBezTo>
                  <a:cubicBezTo>
                    <a:pt x="151" y="235"/>
                    <a:pt x="151" y="236"/>
                    <a:pt x="151" y="237"/>
                  </a:cubicBezTo>
                  <a:cubicBezTo>
                    <a:pt x="151" y="239"/>
                    <a:pt x="153" y="241"/>
                    <a:pt x="154" y="242"/>
                  </a:cubicBezTo>
                  <a:cubicBezTo>
                    <a:pt x="155" y="242"/>
                    <a:pt x="156" y="242"/>
                    <a:pt x="157" y="242"/>
                  </a:cubicBezTo>
                  <a:cubicBezTo>
                    <a:pt x="158" y="242"/>
                    <a:pt x="159" y="242"/>
                    <a:pt x="159" y="241"/>
                  </a:cubicBezTo>
                  <a:cubicBezTo>
                    <a:pt x="159" y="241"/>
                    <a:pt x="158" y="241"/>
                    <a:pt x="157" y="241"/>
                  </a:cubicBezTo>
                  <a:cubicBezTo>
                    <a:pt x="156" y="241"/>
                    <a:pt x="156" y="241"/>
                    <a:pt x="155" y="240"/>
                  </a:cubicBezTo>
                  <a:cubicBezTo>
                    <a:pt x="154" y="239"/>
                    <a:pt x="153" y="238"/>
                    <a:pt x="153" y="237"/>
                  </a:cubicBezTo>
                  <a:cubicBezTo>
                    <a:pt x="153" y="235"/>
                    <a:pt x="152" y="233"/>
                    <a:pt x="150" y="232"/>
                  </a:cubicBezTo>
                  <a:cubicBezTo>
                    <a:pt x="149" y="232"/>
                    <a:pt x="148" y="232"/>
                    <a:pt x="147" y="232"/>
                  </a:cubicBezTo>
                  <a:cubicBezTo>
                    <a:pt x="147" y="232"/>
                    <a:pt x="146" y="233"/>
                    <a:pt x="145" y="233"/>
                  </a:cubicBezTo>
                  <a:cubicBezTo>
                    <a:pt x="146" y="233"/>
                    <a:pt x="147" y="233"/>
                    <a:pt x="147" y="233"/>
                  </a:cubicBezTo>
                  <a:close/>
                  <a:moveTo>
                    <a:pt x="203" y="83"/>
                  </a:moveTo>
                  <a:cubicBezTo>
                    <a:pt x="204" y="83"/>
                    <a:pt x="204" y="83"/>
                    <a:pt x="205" y="84"/>
                  </a:cubicBezTo>
                  <a:cubicBezTo>
                    <a:pt x="206" y="85"/>
                    <a:pt x="207" y="86"/>
                    <a:pt x="207" y="87"/>
                  </a:cubicBezTo>
                  <a:cubicBezTo>
                    <a:pt x="206" y="89"/>
                    <a:pt x="208" y="91"/>
                    <a:pt x="210" y="92"/>
                  </a:cubicBezTo>
                  <a:cubicBezTo>
                    <a:pt x="210" y="92"/>
                    <a:pt x="211" y="92"/>
                    <a:pt x="212" y="92"/>
                  </a:cubicBezTo>
                  <a:cubicBezTo>
                    <a:pt x="213" y="92"/>
                    <a:pt x="214" y="92"/>
                    <a:pt x="215" y="91"/>
                  </a:cubicBezTo>
                  <a:cubicBezTo>
                    <a:pt x="214" y="91"/>
                    <a:pt x="213" y="91"/>
                    <a:pt x="212" y="91"/>
                  </a:cubicBezTo>
                  <a:cubicBezTo>
                    <a:pt x="211" y="91"/>
                    <a:pt x="211" y="91"/>
                    <a:pt x="210" y="90"/>
                  </a:cubicBezTo>
                  <a:cubicBezTo>
                    <a:pt x="209" y="89"/>
                    <a:pt x="208" y="88"/>
                    <a:pt x="209" y="87"/>
                  </a:cubicBezTo>
                  <a:cubicBezTo>
                    <a:pt x="208" y="85"/>
                    <a:pt x="207" y="83"/>
                    <a:pt x="205" y="82"/>
                  </a:cubicBezTo>
                  <a:cubicBezTo>
                    <a:pt x="204" y="82"/>
                    <a:pt x="203" y="82"/>
                    <a:pt x="203" y="82"/>
                  </a:cubicBezTo>
                  <a:cubicBezTo>
                    <a:pt x="202" y="82"/>
                    <a:pt x="201" y="83"/>
                    <a:pt x="200" y="83"/>
                  </a:cubicBezTo>
                  <a:cubicBezTo>
                    <a:pt x="201" y="83"/>
                    <a:pt x="202" y="83"/>
                    <a:pt x="203" y="83"/>
                  </a:cubicBezTo>
                  <a:close/>
                  <a:moveTo>
                    <a:pt x="148" y="1"/>
                  </a:moveTo>
                  <a:cubicBezTo>
                    <a:pt x="149" y="1"/>
                    <a:pt x="150" y="1"/>
                    <a:pt x="150" y="1"/>
                  </a:cubicBezTo>
                  <a:cubicBezTo>
                    <a:pt x="152" y="2"/>
                    <a:pt x="152" y="3"/>
                    <a:pt x="152" y="5"/>
                  </a:cubicBezTo>
                  <a:cubicBezTo>
                    <a:pt x="152" y="6"/>
                    <a:pt x="153" y="8"/>
                    <a:pt x="155" y="9"/>
                  </a:cubicBezTo>
                  <a:cubicBezTo>
                    <a:pt x="156" y="9"/>
                    <a:pt x="157" y="9"/>
                    <a:pt x="158" y="9"/>
                  </a:cubicBezTo>
                  <a:cubicBezTo>
                    <a:pt x="159" y="9"/>
                    <a:pt x="160" y="9"/>
                    <a:pt x="160" y="9"/>
                  </a:cubicBezTo>
                  <a:cubicBezTo>
                    <a:pt x="160" y="9"/>
                    <a:pt x="159" y="9"/>
                    <a:pt x="158" y="8"/>
                  </a:cubicBezTo>
                  <a:cubicBezTo>
                    <a:pt x="157" y="8"/>
                    <a:pt x="157" y="8"/>
                    <a:pt x="156" y="8"/>
                  </a:cubicBezTo>
                  <a:cubicBezTo>
                    <a:pt x="155" y="7"/>
                    <a:pt x="154" y="6"/>
                    <a:pt x="154" y="4"/>
                  </a:cubicBezTo>
                  <a:cubicBezTo>
                    <a:pt x="154" y="2"/>
                    <a:pt x="153" y="1"/>
                    <a:pt x="151" y="0"/>
                  </a:cubicBezTo>
                  <a:cubicBezTo>
                    <a:pt x="150" y="0"/>
                    <a:pt x="149" y="0"/>
                    <a:pt x="148" y="0"/>
                  </a:cubicBezTo>
                  <a:cubicBezTo>
                    <a:pt x="148" y="0"/>
                    <a:pt x="147" y="0"/>
                    <a:pt x="146" y="0"/>
                  </a:cubicBezTo>
                  <a:cubicBezTo>
                    <a:pt x="147" y="1"/>
                    <a:pt x="148" y="1"/>
                    <a:pt x="148" y="1"/>
                  </a:cubicBezTo>
                  <a:close/>
                  <a:moveTo>
                    <a:pt x="40" y="141"/>
                  </a:moveTo>
                  <a:cubicBezTo>
                    <a:pt x="41" y="141"/>
                    <a:pt x="42" y="141"/>
                    <a:pt x="42" y="142"/>
                  </a:cubicBezTo>
                  <a:cubicBezTo>
                    <a:pt x="43" y="142"/>
                    <a:pt x="44" y="144"/>
                    <a:pt x="44" y="145"/>
                  </a:cubicBezTo>
                  <a:cubicBezTo>
                    <a:pt x="44" y="147"/>
                    <a:pt x="45" y="149"/>
                    <a:pt x="47" y="149"/>
                  </a:cubicBezTo>
                  <a:cubicBezTo>
                    <a:pt x="48" y="150"/>
                    <a:pt x="49" y="150"/>
                    <a:pt x="50" y="150"/>
                  </a:cubicBezTo>
                  <a:cubicBezTo>
                    <a:pt x="51" y="149"/>
                    <a:pt x="51" y="149"/>
                    <a:pt x="52" y="149"/>
                  </a:cubicBezTo>
                  <a:cubicBezTo>
                    <a:pt x="51" y="149"/>
                    <a:pt x="51" y="149"/>
                    <a:pt x="50" y="149"/>
                  </a:cubicBezTo>
                  <a:cubicBezTo>
                    <a:pt x="49" y="149"/>
                    <a:pt x="48" y="148"/>
                    <a:pt x="48" y="148"/>
                  </a:cubicBezTo>
                  <a:cubicBezTo>
                    <a:pt x="47" y="147"/>
                    <a:pt x="46" y="146"/>
                    <a:pt x="46" y="145"/>
                  </a:cubicBezTo>
                  <a:cubicBezTo>
                    <a:pt x="46" y="143"/>
                    <a:pt x="45" y="141"/>
                    <a:pt x="43" y="140"/>
                  </a:cubicBezTo>
                  <a:cubicBezTo>
                    <a:pt x="42" y="140"/>
                    <a:pt x="41" y="140"/>
                    <a:pt x="40" y="140"/>
                  </a:cubicBezTo>
                  <a:cubicBezTo>
                    <a:pt x="39" y="140"/>
                    <a:pt x="39" y="140"/>
                    <a:pt x="38" y="141"/>
                  </a:cubicBezTo>
                  <a:cubicBezTo>
                    <a:pt x="39" y="141"/>
                    <a:pt x="39" y="141"/>
                    <a:pt x="40" y="141"/>
                  </a:cubicBezTo>
                  <a:close/>
                  <a:moveTo>
                    <a:pt x="88" y="208"/>
                  </a:moveTo>
                  <a:cubicBezTo>
                    <a:pt x="89" y="208"/>
                    <a:pt x="90" y="209"/>
                    <a:pt x="90" y="209"/>
                  </a:cubicBezTo>
                  <a:cubicBezTo>
                    <a:pt x="91" y="210"/>
                    <a:pt x="92" y="211"/>
                    <a:pt x="92" y="212"/>
                  </a:cubicBezTo>
                  <a:cubicBezTo>
                    <a:pt x="92" y="214"/>
                    <a:pt x="93" y="216"/>
                    <a:pt x="95" y="217"/>
                  </a:cubicBezTo>
                  <a:cubicBezTo>
                    <a:pt x="96" y="217"/>
                    <a:pt x="97" y="217"/>
                    <a:pt x="98" y="217"/>
                  </a:cubicBezTo>
                  <a:cubicBezTo>
                    <a:pt x="99" y="217"/>
                    <a:pt x="99" y="217"/>
                    <a:pt x="100" y="216"/>
                  </a:cubicBezTo>
                  <a:cubicBezTo>
                    <a:pt x="99" y="216"/>
                    <a:pt x="99" y="216"/>
                    <a:pt x="98" y="216"/>
                  </a:cubicBezTo>
                  <a:cubicBezTo>
                    <a:pt x="97" y="216"/>
                    <a:pt x="96" y="216"/>
                    <a:pt x="96" y="215"/>
                  </a:cubicBezTo>
                  <a:cubicBezTo>
                    <a:pt x="95" y="214"/>
                    <a:pt x="94" y="213"/>
                    <a:pt x="94" y="212"/>
                  </a:cubicBezTo>
                  <a:cubicBezTo>
                    <a:pt x="94" y="210"/>
                    <a:pt x="93" y="208"/>
                    <a:pt x="91" y="207"/>
                  </a:cubicBezTo>
                  <a:cubicBezTo>
                    <a:pt x="90" y="207"/>
                    <a:pt x="89" y="207"/>
                    <a:pt x="88" y="207"/>
                  </a:cubicBezTo>
                  <a:cubicBezTo>
                    <a:pt x="88" y="207"/>
                    <a:pt x="87" y="208"/>
                    <a:pt x="86" y="208"/>
                  </a:cubicBezTo>
                  <a:cubicBezTo>
                    <a:pt x="87" y="208"/>
                    <a:pt x="88" y="208"/>
                    <a:pt x="88" y="208"/>
                  </a:cubicBezTo>
                  <a:close/>
                  <a:moveTo>
                    <a:pt x="2" y="222"/>
                  </a:moveTo>
                  <a:cubicBezTo>
                    <a:pt x="3" y="223"/>
                    <a:pt x="4" y="223"/>
                    <a:pt x="4" y="223"/>
                  </a:cubicBezTo>
                  <a:cubicBezTo>
                    <a:pt x="5" y="224"/>
                    <a:pt x="6" y="225"/>
                    <a:pt x="6" y="226"/>
                  </a:cubicBezTo>
                  <a:cubicBezTo>
                    <a:pt x="6" y="228"/>
                    <a:pt x="7" y="230"/>
                    <a:pt x="9" y="231"/>
                  </a:cubicBezTo>
                  <a:cubicBezTo>
                    <a:pt x="10" y="231"/>
                    <a:pt x="11" y="231"/>
                    <a:pt x="12" y="231"/>
                  </a:cubicBezTo>
                  <a:cubicBezTo>
                    <a:pt x="12" y="231"/>
                    <a:pt x="13" y="231"/>
                    <a:pt x="14" y="231"/>
                  </a:cubicBezTo>
                  <a:cubicBezTo>
                    <a:pt x="13" y="230"/>
                    <a:pt x="12" y="230"/>
                    <a:pt x="12" y="230"/>
                  </a:cubicBezTo>
                  <a:cubicBezTo>
                    <a:pt x="11" y="230"/>
                    <a:pt x="10" y="230"/>
                    <a:pt x="10" y="229"/>
                  </a:cubicBezTo>
                  <a:cubicBezTo>
                    <a:pt x="9" y="229"/>
                    <a:pt x="8" y="227"/>
                    <a:pt x="8" y="226"/>
                  </a:cubicBezTo>
                  <a:cubicBezTo>
                    <a:pt x="8" y="224"/>
                    <a:pt x="7" y="222"/>
                    <a:pt x="5" y="222"/>
                  </a:cubicBezTo>
                  <a:cubicBezTo>
                    <a:pt x="4" y="221"/>
                    <a:pt x="3" y="221"/>
                    <a:pt x="2" y="221"/>
                  </a:cubicBezTo>
                  <a:cubicBezTo>
                    <a:pt x="1" y="222"/>
                    <a:pt x="0" y="222"/>
                    <a:pt x="0" y="222"/>
                  </a:cubicBezTo>
                  <a:cubicBezTo>
                    <a:pt x="0" y="222"/>
                    <a:pt x="1" y="222"/>
                    <a:pt x="2" y="222"/>
                  </a:cubicBezTo>
                  <a:close/>
                  <a:moveTo>
                    <a:pt x="128" y="143"/>
                  </a:moveTo>
                  <a:cubicBezTo>
                    <a:pt x="129" y="143"/>
                    <a:pt x="129" y="143"/>
                    <a:pt x="130" y="144"/>
                  </a:cubicBezTo>
                  <a:cubicBezTo>
                    <a:pt x="131" y="144"/>
                    <a:pt x="132" y="145"/>
                    <a:pt x="132" y="147"/>
                  </a:cubicBezTo>
                  <a:cubicBezTo>
                    <a:pt x="132" y="149"/>
                    <a:pt x="133" y="151"/>
                    <a:pt x="135" y="151"/>
                  </a:cubicBezTo>
                  <a:cubicBezTo>
                    <a:pt x="136" y="152"/>
                    <a:pt x="137" y="152"/>
                    <a:pt x="138" y="152"/>
                  </a:cubicBezTo>
                  <a:cubicBezTo>
                    <a:pt x="138" y="151"/>
                    <a:pt x="139" y="151"/>
                    <a:pt x="140" y="151"/>
                  </a:cubicBezTo>
                  <a:cubicBezTo>
                    <a:pt x="139" y="151"/>
                    <a:pt x="138" y="151"/>
                    <a:pt x="138" y="151"/>
                  </a:cubicBezTo>
                  <a:cubicBezTo>
                    <a:pt x="137" y="150"/>
                    <a:pt x="136" y="150"/>
                    <a:pt x="136" y="150"/>
                  </a:cubicBezTo>
                  <a:cubicBezTo>
                    <a:pt x="134" y="149"/>
                    <a:pt x="134" y="148"/>
                    <a:pt x="134" y="147"/>
                  </a:cubicBezTo>
                  <a:cubicBezTo>
                    <a:pt x="134" y="145"/>
                    <a:pt x="133" y="143"/>
                    <a:pt x="131" y="142"/>
                  </a:cubicBezTo>
                  <a:cubicBezTo>
                    <a:pt x="130" y="142"/>
                    <a:pt x="129" y="142"/>
                    <a:pt x="128" y="142"/>
                  </a:cubicBezTo>
                  <a:cubicBezTo>
                    <a:pt x="127" y="142"/>
                    <a:pt x="126" y="142"/>
                    <a:pt x="126" y="142"/>
                  </a:cubicBezTo>
                  <a:cubicBezTo>
                    <a:pt x="126" y="143"/>
                    <a:pt x="127" y="143"/>
                    <a:pt x="128" y="143"/>
                  </a:cubicBezTo>
                  <a:close/>
                  <a:moveTo>
                    <a:pt x="195" y="185"/>
                  </a:moveTo>
                  <a:cubicBezTo>
                    <a:pt x="195" y="185"/>
                    <a:pt x="196" y="185"/>
                    <a:pt x="197" y="185"/>
                  </a:cubicBezTo>
                  <a:cubicBezTo>
                    <a:pt x="198" y="186"/>
                    <a:pt x="198" y="187"/>
                    <a:pt x="198" y="188"/>
                  </a:cubicBezTo>
                  <a:cubicBezTo>
                    <a:pt x="198" y="190"/>
                    <a:pt x="200" y="192"/>
                    <a:pt x="201" y="193"/>
                  </a:cubicBezTo>
                  <a:cubicBezTo>
                    <a:pt x="202" y="193"/>
                    <a:pt x="203" y="193"/>
                    <a:pt x="204" y="193"/>
                  </a:cubicBezTo>
                  <a:cubicBezTo>
                    <a:pt x="205" y="193"/>
                    <a:pt x="206" y="193"/>
                    <a:pt x="207" y="193"/>
                  </a:cubicBezTo>
                  <a:cubicBezTo>
                    <a:pt x="206" y="192"/>
                    <a:pt x="205" y="192"/>
                    <a:pt x="204" y="192"/>
                  </a:cubicBezTo>
                  <a:cubicBezTo>
                    <a:pt x="203" y="192"/>
                    <a:pt x="203" y="192"/>
                    <a:pt x="202" y="192"/>
                  </a:cubicBezTo>
                  <a:cubicBezTo>
                    <a:pt x="201" y="191"/>
                    <a:pt x="200" y="190"/>
                    <a:pt x="200" y="188"/>
                  </a:cubicBezTo>
                  <a:cubicBezTo>
                    <a:pt x="200" y="186"/>
                    <a:pt x="199" y="184"/>
                    <a:pt x="197" y="184"/>
                  </a:cubicBezTo>
                  <a:cubicBezTo>
                    <a:pt x="196" y="183"/>
                    <a:pt x="195" y="183"/>
                    <a:pt x="195" y="184"/>
                  </a:cubicBezTo>
                  <a:cubicBezTo>
                    <a:pt x="194" y="184"/>
                    <a:pt x="193" y="184"/>
                    <a:pt x="192" y="184"/>
                  </a:cubicBezTo>
                  <a:cubicBezTo>
                    <a:pt x="193" y="184"/>
                    <a:pt x="194" y="184"/>
                    <a:pt x="195" y="185"/>
                  </a:cubicBezTo>
                  <a:close/>
                  <a:moveTo>
                    <a:pt x="194" y="142"/>
                  </a:moveTo>
                  <a:cubicBezTo>
                    <a:pt x="194" y="142"/>
                    <a:pt x="193" y="143"/>
                    <a:pt x="192" y="143"/>
                  </a:cubicBezTo>
                  <a:cubicBezTo>
                    <a:pt x="191" y="143"/>
                    <a:pt x="190" y="143"/>
                    <a:pt x="189" y="142"/>
                  </a:cubicBezTo>
                  <a:cubicBezTo>
                    <a:pt x="188" y="140"/>
                    <a:pt x="185" y="140"/>
                    <a:pt x="183" y="141"/>
                  </a:cubicBezTo>
                  <a:cubicBezTo>
                    <a:pt x="183" y="141"/>
                    <a:pt x="182" y="142"/>
                    <a:pt x="181" y="142"/>
                  </a:cubicBezTo>
                  <a:cubicBezTo>
                    <a:pt x="181" y="143"/>
                    <a:pt x="180" y="144"/>
                    <a:pt x="180" y="144"/>
                  </a:cubicBezTo>
                  <a:cubicBezTo>
                    <a:pt x="181" y="144"/>
                    <a:pt x="181" y="144"/>
                    <a:pt x="182" y="143"/>
                  </a:cubicBezTo>
                  <a:cubicBezTo>
                    <a:pt x="183" y="143"/>
                    <a:pt x="183" y="142"/>
                    <a:pt x="184" y="142"/>
                  </a:cubicBezTo>
                  <a:cubicBezTo>
                    <a:pt x="185" y="142"/>
                    <a:pt x="187" y="142"/>
                    <a:pt x="187" y="143"/>
                  </a:cubicBezTo>
                  <a:cubicBezTo>
                    <a:pt x="189" y="145"/>
                    <a:pt x="191" y="145"/>
                    <a:pt x="193" y="144"/>
                  </a:cubicBezTo>
                  <a:cubicBezTo>
                    <a:pt x="194" y="144"/>
                    <a:pt x="194" y="143"/>
                    <a:pt x="195" y="142"/>
                  </a:cubicBezTo>
                  <a:cubicBezTo>
                    <a:pt x="195" y="142"/>
                    <a:pt x="196" y="141"/>
                    <a:pt x="196" y="140"/>
                  </a:cubicBezTo>
                  <a:cubicBezTo>
                    <a:pt x="196" y="141"/>
                    <a:pt x="195" y="141"/>
                    <a:pt x="194" y="142"/>
                  </a:cubicBezTo>
                  <a:close/>
                  <a:moveTo>
                    <a:pt x="112" y="20"/>
                  </a:moveTo>
                  <a:cubicBezTo>
                    <a:pt x="112" y="21"/>
                    <a:pt x="112" y="22"/>
                    <a:pt x="112" y="22"/>
                  </a:cubicBezTo>
                  <a:cubicBezTo>
                    <a:pt x="111" y="23"/>
                    <a:pt x="110" y="24"/>
                    <a:pt x="109" y="24"/>
                  </a:cubicBezTo>
                  <a:cubicBezTo>
                    <a:pt x="107" y="24"/>
                    <a:pt x="105" y="25"/>
                    <a:pt x="104" y="27"/>
                  </a:cubicBezTo>
                  <a:cubicBezTo>
                    <a:pt x="104" y="28"/>
                    <a:pt x="104" y="29"/>
                    <a:pt x="104" y="30"/>
                  </a:cubicBezTo>
                  <a:cubicBezTo>
                    <a:pt x="104" y="31"/>
                    <a:pt x="104" y="31"/>
                    <a:pt x="104" y="32"/>
                  </a:cubicBezTo>
                  <a:cubicBezTo>
                    <a:pt x="104" y="31"/>
                    <a:pt x="105" y="31"/>
                    <a:pt x="105" y="30"/>
                  </a:cubicBezTo>
                  <a:cubicBezTo>
                    <a:pt x="105" y="29"/>
                    <a:pt x="105" y="28"/>
                    <a:pt x="105" y="28"/>
                  </a:cubicBezTo>
                  <a:cubicBezTo>
                    <a:pt x="106" y="27"/>
                    <a:pt x="107" y="26"/>
                    <a:pt x="109" y="26"/>
                  </a:cubicBezTo>
                  <a:cubicBezTo>
                    <a:pt x="111" y="26"/>
                    <a:pt x="113" y="25"/>
                    <a:pt x="113" y="23"/>
                  </a:cubicBezTo>
                  <a:cubicBezTo>
                    <a:pt x="114" y="22"/>
                    <a:pt x="113" y="21"/>
                    <a:pt x="113" y="20"/>
                  </a:cubicBezTo>
                  <a:cubicBezTo>
                    <a:pt x="113" y="20"/>
                    <a:pt x="113" y="19"/>
                    <a:pt x="113" y="18"/>
                  </a:cubicBezTo>
                  <a:cubicBezTo>
                    <a:pt x="113" y="19"/>
                    <a:pt x="113" y="20"/>
                    <a:pt x="112" y="20"/>
                  </a:cubicBezTo>
                  <a:close/>
                  <a:moveTo>
                    <a:pt x="93" y="160"/>
                  </a:moveTo>
                  <a:cubicBezTo>
                    <a:pt x="93" y="161"/>
                    <a:pt x="92" y="162"/>
                    <a:pt x="92" y="163"/>
                  </a:cubicBezTo>
                  <a:cubicBezTo>
                    <a:pt x="91" y="164"/>
                    <a:pt x="90" y="164"/>
                    <a:pt x="89" y="164"/>
                  </a:cubicBezTo>
                  <a:cubicBezTo>
                    <a:pt x="87" y="164"/>
                    <a:pt x="85" y="166"/>
                    <a:pt x="84" y="167"/>
                  </a:cubicBezTo>
                  <a:cubicBezTo>
                    <a:pt x="84" y="168"/>
                    <a:pt x="84" y="169"/>
                    <a:pt x="84" y="170"/>
                  </a:cubicBezTo>
                  <a:cubicBezTo>
                    <a:pt x="84" y="171"/>
                    <a:pt x="84" y="172"/>
                    <a:pt x="85" y="172"/>
                  </a:cubicBezTo>
                  <a:cubicBezTo>
                    <a:pt x="85" y="172"/>
                    <a:pt x="85" y="171"/>
                    <a:pt x="85" y="170"/>
                  </a:cubicBezTo>
                  <a:cubicBezTo>
                    <a:pt x="85" y="169"/>
                    <a:pt x="85" y="169"/>
                    <a:pt x="86" y="168"/>
                  </a:cubicBezTo>
                  <a:cubicBezTo>
                    <a:pt x="86" y="167"/>
                    <a:pt x="88" y="166"/>
                    <a:pt x="89" y="166"/>
                  </a:cubicBezTo>
                  <a:cubicBezTo>
                    <a:pt x="91" y="166"/>
                    <a:pt x="93" y="165"/>
                    <a:pt x="93" y="163"/>
                  </a:cubicBezTo>
                  <a:cubicBezTo>
                    <a:pt x="94" y="162"/>
                    <a:pt x="94" y="161"/>
                    <a:pt x="94" y="160"/>
                  </a:cubicBezTo>
                  <a:cubicBezTo>
                    <a:pt x="93" y="160"/>
                    <a:pt x="93" y="159"/>
                    <a:pt x="93" y="158"/>
                  </a:cubicBezTo>
                  <a:cubicBezTo>
                    <a:pt x="93" y="159"/>
                    <a:pt x="93" y="160"/>
                    <a:pt x="93" y="160"/>
                  </a:cubicBezTo>
                  <a:close/>
                  <a:moveTo>
                    <a:pt x="192" y="39"/>
                  </a:moveTo>
                  <a:cubicBezTo>
                    <a:pt x="192" y="40"/>
                    <a:pt x="192" y="40"/>
                    <a:pt x="191" y="41"/>
                  </a:cubicBezTo>
                  <a:cubicBezTo>
                    <a:pt x="191" y="42"/>
                    <a:pt x="189" y="43"/>
                    <a:pt x="188" y="43"/>
                  </a:cubicBezTo>
                  <a:cubicBezTo>
                    <a:pt x="186" y="43"/>
                    <a:pt x="184" y="44"/>
                    <a:pt x="184" y="46"/>
                  </a:cubicBezTo>
                  <a:cubicBezTo>
                    <a:pt x="183" y="47"/>
                    <a:pt x="183" y="48"/>
                    <a:pt x="183" y="49"/>
                  </a:cubicBezTo>
                  <a:cubicBezTo>
                    <a:pt x="184" y="49"/>
                    <a:pt x="184" y="50"/>
                    <a:pt x="184" y="51"/>
                  </a:cubicBezTo>
                  <a:cubicBezTo>
                    <a:pt x="184" y="50"/>
                    <a:pt x="184" y="49"/>
                    <a:pt x="184" y="49"/>
                  </a:cubicBezTo>
                  <a:cubicBezTo>
                    <a:pt x="184" y="48"/>
                    <a:pt x="185" y="47"/>
                    <a:pt x="185" y="47"/>
                  </a:cubicBezTo>
                  <a:cubicBezTo>
                    <a:pt x="186" y="46"/>
                    <a:pt x="187" y="45"/>
                    <a:pt x="188" y="45"/>
                  </a:cubicBezTo>
                  <a:cubicBezTo>
                    <a:pt x="190" y="45"/>
                    <a:pt x="192" y="44"/>
                    <a:pt x="193" y="42"/>
                  </a:cubicBezTo>
                  <a:cubicBezTo>
                    <a:pt x="193" y="41"/>
                    <a:pt x="193" y="40"/>
                    <a:pt x="193" y="39"/>
                  </a:cubicBezTo>
                  <a:cubicBezTo>
                    <a:pt x="193" y="38"/>
                    <a:pt x="193" y="37"/>
                    <a:pt x="192" y="37"/>
                  </a:cubicBezTo>
                  <a:cubicBezTo>
                    <a:pt x="192" y="37"/>
                    <a:pt x="192" y="38"/>
                    <a:pt x="192" y="39"/>
                  </a:cubicBezTo>
                  <a:close/>
                  <a:moveTo>
                    <a:pt x="192" y="265"/>
                  </a:moveTo>
                  <a:cubicBezTo>
                    <a:pt x="192" y="266"/>
                    <a:pt x="192" y="267"/>
                    <a:pt x="191" y="267"/>
                  </a:cubicBezTo>
                  <a:cubicBezTo>
                    <a:pt x="191" y="268"/>
                    <a:pt x="189" y="269"/>
                    <a:pt x="188" y="269"/>
                  </a:cubicBezTo>
                  <a:cubicBezTo>
                    <a:pt x="186" y="269"/>
                    <a:pt x="184" y="270"/>
                    <a:pt x="184" y="272"/>
                  </a:cubicBezTo>
                  <a:cubicBezTo>
                    <a:pt x="183" y="273"/>
                    <a:pt x="183" y="274"/>
                    <a:pt x="183" y="275"/>
                  </a:cubicBezTo>
                  <a:cubicBezTo>
                    <a:pt x="184" y="276"/>
                    <a:pt x="184" y="276"/>
                    <a:pt x="184" y="277"/>
                  </a:cubicBezTo>
                  <a:cubicBezTo>
                    <a:pt x="184" y="276"/>
                    <a:pt x="184" y="276"/>
                    <a:pt x="184" y="275"/>
                  </a:cubicBezTo>
                  <a:cubicBezTo>
                    <a:pt x="184" y="274"/>
                    <a:pt x="185" y="273"/>
                    <a:pt x="185" y="273"/>
                  </a:cubicBezTo>
                  <a:cubicBezTo>
                    <a:pt x="186" y="272"/>
                    <a:pt x="187" y="271"/>
                    <a:pt x="188" y="271"/>
                  </a:cubicBezTo>
                  <a:cubicBezTo>
                    <a:pt x="190" y="271"/>
                    <a:pt x="192" y="270"/>
                    <a:pt x="193" y="268"/>
                  </a:cubicBezTo>
                  <a:cubicBezTo>
                    <a:pt x="193" y="267"/>
                    <a:pt x="193" y="266"/>
                    <a:pt x="193" y="265"/>
                  </a:cubicBezTo>
                  <a:cubicBezTo>
                    <a:pt x="193" y="265"/>
                    <a:pt x="193" y="264"/>
                    <a:pt x="192" y="263"/>
                  </a:cubicBezTo>
                  <a:cubicBezTo>
                    <a:pt x="192" y="264"/>
                    <a:pt x="192" y="265"/>
                    <a:pt x="192" y="265"/>
                  </a:cubicBezTo>
                  <a:close/>
                  <a:moveTo>
                    <a:pt x="15" y="166"/>
                  </a:moveTo>
                  <a:cubicBezTo>
                    <a:pt x="15" y="166"/>
                    <a:pt x="15" y="167"/>
                    <a:pt x="14" y="168"/>
                  </a:cubicBezTo>
                  <a:cubicBezTo>
                    <a:pt x="14" y="169"/>
                    <a:pt x="12" y="169"/>
                    <a:pt x="11" y="169"/>
                  </a:cubicBezTo>
                  <a:cubicBezTo>
                    <a:pt x="9" y="169"/>
                    <a:pt x="7" y="171"/>
                    <a:pt x="7" y="172"/>
                  </a:cubicBezTo>
                  <a:cubicBezTo>
                    <a:pt x="6" y="173"/>
                    <a:pt x="6" y="174"/>
                    <a:pt x="6" y="175"/>
                  </a:cubicBezTo>
                  <a:cubicBezTo>
                    <a:pt x="7" y="176"/>
                    <a:pt x="7" y="177"/>
                    <a:pt x="7" y="177"/>
                  </a:cubicBezTo>
                  <a:cubicBezTo>
                    <a:pt x="7" y="177"/>
                    <a:pt x="7" y="176"/>
                    <a:pt x="7" y="175"/>
                  </a:cubicBezTo>
                  <a:cubicBezTo>
                    <a:pt x="7" y="174"/>
                    <a:pt x="8" y="174"/>
                    <a:pt x="8" y="173"/>
                  </a:cubicBezTo>
                  <a:cubicBezTo>
                    <a:pt x="9" y="172"/>
                    <a:pt x="10" y="171"/>
                    <a:pt x="11" y="171"/>
                  </a:cubicBezTo>
                  <a:cubicBezTo>
                    <a:pt x="13" y="171"/>
                    <a:pt x="15" y="170"/>
                    <a:pt x="16" y="168"/>
                  </a:cubicBezTo>
                  <a:cubicBezTo>
                    <a:pt x="16" y="167"/>
                    <a:pt x="16" y="166"/>
                    <a:pt x="16" y="166"/>
                  </a:cubicBezTo>
                  <a:cubicBezTo>
                    <a:pt x="16" y="165"/>
                    <a:pt x="16" y="164"/>
                    <a:pt x="15" y="163"/>
                  </a:cubicBezTo>
                  <a:cubicBezTo>
                    <a:pt x="15" y="164"/>
                    <a:pt x="15" y="165"/>
                    <a:pt x="15" y="166"/>
                  </a:cubicBezTo>
                  <a:close/>
                  <a:moveTo>
                    <a:pt x="164" y="101"/>
                  </a:moveTo>
                  <a:cubicBezTo>
                    <a:pt x="164" y="102"/>
                    <a:pt x="164" y="102"/>
                    <a:pt x="164" y="103"/>
                  </a:cubicBezTo>
                  <a:cubicBezTo>
                    <a:pt x="163" y="104"/>
                    <a:pt x="162" y="105"/>
                    <a:pt x="160" y="105"/>
                  </a:cubicBezTo>
                  <a:cubicBezTo>
                    <a:pt x="159" y="105"/>
                    <a:pt x="157" y="106"/>
                    <a:pt x="156" y="108"/>
                  </a:cubicBezTo>
                  <a:cubicBezTo>
                    <a:pt x="155" y="109"/>
                    <a:pt x="155" y="110"/>
                    <a:pt x="156" y="111"/>
                  </a:cubicBezTo>
                  <a:cubicBezTo>
                    <a:pt x="156" y="111"/>
                    <a:pt x="156" y="112"/>
                    <a:pt x="156" y="113"/>
                  </a:cubicBezTo>
                  <a:cubicBezTo>
                    <a:pt x="156" y="112"/>
                    <a:pt x="156" y="111"/>
                    <a:pt x="157" y="111"/>
                  </a:cubicBezTo>
                  <a:cubicBezTo>
                    <a:pt x="157" y="110"/>
                    <a:pt x="157" y="109"/>
                    <a:pt x="157" y="109"/>
                  </a:cubicBezTo>
                  <a:cubicBezTo>
                    <a:pt x="158" y="107"/>
                    <a:pt x="159" y="107"/>
                    <a:pt x="160" y="107"/>
                  </a:cubicBezTo>
                  <a:cubicBezTo>
                    <a:pt x="162" y="107"/>
                    <a:pt x="164" y="106"/>
                    <a:pt x="165" y="104"/>
                  </a:cubicBezTo>
                  <a:cubicBezTo>
                    <a:pt x="165" y="103"/>
                    <a:pt x="165" y="102"/>
                    <a:pt x="165" y="101"/>
                  </a:cubicBezTo>
                  <a:cubicBezTo>
                    <a:pt x="165" y="100"/>
                    <a:pt x="165" y="99"/>
                    <a:pt x="165" y="99"/>
                  </a:cubicBezTo>
                  <a:cubicBezTo>
                    <a:pt x="164" y="99"/>
                    <a:pt x="164" y="100"/>
                    <a:pt x="164" y="101"/>
                  </a:cubicBezTo>
                  <a:close/>
                  <a:moveTo>
                    <a:pt x="61" y="87"/>
                  </a:moveTo>
                  <a:cubicBezTo>
                    <a:pt x="61" y="88"/>
                    <a:pt x="61" y="89"/>
                    <a:pt x="61" y="89"/>
                  </a:cubicBezTo>
                  <a:cubicBezTo>
                    <a:pt x="60" y="90"/>
                    <a:pt x="59" y="91"/>
                    <a:pt x="58" y="91"/>
                  </a:cubicBezTo>
                  <a:cubicBezTo>
                    <a:pt x="56" y="91"/>
                    <a:pt x="54" y="92"/>
                    <a:pt x="53" y="94"/>
                  </a:cubicBezTo>
                  <a:cubicBezTo>
                    <a:pt x="53" y="95"/>
                    <a:pt x="53" y="96"/>
                    <a:pt x="53" y="97"/>
                  </a:cubicBezTo>
                  <a:cubicBezTo>
                    <a:pt x="53" y="98"/>
                    <a:pt x="53" y="98"/>
                    <a:pt x="53" y="99"/>
                  </a:cubicBezTo>
                  <a:cubicBezTo>
                    <a:pt x="54" y="98"/>
                    <a:pt x="54" y="98"/>
                    <a:pt x="54" y="97"/>
                  </a:cubicBezTo>
                  <a:cubicBezTo>
                    <a:pt x="54" y="96"/>
                    <a:pt x="54" y="95"/>
                    <a:pt x="54" y="95"/>
                  </a:cubicBezTo>
                  <a:cubicBezTo>
                    <a:pt x="55" y="94"/>
                    <a:pt x="56" y="93"/>
                    <a:pt x="58" y="93"/>
                  </a:cubicBezTo>
                  <a:cubicBezTo>
                    <a:pt x="60" y="93"/>
                    <a:pt x="62" y="92"/>
                    <a:pt x="62" y="90"/>
                  </a:cubicBezTo>
                  <a:cubicBezTo>
                    <a:pt x="63" y="89"/>
                    <a:pt x="62" y="88"/>
                    <a:pt x="62" y="87"/>
                  </a:cubicBezTo>
                  <a:cubicBezTo>
                    <a:pt x="62" y="86"/>
                    <a:pt x="62" y="86"/>
                    <a:pt x="62" y="85"/>
                  </a:cubicBezTo>
                  <a:cubicBezTo>
                    <a:pt x="62" y="86"/>
                    <a:pt x="62" y="86"/>
                    <a:pt x="61" y="87"/>
                  </a:cubicBezTo>
                  <a:close/>
                  <a:moveTo>
                    <a:pt x="61" y="244"/>
                  </a:moveTo>
                  <a:cubicBezTo>
                    <a:pt x="61" y="245"/>
                    <a:pt x="61" y="245"/>
                    <a:pt x="61" y="246"/>
                  </a:cubicBezTo>
                  <a:cubicBezTo>
                    <a:pt x="60" y="247"/>
                    <a:pt x="59" y="248"/>
                    <a:pt x="58" y="248"/>
                  </a:cubicBezTo>
                  <a:cubicBezTo>
                    <a:pt x="56" y="248"/>
                    <a:pt x="54" y="249"/>
                    <a:pt x="53" y="251"/>
                  </a:cubicBezTo>
                  <a:cubicBezTo>
                    <a:pt x="53" y="251"/>
                    <a:pt x="53" y="252"/>
                    <a:pt x="53" y="253"/>
                  </a:cubicBezTo>
                  <a:cubicBezTo>
                    <a:pt x="53" y="254"/>
                    <a:pt x="53" y="255"/>
                    <a:pt x="53" y="256"/>
                  </a:cubicBezTo>
                  <a:cubicBezTo>
                    <a:pt x="54" y="255"/>
                    <a:pt x="54" y="254"/>
                    <a:pt x="54" y="253"/>
                  </a:cubicBezTo>
                  <a:cubicBezTo>
                    <a:pt x="54" y="252"/>
                    <a:pt x="54" y="252"/>
                    <a:pt x="54" y="251"/>
                  </a:cubicBezTo>
                  <a:cubicBezTo>
                    <a:pt x="55" y="250"/>
                    <a:pt x="56" y="250"/>
                    <a:pt x="58" y="250"/>
                  </a:cubicBezTo>
                  <a:cubicBezTo>
                    <a:pt x="60" y="250"/>
                    <a:pt x="62" y="248"/>
                    <a:pt x="62" y="246"/>
                  </a:cubicBezTo>
                  <a:cubicBezTo>
                    <a:pt x="63" y="246"/>
                    <a:pt x="62" y="244"/>
                    <a:pt x="62" y="244"/>
                  </a:cubicBezTo>
                  <a:cubicBezTo>
                    <a:pt x="62" y="243"/>
                    <a:pt x="62" y="242"/>
                    <a:pt x="62" y="241"/>
                  </a:cubicBezTo>
                  <a:cubicBezTo>
                    <a:pt x="62" y="242"/>
                    <a:pt x="62" y="243"/>
                    <a:pt x="61" y="244"/>
                  </a:cubicBezTo>
                  <a:close/>
                  <a:moveTo>
                    <a:pt x="141" y="55"/>
                  </a:moveTo>
                  <a:cubicBezTo>
                    <a:pt x="142" y="54"/>
                    <a:pt x="142" y="54"/>
                    <a:pt x="143" y="54"/>
                  </a:cubicBezTo>
                  <a:cubicBezTo>
                    <a:pt x="144" y="53"/>
                    <a:pt x="145" y="54"/>
                    <a:pt x="146" y="55"/>
                  </a:cubicBezTo>
                  <a:cubicBezTo>
                    <a:pt x="148" y="56"/>
                    <a:pt x="150" y="57"/>
                    <a:pt x="152" y="56"/>
                  </a:cubicBezTo>
                  <a:cubicBezTo>
                    <a:pt x="152" y="55"/>
                    <a:pt x="153" y="55"/>
                    <a:pt x="154" y="54"/>
                  </a:cubicBezTo>
                  <a:cubicBezTo>
                    <a:pt x="154" y="53"/>
                    <a:pt x="155" y="53"/>
                    <a:pt x="155" y="52"/>
                  </a:cubicBezTo>
                  <a:cubicBezTo>
                    <a:pt x="154" y="52"/>
                    <a:pt x="154" y="53"/>
                    <a:pt x="153" y="53"/>
                  </a:cubicBezTo>
                  <a:cubicBezTo>
                    <a:pt x="152" y="54"/>
                    <a:pt x="152" y="54"/>
                    <a:pt x="151" y="54"/>
                  </a:cubicBezTo>
                  <a:cubicBezTo>
                    <a:pt x="150" y="55"/>
                    <a:pt x="148" y="54"/>
                    <a:pt x="148" y="53"/>
                  </a:cubicBezTo>
                  <a:cubicBezTo>
                    <a:pt x="146" y="52"/>
                    <a:pt x="144" y="52"/>
                    <a:pt x="142" y="52"/>
                  </a:cubicBezTo>
                  <a:cubicBezTo>
                    <a:pt x="141" y="53"/>
                    <a:pt x="141" y="53"/>
                    <a:pt x="140" y="54"/>
                  </a:cubicBezTo>
                  <a:cubicBezTo>
                    <a:pt x="140" y="55"/>
                    <a:pt x="139" y="55"/>
                    <a:pt x="139" y="56"/>
                  </a:cubicBezTo>
                  <a:cubicBezTo>
                    <a:pt x="140" y="56"/>
                    <a:pt x="140" y="55"/>
                    <a:pt x="141" y="55"/>
                  </a:cubicBezTo>
                  <a:close/>
                  <a:moveTo>
                    <a:pt x="83" y="116"/>
                  </a:moveTo>
                  <a:cubicBezTo>
                    <a:pt x="83" y="115"/>
                    <a:pt x="84" y="115"/>
                    <a:pt x="85" y="115"/>
                  </a:cubicBezTo>
                  <a:cubicBezTo>
                    <a:pt x="86" y="114"/>
                    <a:pt x="87" y="115"/>
                    <a:pt x="88" y="116"/>
                  </a:cubicBezTo>
                  <a:cubicBezTo>
                    <a:pt x="89" y="117"/>
                    <a:pt x="92" y="118"/>
                    <a:pt x="93" y="117"/>
                  </a:cubicBezTo>
                  <a:cubicBezTo>
                    <a:pt x="94" y="116"/>
                    <a:pt x="95" y="116"/>
                    <a:pt x="96" y="115"/>
                  </a:cubicBezTo>
                  <a:cubicBezTo>
                    <a:pt x="96" y="114"/>
                    <a:pt x="97" y="114"/>
                    <a:pt x="97" y="113"/>
                  </a:cubicBezTo>
                  <a:cubicBezTo>
                    <a:pt x="96" y="113"/>
                    <a:pt x="96" y="114"/>
                    <a:pt x="95" y="114"/>
                  </a:cubicBezTo>
                  <a:cubicBezTo>
                    <a:pt x="94" y="115"/>
                    <a:pt x="94" y="115"/>
                    <a:pt x="93" y="115"/>
                  </a:cubicBezTo>
                  <a:cubicBezTo>
                    <a:pt x="92" y="116"/>
                    <a:pt x="90" y="115"/>
                    <a:pt x="90" y="114"/>
                  </a:cubicBezTo>
                  <a:cubicBezTo>
                    <a:pt x="88" y="113"/>
                    <a:pt x="86" y="112"/>
                    <a:pt x="84" y="113"/>
                  </a:cubicBezTo>
                  <a:cubicBezTo>
                    <a:pt x="83" y="114"/>
                    <a:pt x="83" y="114"/>
                    <a:pt x="82" y="115"/>
                  </a:cubicBezTo>
                  <a:cubicBezTo>
                    <a:pt x="82" y="116"/>
                    <a:pt x="81" y="116"/>
                    <a:pt x="81" y="117"/>
                  </a:cubicBezTo>
                  <a:cubicBezTo>
                    <a:pt x="81" y="117"/>
                    <a:pt x="82" y="116"/>
                    <a:pt x="83" y="116"/>
                  </a:cubicBezTo>
                  <a:close/>
                  <a:moveTo>
                    <a:pt x="39" y="202"/>
                  </a:moveTo>
                  <a:cubicBezTo>
                    <a:pt x="39" y="202"/>
                    <a:pt x="40" y="201"/>
                    <a:pt x="41" y="201"/>
                  </a:cubicBezTo>
                  <a:cubicBezTo>
                    <a:pt x="42" y="201"/>
                    <a:pt x="43" y="201"/>
                    <a:pt x="44" y="202"/>
                  </a:cubicBezTo>
                  <a:cubicBezTo>
                    <a:pt x="46" y="204"/>
                    <a:pt x="48" y="204"/>
                    <a:pt x="50" y="203"/>
                  </a:cubicBezTo>
                  <a:cubicBezTo>
                    <a:pt x="50" y="203"/>
                    <a:pt x="51" y="202"/>
                    <a:pt x="52" y="202"/>
                  </a:cubicBezTo>
                  <a:cubicBezTo>
                    <a:pt x="52" y="201"/>
                    <a:pt x="53" y="200"/>
                    <a:pt x="53" y="200"/>
                  </a:cubicBezTo>
                  <a:cubicBezTo>
                    <a:pt x="52" y="200"/>
                    <a:pt x="52" y="200"/>
                    <a:pt x="51" y="201"/>
                  </a:cubicBezTo>
                  <a:cubicBezTo>
                    <a:pt x="50" y="201"/>
                    <a:pt x="50" y="202"/>
                    <a:pt x="49" y="202"/>
                  </a:cubicBezTo>
                  <a:cubicBezTo>
                    <a:pt x="48" y="202"/>
                    <a:pt x="46" y="202"/>
                    <a:pt x="46" y="201"/>
                  </a:cubicBezTo>
                  <a:cubicBezTo>
                    <a:pt x="44" y="199"/>
                    <a:pt x="42" y="199"/>
                    <a:pt x="40" y="200"/>
                  </a:cubicBezTo>
                  <a:cubicBezTo>
                    <a:pt x="39" y="200"/>
                    <a:pt x="39" y="201"/>
                    <a:pt x="38" y="202"/>
                  </a:cubicBezTo>
                  <a:cubicBezTo>
                    <a:pt x="38" y="202"/>
                    <a:pt x="37" y="203"/>
                    <a:pt x="37" y="204"/>
                  </a:cubicBezTo>
                  <a:cubicBezTo>
                    <a:pt x="38" y="203"/>
                    <a:pt x="38" y="203"/>
                    <a:pt x="39" y="202"/>
                  </a:cubicBezTo>
                  <a:close/>
                  <a:moveTo>
                    <a:pt x="143" y="193"/>
                  </a:moveTo>
                  <a:cubicBezTo>
                    <a:pt x="144" y="193"/>
                    <a:pt x="144" y="193"/>
                    <a:pt x="145" y="192"/>
                  </a:cubicBezTo>
                  <a:cubicBezTo>
                    <a:pt x="146" y="192"/>
                    <a:pt x="147" y="192"/>
                    <a:pt x="148" y="193"/>
                  </a:cubicBezTo>
                  <a:cubicBezTo>
                    <a:pt x="150" y="195"/>
                    <a:pt x="152" y="195"/>
                    <a:pt x="154" y="194"/>
                  </a:cubicBezTo>
                  <a:cubicBezTo>
                    <a:pt x="154" y="194"/>
                    <a:pt x="155" y="193"/>
                    <a:pt x="156" y="193"/>
                  </a:cubicBezTo>
                  <a:cubicBezTo>
                    <a:pt x="156" y="192"/>
                    <a:pt x="157" y="191"/>
                    <a:pt x="157" y="191"/>
                  </a:cubicBezTo>
                  <a:cubicBezTo>
                    <a:pt x="156" y="191"/>
                    <a:pt x="156" y="192"/>
                    <a:pt x="155" y="192"/>
                  </a:cubicBezTo>
                  <a:cubicBezTo>
                    <a:pt x="154" y="192"/>
                    <a:pt x="154" y="193"/>
                    <a:pt x="153" y="193"/>
                  </a:cubicBezTo>
                  <a:cubicBezTo>
                    <a:pt x="152" y="193"/>
                    <a:pt x="150" y="193"/>
                    <a:pt x="150" y="192"/>
                  </a:cubicBezTo>
                  <a:cubicBezTo>
                    <a:pt x="148" y="190"/>
                    <a:pt x="146" y="190"/>
                    <a:pt x="144" y="191"/>
                  </a:cubicBezTo>
                  <a:cubicBezTo>
                    <a:pt x="143" y="191"/>
                    <a:pt x="143" y="192"/>
                    <a:pt x="142" y="193"/>
                  </a:cubicBezTo>
                  <a:cubicBezTo>
                    <a:pt x="142" y="193"/>
                    <a:pt x="141" y="194"/>
                    <a:pt x="141" y="195"/>
                  </a:cubicBezTo>
                  <a:cubicBezTo>
                    <a:pt x="142" y="194"/>
                    <a:pt x="142" y="194"/>
                    <a:pt x="143" y="193"/>
                  </a:cubicBezTo>
                  <a:close/>
                  <a:moveTo>
                    <a:pt x="103" y="256"/>
                  </a:moveTo>
                  <a:cubicBezTo>
                    <a:pt x="104" y="256"/>
                    <a:pt x="104" y="256"/>
                    <a:pt x="105" y="255"/>
                  </a:cubicBezTo>
                  <a:cubicBezTo>
                    <a:pt x="106" y="255"/>
                    <a:pt x="107" y="255"/>
                    <a:pt x="108" y="256"/>
                  </a:cubicBezTo>
                  <a:cubicBezTo>
                    <a:pt x="110" y="258"/>
                    <a:pt x="112" y="258"/>
                    <a:pt x="114" y="257"/>
                  </a:cubicBezTo>
                  <a:cubicBezTo>
                    <a:pt x="115" y="257"/>
                    <a:pt x="115" y="256"/>
                    <a:pt x="116" y="256"/>
                  </a:cubicBezTo>
                  <a:cubicBezTo>
                    <a:pt x="116" y="255"/>
                    <a:pt x="117" y="254"/>
                    <a:pt x="117" y="254"/>
                  </a:cubicBezTo>
                  <a:cubicBezTo>
                    <a:pt x="116" y="254"/>
                    <a:pt x="116" y="255"/>
                    <a:pt x="115" y="255"/>
                  </a:cubicBezTo>
                  <a:cubicBezTo>
                    <a:pt x="114" y="256"/>
                    <a:pt x="114" y="256"/>
                    <a:pt x="113" y="256"/>
                  </a:cubicBezTo>
                  <a:cubicBezTo>
                    <a:pt x="112" y="256"/>
                    <a:pt x="111" y="256"/>
                    <a:pt x="110" y="255"/>
                  </a:cubicBezTo>
                  <a:cubicBezTo>
                    <a:pt x="108" y="253"/>
                    <a:pt x="106" y="253"/>
                    <a:pt x="104" y="254"/>
                  </a:cubicBezTo>
                  <a:cubicBezTo>
                    <a:pt x="103" y="254"/>
                    <a:pt x="103" y="255"/>
                    <a:pt x="102" y="256"/>
                  </a:cubicBezTo>
                  <a:cubicBezTo>
                    <a:pt x="102" y="256"/>
                    <a:pt x="101" y="257"/>
                    <a:pt x="101" y="258"/>
                  </a:cubicBezTo>
                  <a:cubicBezTo>
                    <a:pt x="102" y="257"/>
                    <a:pt x="102" y="257"/>
                    <a:pt x="103" y="256"/>
                  </a:cubicBezTo>
                  <a:close/>
                  <a:moveTo>
                    <a:pt x="209" y="228"/>
                  </a:moveTo>
                  <a:cubicBezTo>
                    <a:pt x="209" y="228"/>
                    <a:pt x="208" y="228"/>
                    <a:pt x="208" y="228"/>
                  </a:cubicBezTo>
                  <a:cubicBezTo>
                    <a:pt x="207" y="226"/>
                    <a:pt x="204" y="226"/>
                    <a:pt x="203" y="227"/>
                  </a:cubicBezTo>
                  <a:cubicBezTo>
                    <a:pt x="202" y="227"/>
                    <a:pt x="201" y="228"/>
                    <a:pt x="201" y="228"/>
                  </a:cubicBezTo>
                  <a:cubicBezTo>
                    <a:pt x="200" y="229"/>
                    <a:pt x="200" y="230"/>
                    <a:pt x="199" y="231"/>
                  </a:cubicBezTo>
                  <a:cubicBezTo>
                    <a:pt x="200" y="230"/>
                    <a:pt x="201" y="230"/>
                    <a:pt x="201" y="229"/>
                  </a:cubicBezTo>
                  <a:cubicBezTo>
                    <a:pt x="202" y="229"/>
                    <a:pt x="203" y="228"/>
                    <a:pt x="203" y="228"/>
                  </a:cubicBezTo>
                  <a:cubicBezTo>
                    <a:pt x="205" y="228"/>
                    <a:pt x="206" y="228"/>
                    <a:pt x="207" y="229"/>
                  </a:cubicBezTo>
                  <a:cubicBezTo>
                    <a:pt x="207" y="230"/>
                    <a:pt x="208" y="230"/>
                    <a:pt x="209" y="230"/>
                  </a:cubicBezTo>
                  <a:lnTo>
                    <a:pt x="209" y="2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2">
              <a:extLst>
                <a:ext uri="{FF2B5EF4-FFF2-40B4-BE49-F238E27FC236}">
                  <a16:creationId xmlns:a16="http://schemas.microsoft.com/office/drawing/2014/main" id="{6FF0E233-3ED4-47A7-91D4-418838F8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197" y="2380889"/>
              <a:ext cx="80605" cy="757445"/>
            </a:xfrm>
            <a:custGeom>
              <a:avLst/>
              <a:gdLst>
                <a:gd name="T0" fmla="*/ 29 w 29"/>
                <a:gd name="T1" fmla="*/ 0 h 269"/>
                <a:gd name="T2" fmla="*/ 23 w 29"/>
                <a:gd name="T3" fmla="*/ 67 h 269"/>
                <a:gd name="T4" fmla="*/ 17 w 29"/>
                <a:gd name="T5" fmla="*/ 135 h 269"/>
                <a:gd name="T6" fmla="*/ 9 w 29"/>
                <a:gd name="T7" fmla="*/ 202 h 269"/>
                <a:gd name="T8" fmla="*/ 5 w 29"/>
                <a:gd name="T9" fmla="*/ 235 h 269"/>
                <a:gd name="T10" fmla="*/ 0 w 29"/>
                <a:gd name="T11" fmla="*/ 269 h 269"/>
                <a:gd name="T12" fmla="*/ 3 w 29"/>
                <a:gd name="T13" fmla="*/ 235 h 269"/>
                <a:gd name="T14" fmla="*/ 6 w 29"/>
                <a:gd name="T15" fmla="*/ 201 h 269"/>
                <a:gd name="T16" fmla="*/ 13 w 29"/>
                <a:gd name="T17" fmla="*/ 134 h 269"/>
                <a:gd name="T18" fmla="*/ 20 w 29"/>
                <a:gd name="T19" fmla="*/ 67 h 269"/>
                <a:gd name="T20" fmla="*/ 29 w 29"/>
                <a:gd name="T21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69">
                  <a:moveTo>
                    <a:pt x="29" y="0"/>
                  </a:moveTo>
                  <a:cubicBezTo>
                    <a:pt x="27" y="22"/>
                    <a:pt x="25" y="45"/>
                    <a:pt x="23" y="67"/>
                  </a:cubicBezTo>
                  <a:cubicBezTo>
                    <a:pt x="21" y="90"/>
                    <a:pt x="19" y="112"/>
                    <a:pt x="17" y="135"/>
                  </a:cubicBezTo>
                  <a:cubicBezTo>
                    <a:pt x="14" y="157"/>
                    <a:pt x="12" y="179"/>
                    <a:pt x="9" y="202"/>
                  </a:cubicBezTo>
                  <a:cubicBezTo>
                    <a:pt x="5" y="235"/>
                    <a:pt x="5" y="235"/>
                    <a:pt x="5" y="235"/>
                  </a:cubicBezTo>
                  <a:cubicBezTo>
                    <a:pt x="3" y="246"/>
                    <a:pt x="2" y="258"/>
                    <a:pt x="0" y="269"/>
                  </a:cubicBezTo>
                  <a:cubicBezTo>
                    <a:pt x="1" y="257"/>
                    <a:pt x="2" y="246"/>
                    <a:pt x="3" y="235"/>
                  </a:cubicBezTo>
                  <a:cubicBezTo>
                    <a:pt x="6" y="201"/>
                    <a:pt x="6" y="201"/>
                    <a:pt x="6" y="201"/>
                  </a:cubicBezTo>
                  <a:cubicBezTo>
                    <a:pt x="8" y="179"/>
                    <a:pt x="11" y="157"/>
                    <a:pt x="13" y="134"/>
                  </a:cubicBezTo>
                  <a:cubicBezTo>
                    <a:pt x="15" y="112"/>
                    <a:pt x="18" y="89"/>
                    <a:pt x="20" y="67"/>
                  </a:cubicBezTo>
                  <a:cubicBezTo>
                    <a:pt x="23" y="45"/>
                    <a:pt x="26" y="22"/>
                    <a:pt x="2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3">
              <a:extLst>
                <a:ext uri="{FF2B5EF4-FFF2-40B4-BE49-F238E27FC236}">
                  <a16:creationId xmlns:a16="http://schemas.microsoft.com/office/drawing/2014/main" id="{20C63176-C1A7-4121-9F61-5DE25E352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8358" y="2566991"/>
              <a:ext cx="22522" cy="22522"/>
            </a:xfrm>
            <a:custGeom>
              <a:avLst/>
              <a:gdLst>
                <a:gd name="T0" fmla="*/ 8 w 8"/>
                <a:gd name="T1" fmla="*/ 4 h 8"/>
                <a:gd name="T2" fmla="*/ 4 w 8"/>
                <a:gd name="T3" fmla="*/ 8 h 8"/>
                <a:gd name="T4" fmla="*/ 0 w 8"/>
                <a:gd name="T5" fmla="*/ 4 h 8"/>
                <a:gd name="T6" fmla="*/ 4 w 8"/>
                <a:gd name="T7" fmla="*/ 0 h 8"/>
                <a:gd name="T8" fmla="*/ 8 w 8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cubicBezTo>
                    <a:pt x="8" y="7"/>
                    <a:pt x="6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34">
              <a:extLst>
                <a:ext uri="{FF2B5EF4-FFF2-40B4-BE49-F238E27FC236}">
                  <a16:creationId xmlns:a16="http://schemas.microsoft.com/office/drawing/2014/main" id="{9FBA6448-BE86-48D8-8DC3-BA764E5DA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1763" y="2687898"/>
              <a:ext cx="24893" cy="26078"/>
            </a:xfrm>
            <a:custGeom>
              <a:avLst/>
              <a:gdLst>
                <a:gd name="T0" fmla="*/ 9 w 9"/>
                <a:gd name="T1" fmla="*/ 5 h 9"/>
                <a:gd name="T2" fmla="*/ 4 w 9"/>
                <a:gd name="T3" fmla="*/ 8 h 9"/>
                <a:gd name="T4" fmla="*/ 0 w 9"/>
                <a:gd name="T5" fmla="*/ 4 h 9"/>
                <a:gd name="T6" fmla="*/ 5 w 9"/>
                <a:gd name="T7" fmla="*/ 0 h 9"/>
                <a:gd name="T8" fmla="*/ 9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5"/>
                  </a:moveTo>
                  <a:cubicBezTo>
                    <a:pt x="9" y="7"/>
                    <a:pt x="7" y="9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5">
              <a:extLst>
                <a:ext uri="{FF2B5EF4-FFF2-40B4-BE49-F238E27FC236}">
                  <a16:creationId xmlns:a16="http://schemas.microsoft.com/office/drawing/2014/main" id="{338E8016-1B43-49BF-9168-88B8ED941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7539" y="2808805"/>
              <a:ext cx="24893" cy="26078"/>
            </a:xfrm>
            <a:custGeom>
              <a:avLst/>
              <a:gdLst>
                <a:gd name="T0" fmla="*/ 8 w 9"/>
                <a:gd name="T1" fmla="*/ 5 h 9"/>
                <a:gd name="T2" fmla="*/ 4 w 9"/>
                <a:gd name="T3" fmla="*/ 9 h 9"/>
                <a:gd name="T4" fmla="*/ 0 w 9"/>
                <a:gd name="T5" fmla="*/ 4 h 9"/>
                <a:gd name="T6" fmla="*/ 4 w 9"/>
                <a:gd name="T7" fmla="*/ 0 h 9"/>
                <a:gd name="T8" fmla="*/ 8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7"/>
                    <a:pt x="6" y="9"/>
                    <a:pt x="4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8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6">
              <a:extLst>
                <a:ext uri="{FF2B5EF4-FFF2-40B4-BE49-F238E27FC236}">
                  <a16:creationId xmlns:a16="http://schemas.microsoft.com/office/drawing/2014/main" id="{B70B95DB-E1D0-4C46-BE08-CD2175046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758" y="2930897"/>
              <a:ext cx="26078" cy="24893"/>
            </a:xfrm>
            <a:custGeom>
              <a:avLst/>
              <a:gdLst>
                <a:gd name="T0" fmla="*/ 9 w 9"/>
                <a:gd name="T1" fmla="*/ 5 h 9"/>
                <a:gd name="T2" fmla="*/ 4 w 9"/>
                <a:gd name="T3" fmla="*/ 9 h 9"/>
                <a:gd name="T4" fmla="*/ 0 w 9"/>
                <a:gd name="T5" fmla="*/ 4 h 9"/>
                <a:gd name="T6" fmla="*/ 5 w 9"/>
                <a:gd name="T7" fmla="*/ 0 h 9"/>
                <a:gd name="T8" fmla="*/ 9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5"/>
                  </a:moveTo>
                  <a:cubicBezTo>
                    <a:pt x="9" y="7"/>
                    <a:pt x="7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1" y="2"/>
                    <a:pt x="3" y="0"/>
                    <a:pt x="5" y="0"/>
                  </a:cubicBezTo>
                  <a:cubicBezTo>
                    <a:pt x="7" y="1"/>
                    <a:pt x="9" y="3"/>
                    <a:pt x="9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7">
              <a:extLst>
                <a:ext uri="{FF2B5EF4-FFF2-40B4-BE49-F238E27FC236}">
                  <a16:creationId xmlns:a16="http://schemas.microsoft.com/office/drawing/2014/main" id="{50AA0130-591C-49AD-844E-FCFEB607B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719" y="3051803"/>
              <a:ext cx="24893" cy="24893"/>
            </a:xfrm>
            <a:custGeom>
              <a:avLst/>
              <a:gdLst>
                <a:gd name="T0" fmla="*/ 8 w 9"/>
                <a:gd name="T1" fmla="*/ 5 h 9"/>
                <a:gd name="T2" fmla="*/ 4 w 9"/>
                <a:gd name="T3" fmla="*/ 9 h 9"/>
                <a:gd name="T4" fmla="*/ 0 w 9"/>
                <a:gd name="T5" fmla="*/ 4 h 9"/>
                <a:gd name="T6" fmla="*/ 5 w 9"/>
                <a:gd name="T7" fmla="*/ 1 h 9"/>
                <a:gd name="T8" fmla="*/ 8 w 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5"/>
                  </a:moveTo>
                  <a:cubicBezTo>
                    <a:pt x="8" y="7"/>
                    <a:pt x="6" y="9"/>
                    <a:pt x="4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1"/>
                  </a:cubicBezTo>
                  <a:cubicBezTo>
                    <a:pt x="7" y="1"/>
                    <a:pt x="9" y="3"/>
                    <a:pt x="8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8">
              <a:extLst>
                <a:ext uri="{FF2B5EF4-FFF2-40B4-BE49-F238E27FC236}">
                  <a16:creationId xmlns:a16="http://schemas.microsoft.com/office/drawing/2014/main" id="{FC2D874B-5A3B-4BAC-A022-84B672897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598" y="2108257"/>
              <a:ext cx="205067" cy="286857"/>
            </a:xfrm>
            <a:custGeom>
              <a:avLst/>
              <a:gdLst>
                <a:gd name="T0" fmla="*/ 34 w 73"/>
                <a:gd name="T1" fmla="*/ 101 h 102"/>
                <a:gd name="T2" fmla="*/ 0 w 73"/>
                <a:gd name="T3" fmla="*/ 53 h 102"/>
                <a:gd name="T4" fmla="*/ 11 w 73"/>
                <a:gd name="T5" fmla="*/ 27 h 102"/>
                <a:gd name="T6" fmla="*/ 22 w 73"/>
                <a:gd name="T7" fmla="*/ 0 h 102"/>
                <a:gd name="T8" fmla="*/ 73 w 73"/>
                <a:gd name="T9" fmla="*/ 31 h 102"/>
                <a:gd name="T10" fmla="*/ 57 w 73"/>
                <a:gd name="T11" fmla="*/ 64 h 102"/>
                <a:gd name="T12" fmla="*/ 56 w 73"/>
                <a:gd name="T13" fmla="*/ 68 h 102"/>
                <a:gd name="T14" fmla="*/ 56 w 73"/>
                <a:gd name="T15" fmla="*/ 68 h 102"/>
                <a:gd name="T16" fmla="*/ 34 w 73"/>
                <a:gd name="T17" fmla="*/ 10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102">
                  <a:moveTo>
                    <a:pt x="34" y="101"/>
                  </a:moveTo>
                  <a:cubicBezTo>
                    <a:pt x="20" y="100"/>
                    <a:pt x="4" y="73"/>
                    <a:pt x="0" y="53"/>
                  </a:cubicBezTo>
                  <a:cubicBezTo>
                    <a:pt x="0" y="52"/>
                    <a:pt x="5" y="41"/>
                    <a:pt x="11" y="27"/>
                  </a:cubicBezTo>
                  <a:cubicBezTo>
                    <a:pt x="15" y="18"/>
                    <a:pt x="19" y="9"/>
                    <a:pt x="22" y="0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62" y="48"/>
                    <a:pt x="57" y="64"/>
                  </a:cubicBezTo>
                  <a:cubicBezTo>
                    <a:pt x="57" y="65"/>
                    <a:pt x="56" y="67"/>
                    <a:pt x="56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5" y="76"/>
                    <a:pt x="48" y="102"/>
                    <a:pt x="34" y="101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9">
              <a:extLst>
                <a:ext uri="{FF2B5EF4-FFF2-40B4-BE49-F238E27FC236}">
                  <a16:creationId xmlns:a16="http://schemas.microsoft.com/office/drawing/2014/main" id="{4090C6C4-D8DD-4F2C-9AF8-37CBEDCE2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6568" y="2110627"/>
              <a:ext cx="154097" cy="192028"/>
            </a:xfrm>
            <a:custGeom>
              <a:avLst/>
              <a:gdLst>
                <a:gd name="T0" fmla="*/ 6 w 55"/>
                <a:gd name="T1" fmla="*/ 0 h 68"/>
                <a:gd name="T2" fmla="*/ 32 w 55"/>
                <a:gd name="T3" fmla="*/ 66 h 68"/>
                <a:gd name="T4" fmla="*/ 38 w 55"/>
                <a:gd name="T5" fmla="*/ 68 h 68"/>
                <a:gd name="T6" fmla="*/ 38 w 55"/>
                <a:gd name="T7" fmla="*/ 67 h 68"/>
                <a:gd name="T8" fmla="*/ 39 w 55"/>
                <a:gd name="T9" fmla="*/ 63 h 68"/>
                <a:gd name="T10" fmla="*/ 55 w 55"/>
                <a:gd name="T11" fmla="*/ 30 h 68"/>
                <a:gd name="T12" fmla="*/ 6 w 55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68">
                  <a:moveTo>
                    <a:pt x="6" y="0"/>
                  </a:moveTo>
                  <a:cubicBezTo>
                    <a:pt x="4" y="12"/>
                    <a:pt x="0" y="55"/>
                    <a:pt x="32" y="66"/>
                  </a:cubicBezTo>
                  <a:cubicBezTo>
                    <a:pt x="34" y="67"/>
                    <a:pt x="36" y="67"/>
                    <a:pt x="38" y="68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6"/>
                    <a:pt x="39" y="64"/>
                    <a:pt x="39" y="63"/>
                  </a:cubicBezTo>
                  <a:cubicBezTo>
                    <a:pt x="44" y="47"/>
                    <a:pt x="55" y="30"/>
                    <a:pt x="55" y="3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0">
              <a:extLst>
                <a:ext uri="{FF2B5EF4-FFF2-40B4-BE49-F238E27FC236}">
                  <a16:creationId xmlns:a16="http://schemas.microsoft.com/office/drawing/2014/main" id="{F9F1C7CE-51D3-4963-B13F-E51FB57E4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271" y="1843921"/>
              <a:ext cx="305823" cy="452808"/>
            </a:xfrm>
            <a:custGeom>
              <a:avLst/>
              <a:gdLst>
                <a:gd name="T0" fmla="*/ 8 w 109"/>
                <a:gd name="T1" fmla="*/ 38 h 161"/>
                <a:gd name="T2" fmla="*/ 17 w 109"/>
                <a:gd name="T3" fmla="*/ 134 h 161"/>
                <a:gd name="T4" fmla="*/ 91 w 109"/>
                <a:gd name="T5" fmla="*/ 137 h 161"/>
                <a:gd name="T6" fmla="*/ 87 w 109"/>
                <a:gd name="T7" fmla="*/ 21 h 161"/>
                <a:gd name="T8" fmla="*/ 8 w 109"/>
                <a:gd name="T9" fmla="*/ 3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61">
                  <a:moveTo>
                    <a:pt x="8" y="38"/>
                  </a:moveTo>
                  <a:cubicBezTo>
                    <a:pt x="0" y="58"/>
                    <a:pt x="4" y="119"/>
                    <a:pt x="17" y="134"/>
                  </a:cubicBezTo>
                  <a:cubicBezTo>
                    <a:pt x="37" y="156"/>
                    <a:pt x="71" y="161"/>
                    <a:pt x="91" y="137"/>
                  </a:cubicBezTo>
                  <a:cubicBezTo>
                    <a:pt x="109" y="114"/>
                    <a:pt x="102" y="35"/>
                    <a:pt x="87" y="21"/>
                  </a:cubicBezTo>
                  <a:cubicBezTo>
                    <a:pt x="65" y="0"/>
                    <a:pt x="21" y="8"/>
                    <a:pt x="8" y="38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1">
              <a:extLst>
                <a:ext uri="{FF2B5EF4-FFF2-40B4-BE49-F238E27FC236}">
                  <a16:creationId xmlns:a16="http://schemas.microsoft.com/office/drawing/2014/main" id="{2C83CFEB-3E3F-4F4A-B7EF-564164C5F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221" y="2071510"/>
              <a:ext cx="14224" cy="30819"/>
            </a:xfrm>
            <a:custGeom>
              <a:avLst/>
              <a:gdLst>
                <a:gd name="T0" fmla="*/ 4 w 5"/>
                <a:gd name="T1" fmla="*/ 0 h 11"/>
                <a:gd name="T2" fmla="*/ 3 w 5"/>
                <a:gd name="T3" fmla="*/ 0 h 11"/>
                <a:gd name="T4" fmla="*/ 0 w 5"/>
                <a:gd name="T5" fmla="*/ 11 h 11"/>
                <a:gd name="T6" fmla="*/ 0 w 5"/>
                <a:gd name="T7" fmla="*/ 11 h 11"/>
                <a:gd name="T8" fmla="*/ 4 w 5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4"/>
                    <a:pt x="3" y="9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0"/>
                    <a:pt x="5" y="4"/>
                    <a:pt x="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42">
              <a:extLst>
                <a:ext uri="{FF2B5EF4-FFF2-40B4-BE49-F238E27FC236}">
                  <a16:creationId xmlns:a16="http://schemas.microsoft.com/office/drawing/2014/main" id="{6775A197-D446-44DD-A097-144CFAF82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070" y="2060842"/>
              <a:ext cx="34375" cy="36746"/>
            </a:xfrm>
            <a:custGeom>
              <a:avLst/>
              <a:gdLst>
                <a:gd name="T0" fmla="*/ 7 w 12"/>
                <a:gd name="T1" fmla="*/ 0 h 13"/>
                <a:gd name="T2" fmla="*/ 6 w 12"/>
                <a:gd name="T3" fmla="*/ 13 h 13"/>
                <a:gd name="T4" fmla="*/ 7 w 12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7" y="0"/>
                  </a:moveTo>
                  <a:cubicBezTo>
                    <a:pt x="0" y="0"/>
                    <a:pt x="0" y="13"/>
                    <a:pt x="6" y="13"/>
                  </a:cubicBezTo>
                  <a:cubicBezTo>
                    <a:pt x="12" y="13"/>
                    <a:pt x="12" y="0"/>
                    <a:pt x="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3">
              <a:extLst>
                <a:ext uri="{FF2B5EF4-FFF2-40B4-BE49-F238E27FC236}">
                  <a16:creationId xmlns:a16="http://schemas.microsoft.com/office/drawing/2014/main" id="{46A1DE26-BC6F-4B57-A8D0-600F4C818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713" y="2069140"/>
              <a:ext cx="13039" cy="30819"/>
            </a:xfrm>
            <a:custGeom>
              <a:avLst/>
              <a:gdLst>
                <a:gd name="T0" fmla="*/ 0 w 5"/>
                <a:gd name="T1" fmla="*/ 0 h 11"/>
                <a:gd name="T2" fmla="*/ 1 w 5"/>
                <a:gd name="T3" fmla="*/ 1 h 11"/>
                <a:gd name="T4" fmla="*/ 5 w 5"/>
                <a:gd name="T5" fmla="*/ 11 h 11"/>
                <a:gd name="T6" fmla="*/ 5 w 5"/>
                <a:gd name="T7" fmla="*/ 11 h 11"/>
                <a:gd name="T8" fmla="*/ 0 w 5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5"/>
                    <a:pt x="1" y="9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1" y="10"/>
                    <a:pt x="0" y="4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4">
              <a:extLst>
                <a:ext uri="{FF2B5EF4-FFF2-40B4-BE49-F238E27FC236}">
                  <a16:creationId xmlns:a16="http://schemas.microsoft.com/office/drawing/2014/main" id="{1D14B4CA-449F-475E-B202-D7847ADC0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787" y="2054915"/>
              <a:ext cx="36746" cy="42673"/>
            </a:xfrm>
            <a:custGeom>
              <a:avLst/>
              <a:gdLst>
                <a:gd name="T0" fmla="*/ 6 w 13"/>
                <a:gd name="T1" fmla="*/ 1 h 15"/>
                <a:gd name="T2" fmla="*/ 7 w 13"/>
                <a:gd name="T3" fmla="*/ 14 h 15"/>
                <a:gd name="T4" fmla="*/ 6 w 13"/>
                <a:gd name="T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5">
                  <a:moveTo>
                    <a:pt x="6" y="1"/>
                  </a:moveTo>
                  <a:cubicBezTo>
                    <a:pt x="13" y="0"/>
                    <a:pt x="13" y="13"/>
                    <a:pt x="7" y="14"/>
                  </a:cubicBezTo>
                  <a:cubicBezTo>
                    <a:pt x="1" y="15"/>
                    <a:pt x="0" y="1"/>
                    <a:pt x="6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5">
              <a:extLst>
                <a:ext uri="{FF2B5EF4-FFF2-40B4-BE49-F238E27FC236}">
                  <a16:creationId xmlns:a16="http://schemas.microsoft.com/office/drawing/2014/main" id="{B80DBB54-DC77-4EBC-8360-816E2BDB0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3402" y="2015798"/>
              <a:ext cx="45044" cy="27263"/>
            </a:xfrm>
            <a:custGeom>
              <a:avLst/>
              <a:gdLst>
                <a:gd name="T0" fmla="*/ 5 w 16"/>
                <a:gd name="T1" fmla="*/ 10 h 10"/>
                <a:gd name="T2" fmla="*/ 10 w 16"/>
                <a:gd name="T3" fmla="*/ 8 h 10"/>
                <a:gd name="T4" fmla="*/ 15 w 16"/>
                <a:gd name="T5" fmla="*/ 5 h 10"/>
                <a:gd name="T6" fmla="*/ 15 w 16"/>
                <a:gd name="T7" fmla="*/ 1 h 10"/>
                <a:gd name="T8" fmla="*/ 7 w 16"/>
                <a:gd name="T9" fmla="*/ 1 h 10"/>
                <a:gd name="T10" fmla="*/ 2 w 16"/>
                <a:gd name="T11" fmla="*/ 5 h 10"/>
                <a:gd name="T12" fmla="*/ 5 w 1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0">
                  <a:moveTo>
                    <a:pt x="5" y="10"/>
                  </a:moveTo>
                  <a:cubicBezTo>
                    <a:pt x="7" y="9"/>
                    <a:pt x="9" y="8"/>
                    <a:pt x="10" y="8"/>
                  </a:cubicBezTo>
                  <a:cubicBezTo>
                    <a:pt x="12" y="7"/>
                    <a:pt x="14" y="7"/>
                    <a:pt x="15" y="5"/>
                  </a:cubicBezTo>
                  <a:cubicBezTo>
                    <a:pt x="16" y="4"/>
                    <a:pt x="15" y="2"/>
                    <a:pt x="15" y="1"/>
                  </a:cubicBezTo>
                  <a:cubicBezTo>
                    <a:pt x="13" y="0"/>
                    <a:pt x="10" y="0"/>
                    <a:pt x="7" y="1"/>
                  </a:cubicBezTo>
                  <a:cubicBezTo>
                    <a:pt x="5" y="2"/>
                    <a:pt x="3" y="3"/>
                    <a:pt x="2" y="5"/>
                  </a:cubicBezTo>
                  <a:cubicBezTo>
                    <a:pt x="0" y="8"/>
                    <a:pt x="3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6">
              <a:extLst>
                <a:ext uri="{FF2B5EF4-FFF2-40B4-BE49-F238E27FC236}">
                  <a16:creationId xmlns:a16="http://schemas.microsoft.com/office/drawing/2014/main" id="{5FCE581E-6531-47E7-A853-8963C8E71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787" y="2012242"/>
              <a:ext cx="41488" cy="26078"/>
            </a:xfrm>
            <a:custGeom>
              <a:avLst/>
              <a:gdLst>
                <a:gd name="T0" fmla="*/ 11 w 15"/>
                <a:gd name="T1" fmla="*/ 9 h 9"/>
                <a:gd name="T2" fmla="*/ 6 w 15"/>
                <a:gd name="T3" fmla="*/ 8 h 9"/>
                <a:gd name="T4" fmla="*/ 0 w 15"/>
                <a:gd name="T5" fmla="*/ 5 h 9"/>
                <a:gd name="T6" fmla="*/ 1 w 15"/>
                <a:gd name="T7" fmla="*/ 2 h 9"/>
                <a:gd name="T8" fmla="*/ 7 w 15"/>
                <a:gd name="T9" fmla="*/ 0 h 9"/>
                <a:gd name="T10" fmla="*/ 14 w 15"/>
                <a:gd name="T11" fmla="*/ 4 h 9"/>
                <a:gd name="T12" fmla="*/ 11 w 1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9">
                  <a:moveTo>
                    <a:pt x="11" y="9"/>
                  </a:moveTo>
                  <a:cubicBezTo>
                    <a:pt x="9" y="9"/>
                    <a:pt x="7" y="8"/>
                    <a:pt x="6" y="8"/>
                  </a:cubicBezTo>
                  <a:cubicBezTo>
                    <a:pt x="4" y="7"/>
                    <a:pt x="2" y="7"/>
                    <a:pt x="0" y="5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7" y="0"/>
                  </a:cubicBezTo>
                  <a:cubicBezTo>
                    <a:pt x="10" y="1"/>
                    <a:pt x="12" y="2"/>
                    <a:pt x="14" y="4"/>
                  </a:cubicBezTo>
                  <a:cubicBezTo>
                    <a:pt x="15" y="6"/>
                    <a:pt x="13" y="9"/>
                    <a:pt x="11" y="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7">
              <a:extLst>
                <a:ext uri="{FF2B5EF4-FFF2-40B4-BE49-F238E27FC236}">
                  <a16:creationId xmlns:a16="http://schemas.microsoft.com/office/drawing/2014/main" id="{236BA131-BB0F-40AB-9F57-44D0E7695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665" y="2178193"/>
              <a:ext cx="26078" cy="11854"/>
            </a:xfrm>
            <a:custGeom>
              <a:avLst/>
              <a:gdLst>
                <a:gd name="T0" fmla="*/ 0 w 9"/>
                <a:gd name="T1" fmla="*/ 0 h 4"/>
                <a:gd name="T2" fmla="*/ 4 w 9"/>
                <a:gd name="T3" fmla="*/ 3 h 4"/>
                <a:gd name="T4" fmla="*/ 8 w 9"/>
                <a:gd name="T5" fmla="*/ 1 h 4"/>
                <a:gd name="T6" fmla="*/ 9 w 9"/>
                <a:gd name="T7" fmla="*/ 2 h 4"/>
                <a:gd name="T8" fmla="*/ 3 w 9"/>
                <a:gd name="T9" fmla="*/ 4 h 4"/>
                <a:gd name="T10" fmla="*/ 0 w 9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cubicBezTo>
                    <a:pt x="2" y="1"/>
                    <a:pt x="3" y="2"/>
                    <a:pt x="4" y="3"/>
                  </a:cubicBezTo>
                  <a:cubicBezTo>
                    <a:pt x="5" y="3"/>
                    <a:pt x="7" y="2"/>
                    <a:pt x="8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3"/>
                    <a:pt x="5" y="4"/>
                    <a:pt x="3" y="4"/>
                  </a:cubicBezTo>
                  <a:cubicBezTo>
                    <a:pt x="2" y="4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8">
              <a:extLst>
                <a:ext uri="{FF2B5EF4-FFF2-40B4-BE49-F238E27FC236}">
                  <a16:creationId xmlns:a16="http://schemas.microsoft.com/office/drawing/2014/main" id="{C00AA591-C4C4-4C07-A077-B202A2857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4889" y="2015798"/>
              <a:ext cx="65195" cy="145799"/>
            </a:xfrm>
            <a:custGeom>
              <a:avLst/>
              <a:gdLst>
                <a:gd name="T0" fmla="*/ 0 w 23"/>
                <a:gd name="T1" fmla="*/ 46 h 52"/>
                <a:gd name="T2" fmla="*/ 9 w 23"/>
                <a:gd name="T3" fmla="*/ 52 h 52"/>
                <a:gd name="T4" fmla="*/ 14 w 23"/>
                <a:gd name="T5" fmla="*/ 52 h 52"/>
                <a:gd name="T6" fmla="*/ 15 w 23"/>
                <a:gd name="T7" fmla="*/ 52 h 52"/>
                <a:gd name="T8" fmla="*/ 16 w 23"/>
                <a:gd name="T9" fmla="*/ 52 h 52"/>
                <a:gd name="T10" fmla="*/ 17 w 23"/>
                <a:gd name="T11" fmla="*/ 51 h 52"/>
                <a:gd name="T12" fmla="*/ 17 w 23"/>
                <a:gd name="T13" fmla="*/ 51 h 52"/>
                <a:gd name="T14" fmla="*/ 17 w 23"/>
                <a:gd name="T15" fmla="*/ 50 h 52"/>
                <a:gd name="T16" fmla="*/ 17 w 23"/>
                <a:gd name="T17" fmla="*/ 50 h 52"/>
                <a:gd name="T18" fmla="*/ 17 w 23"/>
                <a:gd name="T19" fmla="*/ 50 h 52"/>
                <a:gd name="T20" fmla="*/ 16 w 23"/>
                <a:gd name="T21" fmla="*/ 42 h 52"/>
                <a:gd name="T22" fmla="*/ 23 w 23"/>
                <a:gd name="T23" fmla="*/ 43 h 52"/>
                <a:gd name="T24" fmla="*/ 17 w 23"/>
                <a:gd name="T25" fmla="*/ 1 h 52"/>
                <a:gd name="T26" fmla="*/ 16 w 23"/>
                <a:gd name="T27" fmla="*/ 1 h 52"/>
                <a:gd name="T28" fmla="*/ 20 w 23"/>
                <a:gd name="T29" fmla="*/ 40 h 52"/>
                <a:gd name="T30" fmla="*/ 14 w 23"/>
                <a:gd name="T31" fmla="*/ 39 h 52"/>
                <a:gd name="T32" fmla="*/ 15 w 23"/>
                <a:gd name="T33" fmla="*/ 49 h 52"/>
                <a:gd name="T34" fmla="*/ 15 w 23"/>
                <a:gd name="T35" fmla="*/ 49 h 52"/>
                <a:gd name="T36" fmla="*/ 0 w 23"/>
                <a:gd name="T37" fmla="*/ 45 h 52"/>
                <a:gd name="T38" fmla="*/ 0 w 23"/>
                <a:gd name="T39" fmla="*/ 4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" h="52">
                  <a:moveTo>
                    <a:pt x="0" y="46"/>
                  </a:moveTo>
                  <a:cubicBezTo>
                    <a:pt x="2" y="49"/>
                    <a:pt x="5" y="51"/>
                    <a:pt x="9" y="52"/>
                  </a:cubicBezTo>
                  <a:cubicBezTo>
                    <a:pt x="11" y="52"/>
                    <a:pt x="12" y="52"/>
                    <a:pt x="1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47"/>
                    <a:pt x="16" y="42"/>
                    <a:pt x="16" y="42"/>
                  </a:cubicBezTo>
                  <a:cubicBezTo>
                    <a:pt x="17" y="42"/>
                    <a:pt x="23" y="45"/>
                    <a:pt x="23" y="43"/>
                  </a:cubicBezTo>
                  <a:cubicBezTo>
                    <a:pt x="22" y="29"/>
                    <a:pt x="21" y="14"/>
                    <a:pt x="17" y="1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7" y="14"/>
                    <a:pt x="20" y="27"/>
                    <a:pt x="20" y="40"/>
                  </a:cubicBezTo>
                  <a:cubicBezTo>
                    <a:pt x="18" y="40"/>
                    <a:pt x="15" y="39"/>
                    <a:pt x="14" y="39"/>
                  </a:cubicBezTo>
                  <a:cubicBezTo>
                    <a:pt x="13" y="39"/>
                    <a:pt x="15" y="48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9" y="50"/>
                    <a:pt x="5" y="49"/>
                    <a:pt x="0" y="45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9">
              <a:extLst>
                <a:ext uri="{FF2B5EF4-FFF2-40B4-BE49-F238E27FC236}">
                  <a16:creationId xmlns:a16="http://schemas.microsoft.com/office/drawing/2014/main" id="{FF991FC1-C17E-483C-880C-55AFB486C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592" y="2142632"/>
              <a:ext cx="42673" cy="30819"/>
            </a:xfrm>
            <a:custGeom>
              <a:avLst/>
              <a:gdLst>
                <a:gd name="T0" fmla="*/ 15 w 15"/>
                <a:gd name="T1" fmla="*/ 6 h 11"/>
                <a:gd name="T2" fmla="*/ 8 w 15"/>
                <a:gd name="T3" fmla="*/ 11 h 11"/>
                <a:gd name="T4" fmla="*/ 3 w 15"/>
                <a:gd name="T5" fmla="*/ 11 h 11"/>
                <a:gd name="T6" fmla="*/ 1 w 15"/>
                <a:gd name="T7" fmla="*/ 4 h 11"/>
                <a:gd name="T8" fmla="*/ 3 w 15"/>
                <a:gd name="T9" fmla="*/ 0 h 11"/>
                <a:gd name="T10" fmla="*/ 15 w 15"/>
                <a:gd name="T1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1">
                  <a:moveTo>
                    <a:pt x="15" y="6"/>
                  </a:moveTo>
                  <a:cubicBezTo>
                    <a:pt x="15" y="6"/>
                    <a:pt x="12" y="10"/>
                    <a:pt x="8" y="11"/>
                  </a:cubicBezTo>
                  <a:cubicBezTo>
                    <a:pt x="6" y="11"/>
                    <a:pt x="5" y="11"/>
                    <a:pt x="3" y="11"/>
                  </a:cubicBezTo>
                  <a:cubicBezTo>
                    <a:pt x="0" y="10"/>
                    <a:pt x="0" y="7"/>
                    <a:pt x="1" y="4"/>
                  </a:cubicBezTo>
                  <a:cubicBezTo>
                    <a:pt x="2" y="2"/>
                    <a:pt x="3" y="0"/>
                    <a:pt x="3" y="0"/>
                  </a:cubicBezTo>
                  <a:cubicBezTo>
                    <a:pt x="3" y="0"/>
                    <a:pt x="7" y="5"/>
                    <a:pt x="15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0">
              <a:extLst>
                <a:ext uri="{FF2B5EF4-FFF2-40B4-BE49-F238E27FC236}">
                  <a16:creationId xmlns:a16="http://schemas.microsoft.com/office/drawing/2014/main" id="{66C401D2-EA35-48A2-90E4-D737F92D8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592" y="2153300"/>
              <a:ext cx="22522" cy="20151"/>
            </a:xfrm>
            <a:custGeom>
              <a:avLst/>
              <a:gdLst>
                <a:gd name="T0" fmla="*/ 8 w 8"/>
                <a:gd name="T1" fmla="*/ 7 h 7"/>
                <a:gd name="T2" fmla="*/ 3 w 8"/>
                <a:gd name="T3" fmla="*/ 7 h 7"/>
                <a:gd name="T4" fmla="*/ 1 w 8"/>
                <a:gd name="T5" fmla="*/ 0 h 7"/>
                <a:gd name="T6" fmla="*/ 8 w 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6" y="7"/>
                    <a:pt x="5" y="7"/>
                    <a:pt x="3" y="7"/>
                  </a:cubicBezTo>
                  <a:cubicBezTo>
                    <a:pt x="0" y="6"/>
                    <a:pt x="0" y="3"/>
                    <a:pt x="1" y="0"/>
                  </a:cubicBezTo>
                  <a:cubicBezTo>
                    <a:pt x="4" y="1"/>
                    <a:pt x="8" y="3"/>
                    <a:pt x="8" y="7"/>
                  </a:cubicBezTo>
                  <a:close/>
                </a:path>
              </a:pathLst>
            </a:custGeom>
            <a:solidFill>
              <a:srgbClr val="F29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251">
              <a:extLst>
                <a:ext uri="{FF2B5EF4-FFF2-40B4-BE49-F238E27FC236}">
                  <a16:creationId xmlns:a16="http://schemas.microsoft.com/office/drawing/2014/main" id="{EACA9F66-C1D4-4DE9-8433-B60021291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3274" y="1970755"/>
              <a:ext cx="1185" cy="1185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52">
              <a:extLst>
                <a:ext uri="{FF2B5EF4-FFF2-40B4-BE49-F238E27FC236}">
                  <a16:creationId xmlns:a16="http://schemas.microsoft.com/office/drawing/2014/main" id="{75CC62C9-20FE-4685-8BA1-99A1E89DA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675" y="1809546"/>
              <a:ext cx="336642" cy="290413"/>
            </a:xfrm>
            <a:custGeom>
              <a:avLst/>
              <a:gdLst>
                <a:gd name="T0" fmla="*/ 104 w 120"/>
                <a:gd name="T1" fmla="*/ 57 h 103"/>
                <a:gd name="T2" fmla="*/ 55 w 120"/>
                <a:gd name="T3" fmla="*/ 52 h 103"/>
                <a:gd name="T4" fmla="*/ 33 w 120"/>
                <a:gd name="T5" fmla="*/ 67 h 103"/>
                <a:gd name="T6" fmla="*/ 21 w 120"/>
                <a:gd name="T7" fmla="*/ 102 h 103"/>
                <a:gd name="T8" fmla="*/ 4 w 120"/>
                <a:gd name="T9" fmla="*/ 46 h 103"/>
                <a:gd name="T10" fmla="*/ 20 w 120"/>
                <a:gd name="T11" fmla="*/ 33 h 103"/>
                <a:gd name="T12" fmla="*/ 29 w 120"/>
                <a:gd name="T13" fmla="*/ 19 h 103"/>
                <a:gd name="T14" fmla="*/ 72 w 120"/>
                <a:gd name="T15" fmla="*/ 20 h 103"/>
                <a:gd name="T16" fmla="*/ 80 w 120"/>
                <a:gd name="T17" fmla="*/ 8 h 103"/>
                <a:gd name="T18" fmla="*/ 92 w 120"/>
                <a:gd name="T19" fmla="*/ 9 h 103"/>
                <a:gd name="T20" fmla="*/ 89 w 120"/>
                <a:gd name="T21" fmla="*/ 17 h 103"/>
                <a:gd name="T22" fmla="*/ 96 w 120"/>
                <a:gd name="T23" fmla="*/ 18 h 103"/>
                <a:gd name="T24" fmla="*/ 92 w 120"/>
                <a:gd name="T25" fmla="*/ 9 h 103"/>
                <a:gd name="T26" fmla="*/ 107 w 120"/>
                <a:gd name="T27" fmla="*/ 3 h 103"/>
                <a:gd name="T28" fmla="*/ 104 w 120"/>
                <a:gd name="T29" fmla="*/ 5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03">
                  <a:moveTo>
                    <a:pt x="104" y="57"/>
                  </a:moveTo>
                  <a:cubicBezTo>
                    <a:pt x="84" y="72"/>
                    <a:pt x="55" y="52"/>
                    <a:pt x="55" y="52"/>
                  </a:cubicBezTo>
                  <a:cubicBezTo>
                    <a:pt x="49" y="68"/>
                    <a:pt x="33" y="67"/>
                    <a:pt x="33" y="67"/>
                  </a:cubicBezTo>
                  <a:cubicBezTo>
                    <a:pt x="33" y="67"/>
                    <a:pt x="30" y="102"/>
                    <a:pt x="21" y="102"/>
                  </a:cubicBezTo>
                  <a:cubicBezTo>
                    <a:pt x="7" y="103"/>
                    <a:pt x="0" y="55"/>
                    <a:pt x="4" y="46"/>
                  </a:cubicBezTo>
                  <a:cubicBezTo>
                    <a:pt x="8" y="36"/>
                    <a:pt x="20" y="33"/>
                    <a:pt x="20" y="33"/>
                  </a:cubicBezTo>
                  <a:cubicBezTo>
                    <a:pt x="20" y="33"/>
                    <a:pt x="21" y="26"/>
                    <a:pt x="29" y="19"/>
                  </a:cubicBezTo>
                  <a:cubicBezTo>
                    <a:pt x="38" y="11"/>
                    <a:pt x="72" y="20"/>
                    <a:pt x="72" y="20"/>
                  </a:cubicBezTo>
                  <a:cubicBezTo>
                    <a:pt x="72" y="20"/>
                    <a:pt x="74" y="14"/>
                    <a:pt x="80" y="8"/>
                  </a:cubicBezTo>
                  <a:cubicBezTo>
                    <a:pt x="84" y="5"/>
                    <a:pt x="89" y="5"/>
                    <a:pt x="92" y="9"/>
                  </a:cubicBezTo>
                  <a:cubicBezTo>
                    <a:pt x="91" y="11"/>
                    <a:pt x="90" y="14"/>
                    <a:pt x="89" y="17"/>
                  </a:cubicBezTo>
                  <a:cubicBezTo>
                    <a:pt x="88" y="28"/>
                    <a:pt x="96" y="27"/>
                    <a:pt x="96" y="18"/>
                  </a:cubicBezTo>
                  <a:cubicBezTo>
                    <a:pt x="96" y="14"/>
                    <a:pt x="94" y="11"/>
                    <a:pt x="92" y="9"/>
                  </a:cubicBezTo>
                  <a:cubicBezTo>
                    <a:pt x="96" y="2"/>
                    <a:pt x="103" y="0"/>
                    <a:pt x="107" y="3"/>
                  </a:cubicBezTo>
                  <a:cubicBezTo>
                    <a:pt x="115" y="9"/>
                    <a:pt x="120" y="44"/>
                    <a:pt x="104" y="5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3">
              <a:extLst>
                <a:ext uri="{FF2B5EF4-FFF2-40B4-BE49-F238E27FC236}">
                  <a16:creationId xmlns:a16="http://schemas.microsoft.com/office/drawing/2014/main" id="{5DD0501D-37EB-4B67-BD92-403FDDB89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451" y="2030023"/>
              <a:ext cx="92458" cy="129204"/>
            </a:xfrm>
            <a:custGeom>
              <a:avLst/>
              <a:gdLst>
                <a:gd name="T0" fmla="*/ 31 w 33"/>
                <a:gd name="T1" fmla="*/ 20 h 46"/>
                <a:gd name="T2" fmla="*/ 10 w 33"/>
                <a:gd name="T3" fmla="*/ 4 h 46"/>
                <a:gd name="T4" fmla="*/ 18 w 33"/>
                <a:gd name="T5" fmla="*/ 42 h 46"/>
                <a:gd name="T6" fmla="*/ 33 w 33"/>
                <a:gd name="T7" fmla="*/ 37 h 46"/>
                <a:gd name="T8" fmla="*/ 31 w 33"/>
                <a:gd name="T9" fmla="*/ 2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6">
                  <a:moveTo>
                    <a:pt x="31" y="20"/>
                  </a:moveTo>
                  <a:cubicBezTo>
                    <a:pt x="31" y="20"/>
                    <a:pt x="19" y="0"/>
                    <a:pt x="10" y="4"/>
                  </a:cubicBezTo>
                  <a:cubicBezTo>
                    <a:pt x="0" y="8"/>
                    <a:pt x="8" y="37"/>
                    <a:pt x="18" y="42"/>
                  </a:cubicBezTo>
                  <a:cubicBezTo>
                    <a:pt x="28" y="46"/>
                    <a:pt x="33" y="37"/>
                    <a:pt x="33" y="37"/>
                  </a:cubicBezTo>
                  <a:lnTo>
                    <a:pt x="31" y="20"/>
                  </a:ln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4">
              <a:extLst>
                <a:ext uri="{FF2B5EF4-FFF2-40B4-BE49-F238E27FC236}">
                  <a16:creationId xmlns:a16="http://schemas.microsoft.com/office/drawing/2014/main" id="{2960DE5A-D5BF-4BEC-8A1A-5CD698328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641" y="2063213"/>
              <a:ext cx="45044" cy="73492"/>
            </a:xfrm>
            <a:custGeom>
              <a:avLst/>
              <a:gdLst>
                <a:gd name="T0" fmla="*/ 0 w 16"/>
                <a:gd name="T1" fmla="*/ 0 h 26"/>
                <a:gd name="T2" fmla="*/ 0 w 16"/>
                <a:gd name="T3" fmla="*/ 0 h 26"/>
                <a:gd name="T4" fmla="*/ 12 w 16"/>
                <a:gd name="T5" fmla="*/ 18 h 26"/>
                <a:gd name="T6" fmla="*/ 4 w 16"/>
                <a:gd name="T7" fmla="*/ 16 h 26"/>
                <a:gd name="T8" fmla="*/ 4 w 16"/>
                <a:gd name="T9" fmla="*/ 16 h 26"/>
                <a:gd name="T10" fmla="*/ 11 w 16"/>
                <a:gd name="T11" fmla="*/ 19 h 26"/>
                <a:gd name="T12" fmla="*/ 14 w 16"/>
                <a:gd name="T13" fmla="*/ 25 h 26"/>
                <a:gd name="T14" fmla="*/ 15 w 16"/>
                <a:gd name="T15" fmla="*/ 25 h 26"/>
                <a:gd name="T16" fmla="*/ 15 w 16"/>
                <a:gd name="T17" fmla="*/ 25 h 26"/>
                <a:gd name="T18" fmla="*/ 0 w 16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4"/>
                    <a:pt x="10" y="11"/>
                    <a:pt x="12" y="18"/>
                  </a:cubicBezTo>
                  <a:cubicBezTo>
                    <a:pt x="10" y="15"/>
                    <a:pt x="8" y="14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7" y="16"/>
                    <a:pt x="9" y="17"/>
                    <a:pt x="11" y="19"/>
                  </a:cubicBezTo>
                  <a:cubicBezTo>
                    <a:pt x="12" y="21"/>
                    <a:pt x="13" y="23"/>
                    <a:pt x="14" y="25"/>
                  </a:cubicBezTo>
                  <a:cubicBezTo>
                    <a:pt x="14" y="26"/>
                    <a:pt x="15" y="26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15"/>
                    <a:pt x="10" y="2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5">
              <a:extLst>
                <a:ext uri="{FF2B5EF4-FFF2-40B4-BE49-F238E27FC236}">
                  <a16:creationId xmlns:a16="http://schemas.microsoft.com/office/drawing/2014/main" id="{A2841057-50B2-406B-BCBE-07566B4EC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407" y="2243388"/>
              <a:ext cx="210994" cy="239443"/>
            </a:xfrm>
            <a:custGeom>
              <a:avLst/>
              <a:gdLst>
                <a:gd name="T0" fmla="*/ 68 w 75"/>
                <a:gd name="T1" fmla="*/ 20 h 85"/>
                <a:gd name="T2" fmla="*/ 56 w 75"/>
                <a:gd name="T3" fmla="*/ 47 h 85"/>
                <a:gd name="T4" fmla="*/ 14 w 75"/>
                <a:gd name="T5" fmla="*/ 0 h 85"/>
                <a:gd name="T6" fmla="*/ 0 w 75"/>
                <a:gd name="T7" fmla="*/ 13 h 85"/>
                <a:gd name="T8" fmla="*/ 36 w 75"/>
                <a:gd name="T9" fmla="*/ 82 h 85"/>
                <a:gd name="T10" fmla="*/ 57 w 75"/>
                <a:gd name="T11" fmla="*/ 54 h 85"/>
                <a:gd name="T12" fmla="*/ 71 w 75"/>
                <a:gd name="T13" fmla="*/ 77 h 85"/>
                <a:gd name="T14" fmla="*/ 75 w 75"/>
                <a:gd name="T15" fmla="*/ 33 h 85"/>
                <a:gd name="T16" fmla="*/ 68 w 75"/>
                <a:gd name="T17" fmla="*/ 2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85">
                  <a:moveTo>
                    <a:pt x="68" y="20"/>
                  </a:moveTo>
                  <a:cubicBezTo>
                    <a:pt x="56" y="47"/>
                    <a:pt x="56" y="47"/>
                    <a:pt x="56" y="4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35" y="85"/>
                    <a:pt x="36" y="82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71" y="77"/>
                    <a:pt x="71" y="77"/>
                    <a:pt x="71" y="77"/>
                  </a:cubicBezTo>
                  <a:cubicBezTo>
                    <a:pt x="75" y="33"/>
                    <a:pt x="75" y="33"/>
                    <a:pt x="75" y="33"/>
                  </a:cubicBezTo>
                  <a:lnTo>
                    <a:pt x="68" y="20"/>
                  </a:lnTo>
                  <a:close/>
                </a:path>
              </a:pathLst>
            </a:cu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6">
              <a:extLst>
                <a:ext uri="{FF2B5EF4-FFF2-40B4-BE49-F238E27FC236}">
                  <a16:creationId xmlns:a16="http://schemas.microsoft.com/office/drawing/2014/main" id="{DAB46134-2E70-4E9A-AA74-726915EB2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149" y="2288431"/>
              <a:ext cx="206253" cy="194399"/>
            </a:xfrm>
            <a:custGeom>
              <a:avLst/>
              <a:gdLst>
                <a:gd name="T0" fmla="*/ 72 w 73"/>
                <a:gd name="T1" fmla="*/ 35 h 69"/>
                <a:gd name="T2" fmla="*/ 73 w 73"/>
                <a:gd name="T3" fmla="*/ 18 h 69"/>
                <a:gd name="T4" fmla="*/ 72 w 73"/>
                <a:gd name="T5" fmla="*/ 17 h 69"/>
                <a:gd name="T6" fmla="*/ 68 w 73"/>
                <a:gd name="T7" fmla="*/ 58 h 69"/>
                <a:gd name="T8" fmla="*/ 68 w 73"/>
                <a:gd name="T9" fmla="*/ 58 h 69"/>
                <a:gd name="T10" fmla="*/ 55 w 73"/>
                <a:gd name="T11" fmla="*/ 38 h 69"/>
                <a:gd name="T12" fmla="*/ 34 w 73"/>
                <a:gd name="T13" fmla="*/ 65 h 69"/>
                <a:gd name="T14" fmla="*/ 0 w 73"/>
                <a:gd name="T15" fmla="*/ 0 h 69"/>
                <a:gd name="T16" fmla="*/ 0 w 73"/>
                <a:gd name="T17" fmla="*/ 0 h 69"/>
                <a:gd name="T18" fmla="*/ 33 w 73"/>
                <a:gd name="T19" fmla="*/ 69 h 69"/>
                <a:gd name="T20" fmla="*/ 55 w 73"/>
                <a:gd name="T21" fmla="*/ 39 h 69"/>
                <a:gd name="T22" fmla="*/ 70 w 73"/>
                <a:gd name="T23" fmla="*/ 63 h 69"/>
                <a:gd name="T24" fmla="*/ 72 w 73"/>
                <a:gd name="T25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69">
                  <a:moveTo>
                    <a:pt x="72" y="35"/>
                  </a:moveTo>
                  <a:cubicBezTo>
                    <a:pt x="73" y="27"/>
                    <a:pt x="73" y="26"/>
                    <a:pt x="73" y="18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0" y="25"/>
                    <a:pt x="69" y="50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7"/>
                    <a:pt x="55" y="38"/>
                    <a:pt x="55" y="38"/>
                  </a:cubicBezTo>
                  <a:cubicBezTo>
                    <a:pt x="51" y="43"/>
                    <a:pt x="35" y="63"/>
                    <a:pt x="34" y="65"/>
                  </a:cubicBezTo>
                  <a:cubicBezTo>
                    <a:pt x="29" y="53"/>
                    <a:pt x="7" y="1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13"/>
                    <a:pt x="33" y="69"/>
                    <a:pt x="33" y="69"/>
                  </a:cubicBezTo>
                  <a:cubicBezTo>
                    <a:pt x="34" y="69"/>
                    <a:pt x="53" y="44"/>
                    <a:pt x="55" y="39"/>
                  </a:cubicBezTo>
                  <a:cubicBezTo>
                    <a:pt x="58" y="43"/>
                    <a:pt x="70" y="64"/>
                    <a:pt x="70" y="63"/>
                  </a:cubicBezTo>
                  <a:cubicBezTo>
                    <a:pt x="72" y="55"/>
                    <a:pt x="72" y="44"/>
                    <a:pt x="72" y="3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7">
              <a:extLst>
                <a:ext uri="{FF2B5EF4-FFF2-40B4-BE49-F238E27FC236}">
                  <a16:creationId xmlns:a16="http://schemas.microsoft.com/office/drawing/2014/main" id="{B48513CE-654D-4258-93A9-B708BE264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154" y="3293617"/>
              <a:ext cx="776411" cy="1928581"/>
            </a:xfrm>
            <a:custGeom>
              <a:avLst/>
              <a:gdLst>
                <a:gd name="T0" fmla="*/ 73 w 655"/>
                <a:gd name="T1" fmla="*/ 1627 h 1627"/>
                <a:gd name="T2" fmla="*/ 0 w 655"/>
                <a:gd name="T3" fmla="*/ 1598 h 1627"/>
                <a:gd name="T4" fmla="*/ 581 w 655"/>
                <a:gd name="T5" fmla="*/ 0 h 1627"/>
                <a:gd name="T6" fmla="*/ 655 w 655"/>
                <a:gd name="T7" fmla="*/ 26 h 1627"/>
                <a:gd name="T8" fmla="*/ 73 w 655"/>
                <a:gd name="T9" fmla="*/ 1627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5" h="1627">
                  <a:moveTo>
                    <a:pt x="73" y="1627"/>
                  </a:moveTo>
                  <a:lnTo>
                    <a:pt x="0" y="1598"/>
                  </a:lnTo>
                  <a:lnTo>
                    <a:pt x="581" y="0"/>
                  </a:lnTo>
                  <a:lnTo>
                    <a:pt x="655" y="26"/>
                  </a:lnTo>
                  <a:lnTo>
                    <a:pt x="73" y="1627"/>
                  </a:lnTo>
                  <a:close/>
                </a:path>
              </a:pathLst>
            </a:custGeom>
            <a:solidFill>
              <a:srgbClr val="DBDB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8">
              <a:extLst>
                <a:ext uri="{FF2B5EF4-FFF2-40B4-BE49-F238E27FC236}">
                  <a16:creationId xmlns:a16="http://schemas.microsoft.com/office/drawing/2014/main" id="{2F7D3B7D-2C27-4F86-81A3-6ADB3263B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6209" y="3293617"/>
              <a:ext cx="149355" cy="180175"/>
            </a:xfrm>
            <a:custGeom>
              <a:avLst/>
              <a:gdLst>
                <a:gd name="T0" fmla="*/ 126 w 126"/>
                <a:gd name="T1" fmla="*/ 26 h 152"/>
                <a:gd name="T2" fmla="*/ 80 w 126"/>
                <a:gd name="T3" fmla="*/ 152 h 152"/>
                <a:gd name="T4" fmla="*/ 0 w 126"/>
                <a:gd name="T5" fmla="*/ 142 h 152"/>
                <a:gd name="T6" fmla="*/ 52 w 126"/>
                <a:gd name="T7" fmla="*/ 0 h 152"/>
                <a:gd name="T8" fmla="*/ 126 w 126"/>
                <a:gd name="T9" fmla="*/ 2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2">
                  <a:moveTo>
                    <a:pt x="126" y="26"/>
                  </a:moveTo>
                  <a:lnTo>
                    <a:pt x="80" y="152"/>
                  </a:lnTo>
                  <a:lnTo>
                    <a:pt x="0" y="142"/>
                  </a:lnTo>
                  <a:lnTo>
                    <a:pt x="52" y="0"/>
                  </a:lnTo>
                  <a:lnTo>
                    <a:pt x="126" y="26"/>
                  </a:ln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9">
              <a:extLst>
                <a:ext uri="{FF2B5EF4-FFF2-40B4-BE49-F238E27FC236}">
                  <a16:creationId xmlns:a16="http://schemas.microsoft.com/office/drawing/2014/main" id="{CFC74FCB-89DE-41E0-82F7-1334C6429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951" y="2898892"/>
              <a:ext cx="315306" cy="507334"/>
            </a:xfrm>
            <a:custGeom>
              <a:avLst/>
              <a:gdLst>
                <a:gd name="T0" fmla="*/ 126 w 266"/>
                <a:gd name="T1" fmla="*/ 428 h 428"/>
                <a:gd name="T2" fmla="*/ 0 w 266"/>
                <a:gd name="T3" fmla="*/ 383 h 428"/>
                <a:gd name="T4" fmla="*/ 141 w 266"/>
                <a:gd name="T5" fmla="*/ 0 h 428"/>
                <a:gd name="T6" fmla="*/ 266 w 266"/>
                <a:gd name="T7" fmla="*/ 46 h 428"/>
                <a:gd name="T8" fmla="*/ 126 w 266"/>
                <a:gd name="T9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428">
                  <a:moveTo>
                    <a:pt x="126" y="428"/>
                  </a:moveTo>
                  <a:lnTo>
                    <a:pt x="0" y="383"/>
                  </a:lnTo>
                  <a:lnTo>
                    <a:pt x="141" y="0"/>
                  </a:lnTo>
                  <a:lnTo>
                    <a:pt x="266" y="46"/>
                  </a:lnTo>
                  <a:lnTo>
                    <a:pt x="126" y="428"/>
                  </a:lnTo>
                  <a:close/>
                </a:path>
              </a:pathLst>
            </a:cu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60">
              <a:extLst>
                <a:ext uri="{FF2B5EF4-FFF2-40B4-BE49-F238E27FC236}">
                  <a16:creationId xmlns:a16="http://schemas.microsoft.com/office/drawing/2014/main" id="{9EFB2999-4598-4786-9219-0F94DEAC7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956" y="5404744"/>
              <a:ext cx="1300340" cy="104312"/>
            </a:xfrm>
            <a:custGeom>
              <a:avLst/>
              <a:gdLst>
                <a:gd name="T0" fmla="*/ 1097 w 1097"/>
                <a:gd name="T1" fmla="*/ 88 h 88"/>
                <a:gd name="T2" fmla="*/ 0 w 1097"/>
                <a:gd name="T3" fmla="*/ 88 h 88"/>
                <a:gd name="T4" fmla="*/ 48 w 1097"/>
                <a:gd name="T5" fmla="*/ 0 h 88"/>
                <a:gd name="T6" fmla="*/ 1049 w 1097"/>
                <a:gd name="T7" fmla="*/ 0 h 88"/>
                <a:gd name="T8" fmla="*/ 1097 w 1097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7" h="88">
                  <a:moveTo>
                    <a:pt x="1097" y="88"/>
                  </a:moveTo>
                  <a:lnTo>
                    <a:pt x="0" y="88"/>
                  </a:lnTo>
                  <a:lnTo>
                    <a:pt x="48" y="0"/>
                  </a:lnTo>
                  <a:lnTo>
                    <a:pt x="1049" y="0"/>
                  </a:lnTo>
                  <a:lnTo>
                    <a:pt x="1097" y="88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61">
              <a:extLst>
                <a:ext uri="{FF2B5EF4-FFF2-40B4-BE49-F238E27FC236}">
                  <a16:creationId xmlns:a16="http://schemas.microsoft.com/office/drawing/2014/main" id="{689AA24E-0A19-4E8D-81D5-D42FBB07E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609" y="5046765"/>
              <a:ext cx="985034" cy="411320"/>
            </a:xfrm>
            <a:custGeom>
              <a:avLst/>
              <a:gdLst>
                <a:gd name="T0" fmla="*/ 350 w 350"/>
                <a:gd name="T1" fmla="*/ 146 h 146"/>
                <a:gd name="T2" fmla="*/ 0 w 350"/>
                <a:gd name="T3" fmla="*/ 146 h 146"/>
                <a:gd name="T4" fmla="*/ 175 w 350"/>
                <a:gd name="T5" fmla="*/ 0 h 146"/>
                <a:gd name="T6" fmla="*/ 350 w 350"/>
                <a:gd name="T7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0" h="146">
                  <a:moveTo>
                    <a:pt x="350" y="146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0" y="146"/>
                    <a:pt x="24" y="0"/>
                    <a:pt x="175" y="0"/>
                  </a:cubicBezTo>
                  <a:cubicBezTo>
                    <a:pt x="325" y="0"/>
                    <a:pt x="350" y="146"/>
                    <a:pt x="350" y="146"/>
                  </a:cubicBezTo>
                  <a:close/>
                </a:path>
              </a:pathLst>
            </a:custGeom>
            <a:solidFill>
              <a:srgbClr val="A6A6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62">
              <a:extLst>
                <a:ext uri="{FF2B5EF4-FFF2-40B4-BE49-F238E27FC236}">
                  <a16:creationId xmlns:a16="http://schemas.microsoft.com/office/drawing/2014/main" id="{7CF72FCF-98B2-4179-926F-44105BE74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603" y="5224569"/>
              <a:ext cx="559490" cy="233516"/>
            </a:xfrm>
            <a:custGeom>
              <a:avLst/>
              <a:gdLst>
                <a:gd name="T0" fmla="*/ 199 w 199"/>
                <a:gd name="T1" fmla="*/ 83 h 83"/>
                <a:gd name="T2" fmla="*/ 0 w 199"/>
                <a:gd name="T3" fmla="*/ 83 h 83"/>
                <a:gd name="T4" fmla="*/ 100 w 199"/>
                <a:gd name="T5" fmla="*/ 0 h 83"/>
                <a:gd name="T6" fmla="*/ 199 w 199"/>
                <a:gd name="T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83">
                  <a:moveTo>
                    <a:pt x="199" y="83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14" y="0"/>
                    <a:pt x="100" y="0"/>
                  </a:cubicBezTo>
                  <a:cubicBezTo>
                    <a:pt x="185" y="0"/>
                    <a:pt x="199" y="83"/>
                    <a:pt x="199" y="83"/>
                  </a:cubicBezTo>
                  <a:close/>
                </a:path>
              </a:pathLst>
            </a:custGeom>
            <a:solidFill>
              <a:srgbClr val="C7C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63">
              <a:extLst>
                <a:ext uri="{FF2B5EF4-FFF2-40B4-BE49-F238E27FC236}">
                  <a16:creationId xmlns:a16="http://schemas.microsoft.com/office/drawing/2014/main" id="{2ED44312-9E6F-4918-AE2F-863F205F9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169" y="2288431"/>
              <a:ext cx="731367" cy="1064454"/>
            </a:xfrm>
            <a:custGeom>
              <a:avLst/>
              <a:gdLst>
                <a:gd name="T0" fmla="*/ 3 w 260"/>
                <a:gd name="T1" fmla="*/ 69 h 378"/>
                <a:gd name="T2" fmla="*/ 17 w 260"/>
                <a:gd name="T3" fmla="*/ 265 h 378"/>
                <a:gd name="T4" fmla="*/ 202 w 260"/>
                <a:gd name="T5" fmla="*/ 373 h 378"/>
                <a:gd name="T6" fmla="*/ 246 w 260"/>
                <a:gd name="T7" fmla="*/ 267 h 378"/>
                <a:gd name="T8" fmla="*/ 105 w 260"/>
                <a:gd name="T9" fmla="*/ 215 h 378"/>
                <a:gd name="T10" fmla="*/ 52 w 260"/>
                <a:gd name="T11" fmla="*/ 58 h 378"/>
                <a:gd name="T12" fmla="*/ 3 w 260"/>
                <a:gd name="T13" fmla="*/ 69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0" h="378">
                  <a:moveTo>
                    <a:pt x="3" y="69"/>
                  </a:moveTo>
                  <a:cubicBezTo>
                    <a:pt x="0" y="101"/>
                    <a:pt x="4" y="242"/>
                    <a:pt x="17" y="265"/>
                  </a:cubicBezTo>
                  <a:cubicBezTo>
                    <a:pt x="41" y="306"/>
                    <a:pt x="171" y="363"/>
                    <a:pt x="202" y="373"/>
                  </a:cubicBezTo>
                  <a:cubicBezTo>
                    <a:pt x="215" y="378"/>
                    <a:pt x="260" y="273"/>
                    <a:pt x="246" y="267"/>
                  </a:cubicBezTo>
                  <a:cubicBezTo>
                    <a:pt x="237" y="262"/>
                    <a:pt x="113" y="223"/>
                    <a:pt x="105" y="215"/>
                  </a:cubicBezTo>
                  <a:cubicBezTo>
                    <a:pt x="97" y="207"/>
                    <a:pt x="65" y="111"/>
                    <a:pt x="52" y="58"/>
                  </a:cubicBezTo>
                  <a:cubicBezTo>
                    <a:pt x="41" y="8"/>
                    <a:pt x="9" y="0"/>
                    <a:pt x="3" y="69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64">
              <a:extLst>
                <a:ext uri="{FF2B5EF4-FFF2-40B4-BE49-F238E27FC236}">
                  <a16:creationId xmlns:a16="http://schemas.microsoft.com/office/drawing/2014/main" id="{A1D13F80-D297-47DA-91F0-A9D2C04C4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215" y="3015057"/>
              <a:ext cx="477700" cy="438583"/>
            </a:xfrm>
            <a:custGeom>
              <a:avLst/>
              <a:gdLst>
                <a:gd name="T0" fmla="*/ 168 w 170"/>
                <a:gd name="T1" fmla="*/ 44 h 156"/>
                <a:gd name="T2" fmla="*/ 159 w 170"/>
                <a:gd name="T3" fmla="*/ 61 h 156"/>
                <a:gd name="T4" fmla="*/ 164 w 170"/>
                <a:gd name="T5" fmla="*/ 77 h 156"/>
                <a:gd name="T6" fmla="*/ 147 w 170"/>
                <a:gd name="T7" fmla="*/ 91 h 156"/>
                <a:gd name="T8" fmla="*/ 151 w 170"/>
                <a:gd name="T9" fmla="*/ 109 h 156"/>
                <a:gd name="T10" fmla="*/ 133 w 170"/>
                <a:gd name="T11" fmla="*/ 126 h 156"/>
                <a:gd name="T12" fmla="*/ 126 w 170"/>
                <a:gd name="T13" fmla="*/ 144 h 156"/>
                <a:gd name="T14" fmla="*/ 71 w 170"/>
                <a:gd name="T15" fmla="*/ 147 h 156"/>
                <a:gd name="T16" fmla="*/ 0 w 170"/>
                <a:gd name="T17" fmla="*/ 114 h 156"/>
                <a:gd name="T18" fmla="*/ 21 w 170"/>
                <a:gd name="T19" fmla="*/ 6 h 156"/>
                <a:gd name="T20" fmla="*/ 120 w 170"/>
                <a:gd name="T21" fmla="*/ 7 h 156"/>
                <a:gd name="T22" fmla="*/ 168 w 170"/>
                <a:gd name="T23" fmla="*/ 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0" h="156">
                  <a:moveTo>
                    <a:pt x="168" y="44"/>
                  </a:moveTo>
                  <a:cubicBezTo>
                    <a:pt x="170" y="55"/>
                    <a:pt x="159" y="61"/>
                    <a:pt x="159" y="61"/>
                  </a:cubicBezTo>
                  <a:cubicBezTo>
                    <a:pt x="159" y="61"/>
                    <a:pt x="165" y="68"/>
                    <a:pt x="164" y="77"/>
                  </a:cubicBezTo>
                  <a:cubicBezTo>
                    <a:pt x="164" y="87"/>
                    <a:pt x="147" y="91"/>
                    <a:pt x="147" y="91"/>
                  </a:cubicBezTo>
                  <a:cubicBezTo>
                    <a:pt x="147" y="91"/>
                    <a:pt x="152" y="100"/>
                    <a:pt x="151" y="109"/>
                  </a:cubicBezTo>
                  <a:cubicBezTo>
                    <a:pt x="149" y="119"/>
                    <a:pt x="133" y="126"/>
                    <a:pt x="133" y="126"/>
                  </a:cubicBezTo>
                  <a:cubicBezTo>
                    <a:pt x="133" y="126"/>
                    <a:pt x="133" y="136"/>
                    <a:pt x="126" y="144"/>
                  </a:cubicBezTo>
                  <a:cubicBezTo>
                    <a:pt x="114" y="156"/>
                    <a:pt x="87" y="151"/>
                    <a:pt x="71" y="147"/>
                  </a:cubicBezTo>
                  <a:cubicBezTo>
                    <a:pt x="54" y="144"/>
                    <a:pt x="9" y="118"/>
                    <a:pt x="0" y="114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101" y="0"/>
                    <a:pt x="120" y="7"/>
                  </a:cubicBezTo>
                  <a:cubicBezTo>
                    <a:pt x="136" y="13"/>
                    <a:pt x="166" y="30"/>
                    <a:pt x="168" y="44"/>
                  </a:cubicBezTo>
                  <a:close/>
                </a:path>
              </a:pathLst>
            </a:custGeom>
            <a:solidFill>
              <a:srgbClr val="D376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5">
              <a:extLst>
                <a:ext uri="{FF2B5EF4-FFF2-40B4-BE49-F238E27FC236}">
                  <a16:creationId xmlns:a16="http://schemas.microsoft.com/office/drawing/2014/main" id="{774783D7-D5F4-47D7-8F2A-AF5308EA5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741" y="3119369"/>
              <a:ext cx="149355" cy="64009"/>
            </a:xfrm>
            <a:custGeom>
              <a:avLst/>
              <a:gdLst>
                <a:gd name="T0" fmla="*/ 52 w 53"/>
                <a:gd name="T1" fmla="*/ 22 h 23"/>
                <a:gd name="T2" fmla="*/ 1 w 53"/>
                <a:gd name="T3" fmla="*/ 1 h 23"/>
                <a:gd name="T4" fmla="*/ 1 w 53"/>
                <a:gd name="T5" fmla="*/ 1 h 23"/>
                <a:gd name="T6" fmla="*/ 52 w 53"/>
                <a:gd name="T7" fmla="*/ 23 h 23"/>
                <a:gd name="T8" fmla="*/ 52 w 53"/>
                <a:gd name="T9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3">
                  <a:moveTo>
                    <a:pt x="52" y="22"/>
                  </a:moveTo>
                  <a:cubicBezTo>
                    <a:pt x="36" y="12"/>
                    <a:pt x="18" y="7"/>
                    <a:pt x="1" y="1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8" y="7"/>
                    <a:pt x="34" y="16"/>
                    <a:pt x="52" y="23"/>
                  </a:cubicBezTo>
                  <a:cubicBezTo>
                    <a:pt x="52" y="23"/>
                    <a:pt x="53" y="22"/>
                    <a:pt x="52" y="2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6">
              <a:extLst>
                <a:ext uri="{FF2B5EF4-FFF2-40B4-BE49-F238E27FC236}">
                  <a16:creationId xmlns:a16="http://schemas.microsoft.com/office/drawing/2014/main" id="{13E26A02-EC6E-4A89-8668-5CEF498A6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921" y="3228422"/>
              <a:ext cx="149355" cy="42673"/>
            </a:xfrm>
            <a:custGeom>
              <a:avLst/>
              <a:gdLst>
                <a:gd name="T0" fmla="*/ 52 w 53"/>
                <a:gd name="T1" fmla="*/ 14 h 15"/>
                <a:gd name="T2" fmla="*/ 40 w 53"/>
                <a:gd name="T3" fmla="*/ 9 h 15"/>
                <a:gd name="T4" fmla="*/ 27 w 53"/>
                <a:gd name="T5" fmla="*/ 6 h 15"/>
                <a:gd name="T6" fmla="*/ 0 w 53"/>
                <a:gd name="T7" fmla="*/ 0 h 15"/>
                <a:gd name="T8" fmla="*/ 0 w 53"/>
                <a:gd name="T9" fmla="*/ 1 h 15"/>
                <a:gd name="T10" fmla="*/ 26 w 53"/>
                <a:gd name="T11" fmla="*/ 8 h 15"/>
                <a:gd name="T12" fmla="*/ 39 w 53"/>
                <a:gd name="T13" fmla="*/ 12 h 15"/>
                <a:gd name="T14" fmla="*/ 52 w 53"/>
                <a:gd name="T15" fmla="*/ 15 h 15"/>
                <a:gd name="T16" fmla="*/ 52 w 53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15">
                  <a:moveTo>
                    <a:pt x="52" y="14"/>
                  </a:moveTo>
                  <a:cubicBezTo>
                    <a:pt x="49" y="12"/>
                    <a:pt x="44" y="11"/>
                    <a:pt x="40" y="9"/>
                  </a:cubicBezTo>
                  <a:cubicBezTo>
                    <a:pt x="36" y="8"/>
                    <a:pt x="31" y="7"/>
                    <a:pt x="27" y="6"/>
                  </a:cubicBezTo>
                  <a:cubicBezTo>
                    <a:pt x="18" y="4"/>
                    <a:pt x="9" y="2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9" y="3"/>
                    <a:pt x="18" y="5"/>
                    <a:pt x="26" y="8"/>
                  </a:cubicBezTo>
                  <a:cubicBezTo>
                    <a:pt x="31" y="9"/>
                    <a:pt x="35" y="10"/>
                    <a:pt x="39" y="12"/>
                  </a:cubicBezTo>
                  <a:cubicBezTo>
                    <a:pt x="43" y="13"/>
                    <a:pt x="48" y="15"/>
                    <a:pt x="52" y="15"/>
                  </a:cubicBezTo>
                  <a:cubicBezTo>
                    <a:pt x="52" y="15"/>
                    <a:pt x="53" y="14"/>
                    <a:pt x="52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7">
              <a:extLst>
                <a:ext uri="{FF2B5EF4-FFF2-40B4-BE49-F238E27FC236}">
                  <a16:creationId xmlns:a16="http://schemas.microsoft.com/office/drawing/2014/main" id="{D8C84F64-A005-4E77-97BF-57C1ECCA7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473" y="3332734"/>
              <a:ext cx="135131" cy="36746"/>
            </a:xfrm>
            <a:custGeom>
              <a:avLst/>
              <a:gdLst>
                <a:gd name="T0" fmla="*/ 48 w 48"/>
                <a:gd name="T1" fmla="*/ 13 h 13"/>
                <a:gd name="T2" fmla="*/ 37 w 48"/>
                <a:gd name="T3" fmla="*/ 9 h 13"/>
                <a:gd name="T4" fmla="*/ 25 w 48"/>
                <a:gd name="T5" fmla="*/ 6 h 13"/>
                <a:gd name="T6" fmla="*/ 1 w 48"/>
                <a:gd name="T7" fmla="*/ 0 h 13"/>
                <a:gd name="T8" fmla="*/ 0 w 48"/>
                <a:gd name="T9" fmla="*/ 1 h 13"/>
                <a:gd name="T10" fmla="*/ 25 w 48"/>
                <a:gd name="T11" fmla="*/ 8 h 13"/>
                <a:gd name="T12" fmla="*/ 37 w 48"/>
                <a:gd name="T13" fmla="*/ 11 h 13"/>
                <a:gd name="T14" fmla="*/ 48 w 48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3">
                  <a:moveTo>
                    <a:pt x="48" y="13"/>
                  </a:moveTo>
                  <a:cubicBezTo>
                    <a:pt x="45" y="11"/>
                    <a:pt x="40" y="10"/>
                    <a:pt x="37" y="9"/>
                  </a:cubicBezTo>
                  <a:cubicBezTo>
                    <a:pt x="33" y="8"/>
                    <a:pt x="29" y="7"/>
                    <a:pt x="25" y="6"/>
                  </a:cubicBezTo>
                  <a:cubicBezTo>
                    <a:pt x="17" y="4"/>
                    <a:pt x="9" y="2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8" y="3"/>
                    <a:pt x="16" y="6"/>
                    <a:pt x="25" y="8"/>
                  </a:cubicBezTo>
                  <a:cubicBezTo>
                    <a:pt x="29" y="9"/>
                    <a:pt x="33" y="10"/>
                    <a:pt x="37" y="11"/>
                  </a:cubicBezTo>
                  <a:cubicBezTo>
                    <a:pt x="40" y="12"/>
                    <a:pt x="44" y="13"/>
                    <a:pt x="48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8">
              <a:extLst>
                <a:ext uri="{FF2B5EF4-FFF2-40B4-BE49-F238E27FC236}">
                  <a16:creationId xmlns:a16="http://schemas.microsoft.com/office/drawing/2014/main" id="{01219B92-A5CB-4635-AC6C-D599A3EA2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720" y="2257612"/>
              <a:ext cx="661431" cy="1100014"/>
            </a:xfrm>
            <a:custGeom>
              <a:avLst/>
              <a:gdLst>
                <a:gd name="T0" fmla="*/ 235 w 235"/>
                <a:gd name="T1" fmla="*/ 267 h 391"/>
                <a:gd name="T2" fmla="*/ 205 w 235"/>
                <a:gd name="T3" fmla="*/ 391 h 391"/>
                <a:gd name="T4" fmla="*/ 21 w 235"/>
                <a:gd name="T5" fmla="*/ 277 h 391"/>
                <a:gd name="T6" fmla="*/ 9 w 235"/>
                <a:gd name="T7" fmla="*/ 75 h 391"/>
                <a:gd name="T8" fmla="*/ 67 w 235"/>
                <a:gd name="T9" fmla="*/ 76 h 391"/>
                <a:gd name="T10" fmla="*/ 114 w 235"/>
                <a:gd name="T11" fmla="*/ 221 h 391"/>
                <a:gd name="T12" fmla="*/ 235 w 235"/>
                <a:gd name="T13" fmla="*/ 267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391">
                  <a:moveTo>
                    <a:pt x="235" y="267"/>
                  </a:moveTo>
                  <a:cubicBezTo>
                    <a:pt x="205" y="391"/>
                    <a:pt x="205" y="391"/>
                    <a:pt x="205" y="391"/>
                  </a:cubicBezTo>
                  <a:cubicBezTo>
                    <a:pt x="205" y="391"/>
                    <a:pt x="60" y="331"/>
                    <a:pt x="21" y="277"/>
                  </a:cubicBezTo>
                  <a:cubicBezTo>
                    <a:pt x="5" y="256"/>
                    <a:pt x="0" y="127"/>
                    <a:pt x="9" y="75"/>
                  </a:cubicBezTo>
                  <a:cubicBezTo>
                    <a:pt x="18" y="23"/>
                    <a:pt x="46" y="0"/>
                    <a:pt x="67" y="76"/>
                  </a:cubicBezTo>
                  <a:cubicBezTo>
                    <a:pt x="88" y="152"/>
                    <a:pt x="109" y="219"/>
                    <a:pt x="114" y="221"/>
                  </a:cubicBezTo>
                  <a:cubicBezTo>
                    <a:pt x="119" y="223"/>
                    <a:pt x="235" y="267"/>
                    <a:pt x="235" y="267"/>
                  </a:cubicBezTo>
                  <a:close/>
                </a:path>
              </a:pathLst>
            </a:custGeom>
            <a:solidFill>
              <a:srgbClr val="FFC7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9">
              <a:extLst>
                <a:ext uri="{FF2B5EF4-FFF2-40B4-BE49-F238E27FC236}">
                  <a16:creationId xmlns:a16="http://schemas.microsoft.com/office/drawing/2014/main" id="{D7813727-AFC3-485D-A330-713AD44761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798" y="2452011"/>
              <a:ext cx="610461" cy="866498"/>
            </a:xfrm>
            <a:custGeom>
              <a:avLst/>
              <a:gdLst>
                <a:gd name="T0" fmla="*/ 8 w 217"/>
                <a:gd name="T1" fmla="*/ 26 h 308"/>
                <a:gd name="T2" fmla="*/ 12 w 217"/>
                <a:gd name="T3" fmla="*/ 31 h 308"/>
                <a:gd name="T4" fmla="*/ 2 w 217"/>
                <a:gd name="T5" fmla="*/ 23 h 308"/>
                <a:gd name="T6" fmla="*/ 50 w 217"/>
                <a:gd name="T7" fmla="*/ 185 h 308"/>
                <a:gd name="T8" fmla="*/ 56 w 217"/>
                <a:gd name="T9" fmla="*/ 189 h 308"/>
                <a:gd name="T10" fmla="*/ 46 w 217"/>
                <a:gd name="T11" fmla="*/ 180 h 308"/>
                <a:gd name="T12" fmla="*/ 172 w 217"/>
                <a:gd name="T13" fmla="*/ 300 h 308"/>
                <a:gd name="T14" fmla="*/ 182 w 217"/>
                <a:gd name="T15" fmla="*/ 307 h 308"/>
                <a:gd name="T16" fmla="*/ 173 w 217"/>
                <a:gd name="T17" fmla="*/ 298 h 308"/>
                <a:gd name="T18" fmla="*/ 27 w 217"/>
                <a:gd name="T19" fmla="*/ 91 h 308"/>
                <a:gd name="T20" fmla="*/ 37 w 217"/>
                <a:gd name="T21" fmla="*/ 100 h 308"/>
                <a:gd name="T22" fmla="*/ 33 w 217"/>
                <a:gd name="T23" fmla="*/ 95 h 308"/>
                <a:gd name="T24" fmla="*/ 27 w 217"/>
                <a:gd name="T25" fmla="*/ 91 h 308"/>
                <a:gd name="T26" fmla="*/ 134 w 217"/>
                <a:gd name="T27" fmla="*/ 285 h 308"/>
                <a:gd name="T28" fmla="*/ 134 w 217"/>
                <a:gd name="T29" fmla="*/ 284 h 308"/>
                <a:gd name="T30" fmla="*/ 125 w 217"/>
                <a:gd name="T31" fmla="*/ 276 h 308"/>
                <a:gd name="T32" fmla="*/ 158 w 217"/>
                <a:gd name="T33" fmla="*/ 206 h 308"/>
                <a:gd name="T34" fmla="*/ 164 w 217"/>
                <a:gd name="T35" fmla="*/ 210 h 308"/>
                <a:gd name="T36" fmla="*/ 154 w 217"/>
                <a:gd name="T37" fmla="*/ 201 h 308"/>
                <a:gd name="T38" fmla="*/ 91 w 217"/>
                <a:gd name="T39" fmla="*/ 132 h 308"/>
                <a:gd name="T40" fmla="*/ 96 w 217"/>
                <a:gd name="T41" fmla="*/ 132 h 308"/>
                <a:gd name="T42" fmla="*/ 97 w 217"/>
                <a:gd name="T43" fmla="*/ 137 h 308"/>
                <a:gd name="T44" fmla="*/ 205 w 217"/>
                <a:gd name="T45" fmla="*/ 204 h 308"/>
                <a:gd name="T46" fmla="*/ 205 w 217"/>
                <a:gd name="T47" fmla="*/ 205 h 308"/>
                <a:gd name="T48" fmla="*/ 217 w 217"/>
                <a:gd name="T49" fmla="*/ 204 h 308"/>
                <a:gd name="T50" fmla="*/ 90 w 217"/>
                <a:gd name="T51" fmla="*/ 258 h 308"/>
                <a:gd name="T52" fmla="*/ 83 w 217"/>
                <a:gd name="T53" fmla="*/ 259 h 308"/>
                <a:gd name="T54" fmla="*/ 96 w 217"/>
                <a:gd name="T55" fmla="*/ 258 h 308"/>
                <a:gd name="T56" fmla="*/ 80 w 217"/>
                <a:gd name="T57" fmla="*/ 90 h 308"/>
                <a:gd name="T58" fmla="*/ 82 w 217"/>
                <a:gd name="T59" fmla="*/ 89 h 308"/>
                <a:gd name="T60" fmla="*/ 149 w 217"/>
                <a:gd name="T61" fmla="*/ 177 h 308"/>
                <a:gd name="T62" fmla="*/ 150 w 217"/>
                <a:gd name="T63" fmla="*/ 170 h 308"/>
                <a:gd name="T64" fmla="*/ 83 w 217"/>
                <a:gd name="T65" fmla="*/ 220 h 308"/>
                <a:gd name="T66" fmla="*/ 84 w 217"/>
                <a:gd name="T67" fmla="*/ 221 h 308"/>
                <a:gd name="T68" fmla="*/ 91 w 217"/>
                <a:gd name="T69" fmla="*/ 211 h 308"/>
                <a:gd name="T70" fmla="*/ 178 w 217"/>
                <a:gd name="T71" fmla="*/ 259 h 308"/>
                <a:gd name="T72" fmla="*/ 174 w 217"/>
                <a:gd name="T73" fmla="*/ 264 h 308"/>
                <a:gd name="T74" fmla="*/ 183 w 217"/>
                <a:gd name="T75" fmla="*/ 255 h 308"/>
                <a:gd name="T76" fmla="*/ 63 w 217"/>
                <a:gd name="T77" fmla="*/ 51 h 308"/>
                <a:gd name="T78" fmla="*/ 55 w 217"/>
                <a:gd name="T79" fmla="*/ 61 h 308"/>
                <a:gd name="T80" fmla="*/ 64 w 217"/>
                <a:gd name="T81" fmla="*/ 52 h 308"/>
                <a:gd name="T82" fmla="*/ 40 w 217"/>
                <a:gd name="T83" fmla="*/ 3 h 308"/>
                <a:gd name="T84" fmla="*/ 53 w 217"/>
                <a:gd name="T85" fmla="*/ 2 h 308"/>
                <a:gd name="T86" fmla="*/ 47 w 217"/>
                <a:gd name="T87" fmla="*/ 1 h 308"/>
                <a:gd name="T88" fmla="*/ 40 w 217"/>
                <a:gd name="T89" fmla="*/ 3 h 308"/>
                <a:gd name="T90" fmla="*/ 53 w 217"/>
                <a:gd name="T91" fmla="*/ 142 h 308"/>
                <a:gd name="T92" fmla="*/ 52 w 217"/>
                <a:gd name="T93" fmla="*/ 141 h 308"/>
                <a:gd name="T94" fmla="*/ 40 w 217"/>
                <a:gd name="T95" fmla="*/ 143 h 308"/>
                <a:gd name="T96" fmla="*/ 106 w 217"/>
                <a:gd name="T97" fmla="*/ 177 h 308"/>
                <a:gd name="T98" fmla="*/ 112 w 217"/>
                <a:gd name="T99" fmla="*/ 176 h 308"/>
                <a:gd name="T100" fmla="*/ 100 w 217"/>
                <a:gd name="T101" fmla="*/ 176 h 308"/>
                <a:gd name="T102" fmla="*/ 12 w 217"/>
                <a:gd name="T103" fmla="*/ 204 h 308"/>
                <a:gd name="T104" fmla="*/ 15 w 217"/>
                <a:gd name="T105" fmla="*/ 204 h 308"/>
                <a:gd name="T106" fmla="*/ 131 w 217"/>
                <a:gd name="T107" fmla="*/ 239 h 308"/>
                <a:gd name="T108" fmla="*/ 143 w 217"/>
                <a:gd name="T109" fmla="*/ 237 h 308"/>
                <a:gd name="T110" fmla="*/ 130 w 217"/>
                <a:gd name="T111" fmla="*/ 23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7" h="308">
                  <a:moveTo>
                    <a:pt x="0" y="22"/>
                  </a:moveTo>
                  <a:cubicBezTo>
                    <a:pt x="1" y="22"/>
                    <a:pt x="1" y="22"/>
                    <a:pt x="2" y="22"/>
                  </a:cubicBezTo>
                  <a:cubicBezTo>
                    <a:pt x="3" y="22"/>
                    <a:pt x="4" y="22"/>
                    <a:pt x="5" y="22"/>
                  </a:cubicBezTo>
                  <a:cubicBezTo>
                    <a:pt x="7" y="23"/>
                    <a:pt x="8" y="24"/>
                    <a:pt x="8" y="26"/>
                  </a:cubicBezTo>
                  <a:cubicBezTo>
                    <a:pt x="8" y="28"/>
                    <a:pt x="9" y="29"/>
                    <a:pt x="10" y="30"/>
                  </a:cubicBezTo>
                  <a:cubicBezTo>
                    <a:pt x="10" y="30"/>
                    <a:pt x="11" y="30"/>
                    <a:pt x="12" y="30"/>
                  </a:cubicBezTo>
                  <a:cubicBezTo>
                    <a:pt x="12" y="30"/>
                    <a:pt x="13" y="31"/>
                    <a:pt x="14" y="31"/>
                  </a:cubicBezTo>
                  <a:cubicBezTo>
                    <a:pt x="13" y="31"/>
                    <a:pt x="12" y="31"/>
                    <a:pt x="12" y="31"/>
                  </a:cubicBezTo>
                  <a:cubicBezTo>
                    <a:pt x="11" y="31"/>
                    <a:pt x="10" y="31"/>
                    <a:pt x="9" y="31"/>
                  </a:cubicBezTo>
                  <a:cubicBezTo>
                    <a:pt x="7" y="30"/>
                    <a:pt x="6" y="28"/>
                    <a:pt x="6" y="26"/>
                  </a:cubicBezTo>
                  <a:cubicBezTo>
                    <a:pt x="6" y="25"/>
                    <a:pt x="5" y="24"/>
                    <a:pt x="4" y="23"/>
                  </a:cubicBezTo>
                  <a:cubicBezTo>
                    <a:pt x="4" y="23"/>
                    <a:pt x="3" y="23"/>
                    <a:pt x="2" y="23"/>
                  </a:cubicBezTo>
                  <a:cubicBezTo>
                    <a:pt x="1" y="23"/>
                    <a:pt x="1" y="22"/>
                    <a:pt x="0" y="22"/>
                  </a:cubicBezTo>
                  <a:close/>
                  <a:moveTo>
                    <a:pt x="46" y="181"/>
                  </a:moveTo>
                  <a:cubicBezTo>
                    <a:pt x="47" y="181"/>
                    <a:pt x="48" y="182"/>
                    <a:pt x="49" y="182"/>
                  </a:cubicBezTo>
                  <a:cubicBezTo>
                    <a:pt x="50" y="183"/>
                    <a:pt x="50" y="184"/>
                    <a:pt x="50" y="185"/>
                  </a:cubicBezTo>
                  <a:cubicBezTo>
                    <a:pt x="50" y="187"/>
                    <a:pt x="52" y="189"/>
                    <a:pt x="53" y="190"/>
                  </a:cubicBezTo>
                  <a:cubicBezTo>
                    <a:pt x="54" y="190"/>
                    <a:pt x="55" y="190"/>
                    <a:pt x="56" y="190"/>
                  </a:cubicBezTo>
                  <a:cubicBezTo>
                    <a:pt x="57" y="190"/>
                    <a:pt x="58" y="190"/>
                    <a:pt x="58" y="189"/>
                  </a:cubicBezTo>
                  <a:cubicBezTo>
                    <a:pt x="58" y="189"/>
                    <a:pt x="57" y="189"/>
                    <a:pt x="56" y="189"/>
                  </a:cubicBezTo>
                  <a:cubicBezTo>
                    <a:pt x="55" y="189"/>
                    <a:pt x="55" y="189"/>
                    <a:pt x="54" y="188"/>
                  </a:cubicBezTo>
                  <a:cubicBezTo>
                    <a:pt x="53" y="187"/>
                    <a:pt x="52" y="186"/>
                    <a:pt x="52" y="185"/>
                  </a:cubicBezTo>
                  <a:cubicBezTo>
                    <a:pt x="52" y="183"/>
                    <a:pt x="51" y="181"/>
                    <a:pt x="49" y="180"/>
                  </a:cubicBezTo>
                  <a:cubicBezTo>
                    <a:pt x="48" y="180"/>
                    <a:pt x="47" y="180"/>
                    <a:pt x="46" y="180"/>
                  </a:cubicBezTo>
                  <a:cubicBezTo>
                    <a:pt x="46" y="180"/>
                    <a:pt x="45" y="181"/>
                    <a:pt x="44" y="181"/>
                  </a:cubicBezTo>
                  <a:cubicBezTo>
                    <a:pt x="45" y="181"/>
                    <a:pt x="46" y="181"/>
                    <a:pt x="46" y="181"/>
                  </a:cubicBezTo>
                  <a:close/>
                  <a:moveTo>
                    <a:pt x="170" y="299"/>
                  </a:moveTo>
                  <a:cubicBezTo>
                    <a:pt x="171" y="299"/>
                    <a:pt x="172" y="299"/>
                    <a:pt x="172" y="300"/>
                  </a:cubicBezTo>
                  <a:cubicBezTo>
                    <a:pt x="173" y="300"/>
                    <a:pt x="174" y="302"/>
                    <a:pt x="174" y="303"/>
                  </a:cubicBezTo>
                  <a:cubicBezTo>
                    <a:pt x="174" y="305"/>
                    <a:pt x="175" y="307"/>
                    <a:pt x="177" y="307"/>
                  </a:cubicBezTo>
                  <a:cubicBezTo>
                    <a:pt x="178" y="308"/>
                    <a:pt x="179" y="308"/>
                    <a:pt x="180" y="308"/>
                  </a:cubicBezTo>
                  <a:cubicBezTo>
                    <a:pt x="180" y="308"/>
                    <a:pt x="181" y="307"/>
                    <a:pt x="182" y="307"/>
                  </a:cubicBezTo>
                  <a:cubicBezTo>
                    <a:pt x="181" y="307"/>
                    <a:pt x="180" y="307"/>
                    <a:pt x="180" y="307"/>
                  </a:cubicBezTo>
                  <a:cubicBezTo>
                    <a:pt x="179" y="307"/>
                    <a:pt x="178" y="306"/>
                    <a:pt x="178" y="306"/>
                  </a:cubicBezTo>
                  <a:cubicBezTo>
                    <a:pt x="177" y="305"/>
                    <a:pt x="176" y="304"/>
                    <a:pt x="176" y="303"/>
                  </a:cubicBezTo>
                  <a:cubicBezTo>
                    <a:pt x="176" y="301"/>
                    <a:pt x="175" y="299"/>
                    <a:pt x="173" y="298"/>
                  </a:cubicBezTo>
                  <a:cubicBezTo>
                    <a:pt x="172" y="298"/>
                    <a:pt x="171" y="298"/>
                    <a:pt x="170" y="298"/>
                  </a:cubicBezTo>
                  <a:cubicBezTo>
                    <a:pt x="169" y="298"/>
                    <a:pt x="169" y="298"/>
                    <a:pt x="168" y="299"/>
                  </a:cubicBezTo>
                  <a:cubicBezTo>
                    <a:pt x="169" y="299"/>
                    <a:pt x="169" y="299"/>
                    <a:pt x="170" y="299"/>
                  </a:cubicBezTo>
                  <a:close/>
                  <a:moveTo>
                    <a:pt x="27" y="91"/>
                  </a:moveTo>
                  <a:cubicBezTo>
                    <a:pt x="28" y="91"/>
                    <a:pt x="28" y="91"/>
                    <a:pt x="29" y="92"/>
                  </a:cubicBezTo>
                  <a:cubicBezTo>
                    <a:pt x="30" y="92"/>
                    <a:pt x="31" y="93"/>
                    <a:pt x="31" y="95"/>
                  </a:cubicBezTo>
                  <a:cubicBezTo>
                    <a:pt x="31" y="97"/>
                    <a:pt x="32" y="99"/>
                    <a:pt x="34" y="99"/>
                  </a:cubicBezTo>
                  <a:cubicBezTo>
                    <a:pt x="35" y="100"/>
                    <a:pt x="36" y="100"/>
                    <a:pt x="37" y="100"/>
                  </a:cubicBezTo>
                  <a:cubicBezTo>
                    <a:pt x="37" y="99"/>
                    <a:pt x="38" y="99"/>
                    <a:pt x="39" y="99"/>
                  </a:cubicBezTo>
                  <a:cubicBezTo>
                    <a:pt x="38" y="99"/>
                    <a:pt x="37" y="99"/>
                    <a:pt x="37" y="99"/>
                  </a:cubicBezTo>
                  <a:cubicBezTo>
                    <a:pt x="36" y="98"/>
                    <a:pt x="35" y="98"/>
                    <a:pt x="35" y="98"/>
                  </a:cubicBezTo>
                  <a:cubicBezTo>
                    <a:pt x="33" y="97"/>
                    <a:pt x="33" y="96"/>
                    <a:pt x="33" y="95"/>
                  </a:cubicBezTo>
                  <a:cubicBezTo>
                    <a:pt x="33" y="93"/>
                    <a:pt x="32" y="91"/>
                    <a:pt x="30" y="90"/>
                  </a:cubicBezTo>
                  <a:cubicBezTo>
                    <a:pt x="29" y="90"/>
                    <a:pt x="28" y="90"/>
                    <a:pt x="27" y="90"/>
                  </a:cubicBezTo>
                  <a:cubicBezTo>
                    <a:pt x="26" y="90"/>
                    <a:pt x="25" y="90"/>
                    <a:pt x="25" y="90"/>
                  </a:cubicBezTo>
                  <a:cubicBezTo>
                    <a:pt x="25" y="91"/>
                    <a:pt x="26" y="91"/>
                    <a:pt x="27" y="91"/>
                  </a:cubicBezTo>
                  <a:close/>
                  <a:moveTo>
                    <a:pt x="127" y="277"/>
                  </a:moveTo>
                  <a:cubicBezTo>
                    <a:pt x="128" y="277"/>
                    <a:pt x="128" y="277"/>
                    <a:pt x="129" y="278"/>
                  </a:cubicBezTo>
                  <a:cubicBezTo>
                    <a:pt x="130" y="278"/>
                    <a:pt x="131" y="279"/>
                    <a:pt x="131" y="281"/>
                  </a:cubicBezTo>
                  <a:cubicBezTo>
                    <a:pt x="131" y="283"/>
                    <a:pt x="132" y="285"/>
                    <a:pt x="134" y="285"/>
                  </a:cubicBezTo>
                  <a:cubicBezTo>
                    <a:pt x="135" y="286"/>
                    <a:pt x="136" y="286"/>
                    <a:pt x="136" y="286"/>
                  </a:cubicBezTo>
                  <a:cubicBezTo>
                    <a:pt x="137" y="285"/>
                    <a:pt x="138" y="285"/>
                    <a:pt x="139" y="285"/>
                  </a:cubicBezTo>
                  <a:cubicBezTo>
                    <a:pt x="138" y="285"/>
                    <a:pt x="137" y="285"/>
                    <a:pt x="136" y="285"/>
                  </a:cubicBezTo>
                  <a:cubicBezTo>
                    <a:pt x="136" y="284"/>
                    <a:pt x="135" y="284"/>
                    <a:pt x="134" y="284"/>
                  </a:cubicBezTo>
                  <a:cubicBezTo>
                    <a:pt x="133" y="283"/>
                    <a:pt x="133" y="282"/>
                    <a:pt x="133" y="281"/>
                  </a:cubicBezTo>
                  <a:cubicBezTo>
                    <a:pt x="133" y="279"/>
                    <a:pt x="131" y="277"/>
                    <a:pt x="130" y="276"/>
                  </a:cubicBezTo>
                  <a:cubicBezTo>
                    <a:pt x="129" y="276"/>
                    <a:pt x="128" y="276"/>
                    <a:pt x="127" y="276"/>
                  </a:cubicBezTo>
                  <a:cubicBezTo>
                    <a:pt x="126" y="276"/>
                    <a:pt x="125" y="276"/>
                    <a:pt x="125" y="276"/>
                  </a:cubicBezTo>
                  <a:cubicBezTo>
                    <a:pt x="125" y="277"/>
                    <a:pt x="126" y="277"/>
                    <a:pt x="127" y="277"/>
                  </a:cubicBezTo>
                  <a:close/>
                  <a:moveTo>
                    <a:pt x="154" y="202"/>
                  </a:moveTo>
                  <a:cubicBezTo>
                    <a:pt x="155" y="202"/>
                    <a:pt x="156" y="203"/>
                    <a:pt x="156" y="203"/>
                  </a:cubicBezTo>
                  <a:cubicBezTo>
                    <a:pt x="157" y="204"/>
                    <a:pt x="158" y="205"/>
                    <a:pt x="158" y="206"/>
                  </a:cubicBezTo>
                  <a:cubicBezTo>
                    <a:pt x="158" y="208"/>
                    <a:pt x="159" y="210"/>
                    <a:pt x="161" y="211"/>
                  </a:cubicBezTo>
                  <a:cubicBezTo>
                    <a:pt x="162" y="211"/>
                    <a:pt x="163" y="211"/>
                    <a:pt x="164" y="211"/>
                  </a:cubicBezTo>
                  <a:cubicBezTo>
                    <a:pt x="165" y="211"/>
                    <a:pt x="165" y="211"/>
                    <a:pt x="166" y="210"/>
                  </a:cubicBezTo>
                  <a:cubicBezTo>
                    <a:pt x="165" y="210"/>
                    <a:pt x="165" y="210"/>
                    <a:pt x="164" y="210"/>
                  </a:cubicBezTo>
                  <a:cubicBezTo>
                    <a:pt x="163" y="210"/>
                    <a:pt x="162" y="210"/>
                    <a:pt x="162" y="209"/>
                  </a:cubicBezTo>
                  <a:cubicBezTo>
                    <a:pt x="161" y="208"/>
                    <a:pt x="160" y="207"/>
                    <a:pt x="160" y="206"/>
                  </a:cubicBezTo>
                  <a:cubicBezTo>
                    <a:pt x="160" y="204"/>
                    <a:pt x="159" y="202"/>
                    <a:pt x="157" y="201"/>
                  </a:cubicBezTo>
                  <a:cubicBezTo>
                    <a:pt x="156" y="201"/>
                    <a:pt x="155" y="201"/>
                    <a:pt x="154" y="201"/>
                  </a:cubicBezTo>
                  <a:cubicBezTo>
                    <a:pt x="153" y="201"/>
                    <a:pt x="153" y="202"/>
                    <a:pt x="152" y="202"/>
                  </a:cubicBezTo>
                  <a:cubicBezTo>
                    <a:pt x="153" y="202"/>
                    <a:pt x="153" y="202"/>
                    <a:pt x="154" y="202"/>
                  </a:cubicBezTo>
                  <a:close/>
                  <a:moveTo>
                    <a:pt x="94" y="132"/>
                  </a:moveTo>
                  <a:cubicBezTo>
                    <a:pt x="93" y="132"/>
                    <a:pt x="92" y="132"/>
                    <a:pt x="91" y="132"/>
                  </a:cubicBezTo>
                  <a:cubicBezTo>
                    <a:pt x="92" y="132"/>
                    <a:pt x="93" y="132"/>
                    <a:pt x="94" y="133"/>
                  </a:cubicBezTo>
                  <a:cubicBezTo>
                    <a:pt x="94" y="133"/>
                    <a:pt x="95" y="133"/>
                    <a:pt x="96" y="133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6" y="133"/>
                    <a:pt x="96" y="132"/>
                    <a:pt x="96" y="132"/>
                  </a:cubicBezTo>
                  <a:cubicBezTo>
                    <a:pt x="95" y="131"/>
                    <a:pt x="94" y="132"/>
                    <a:pt x="94" y="132"/>
                  </a:cubicBezTo>
                  <a:close/>
                  <a:moveTo>
                    <a:pt x="97" y="137"/>
                  </a:moveTo>
                  <a:cubicBezTo>
                    <a:pt x="98" y="138"/>
                    <a:pt x="98" y="139"/>
                    <a:pt x="98" y="139"/>
                  </a:cubicBezTo>
                  <a:cubicBezTo>
                    <a:pt x="98" y="138"/>
                    <a:pt x="98" y="138"/>
                    <a:pt x="97" y="137"/>
                  </a:cubicBezTo>
                  <a:close/>
                  <a:moveTo>
                    <a:pt x="215" y="205"/>
                  </a:moveTo>
                  <a:cubicBezTo>
                    <a:pt x="215" y="206"/>
                    <a:pt x="214" y="206"/>
                    <a:pt x="213" y="206"/>
                  </a:cubicBezTo>
                  <a:cubicBezTo>
                    <a:pt x="212" y="206"/>
                    <a:pt x="211" y="206"/>
                    <a:pt x="210" y="205"/>
                  </a:cubicBezTo>
                  <a:cubicBezTo>
                    <a:pt x="209" y="204"/>
                    <a:pt x="206" y="203"/>
                    <a:pt x="205" y="204"/>
                  </a:cubicBezTo>
                  <a:cubicBezTo>
                    <a:pt x="204" y="204"/>
                    <a:pt x="203" y="205"/>
                    <a:pt x="203" y="206"/>
                  </a:cubicBezTo>
                  <a:cubicBezTo>
                    <a:pt x="202" y="206"/>
                    <a:pt x="202" y="207"/>
                    <a:pt x="201" y="208"/>
                  </a:cubicBezTo>
                  <a:cubicBezTo>
                    <a:pt x="202" y="207"/>
                    <a:pt x="203" y="207"/>
                    <a:pt x="203" y="206"/>
                  </a:cubicBezTo>
                  <a:cubicBezTo>
                    <a:pt x="204" y="206"/>
                    <a:pt x="204" y="206"/>
                    <a:pt x="205" y="205"/>
                  </a:cubicBezTo>
                  <a:cubicBezTo>
                    <a:pt x="206" y="205"/>
                    <a:pt x="208" y="206"/>
                    <a:pt x="209" y="207"/>
                  </a:cubicBezTo>
                  <a:cubicBezTo>
                    <a:pt x="210" y="208"/>
                    <a:pt x="212" y="208"/>
                    <a:pt x="214" y="207"/>
                  </a:cubicBezTo>
                  <a:cubicBezTo>
                    <a:pt x="215" y="207"/>
                    <a:pt x="216" y="206"/>
                    <a:pt x="216" y="206"/>
                  </a:cubicBezTo>
                  <a:cubicBezTo>
                    <a:pt x="216" y="205"/>
                    <a:pt x="217" y="204"/>
                    <a:pt x="217" y="204"/>
                  </a:cubicBezTo>
                  <a:cubicBezTo>
                    <a:pt x="217" y="204"/>
                    <a:pt x="216" y="205"/>
                    <a:pt x="215" y="205"/>
                  </a:cubicBezTo>
                  <a:close/>
                  <a:moveTo>
                    <a:pt x="95" y="257"/>
                  </a:moveTo>
                  <a:cubicBezTo>
                    <a:pt x="94" y="258"/>
                    <a:pt x="94" y="258"/>
                    <a:pt x="93" y="258"/>
                  </a:cubicBezTo>
                  <a:cubicBezTo>
                    <a:pt x="92" y="259"/>
                    <a:pt x="90" y="258"/>
                    <a:pt x="90" y="258"/>
                  </a:cubicBezTo>
                  <a:cubicBezTo>
                    <a:pt x="88" y="256"/>
                    <a:pt x="86" y="256"/>
                    <a:pt x="84" y="256"/>
                  </a:cubicBezTo>
                  <a:cubicBezTo>
                    <a:pt x="83" y="257"/>
                    <a:pt x="83" y="257"/>
                    <a:pt x="82" y="258"/>
                  </a:cubicBezTo>
                  <a:cubicBezTo>
                    <a:pt x="82" y="259"/>
                    <a:pt x="81" y="259"/>
                    <a:pt x="81" y="260"/>
                  </a:cubicBezTo>
                  <a:cubicBezTo>
                    <a:pt x="81" y="260"/>
                    <a:pt x="82" y="259"/>
                    <a:pt x="83" y="259"/>
                  </a:cubicBezTo>
                  <a:cubicBezTo>
                    <a:pt x="83" y="258"/>
                    <a:pt x="84" y="258"/>
                    <a:pt x="85" y="258"/>
                  </a:cubicBezTo>
                  <a:cubicBezTo>
                    <a:pt x="86" y="258"/>
                    <a:pt x="87" y="258"/>
                    <a:pt x="88" y="259"/>
                  </a:cubicBezTo>
                  <a:cubicBezTo>
                    <a:pt x="90" y="260"/>
                    <a:pt x="92" y="261"/>
                    <a:pt x="94" y="260"/>
                  </a:cubicBezTo>
                  <a:cubicBezTo>
                    <a:pt x="94" y="260"/>
                    <a:pt x="95" y="259"/>
                    <a:pt x="96" y="258"/>
                  </a:cubicBezTo>
                  <a:cubicBezTo>
                    <a:pt x="96" y="257"/>
                    <a:pt x="97" y="257"/>
                    <a:pt x="97" y="256"/>
                  </a:cubicBezTo>
                  <a:cubicBezTo>
                    <a:pt x="96" y="256"/>
                    <a:pt x="96" y="257"/>
                    <a:pt x="95" y="257"/>
                  </a:cubicBezTo>
                  <a:close/>
                  <a:moveTo>
                    <a:pt x="82" y="89"/>
                  </a:moveTo>
                  <a:cubicBezTo>
                    <a:pt x="81" y="90"/>
                    <a:pt x="81" y="90"/>
                    <a:pt x="80" y="90"/>
                  </a:cubicBezTo>
                  <a:cubicBezTo>
                    <a:pt x="80" y="91"/>
                    <a:pt x="79" y="92"/>
                    <a:pt x="79" y="92"/>
                  </a:cubicBezTo>
                  <a:cubicBezTo>
                    <a:pt x="80" y="92"/>
                    <a:pt x="80" y="92"/>
                    <a:pt x="81" y="91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82" y="90"/>
                    <a:pt x="82" y="90"/>
                    <a:pt x="82" y="89"/>
                  </a:cubicBezTo>
                  <a:close/>
                  <a:moveTo>
                    <a:pt x="150" y="170"/>
                  </a:moveTo>
                  <a:cubicBezTo>
                    <a:pt x="150" y="170"/>
                    <a:pt x="149" y="171"/>
                    <a:pt x="149" y="171"/>
                  </a:cubicBezTo>
                  <a:cubicBezTo>
                    <a:pt x="149" y="172"/>
                    <a:pt x="149" y="173"/>
                    <a:pt x="149" y="174"/>
                  </a:cubicBezTo>
                  <a:cubicBezTo>
                    <a:pt x="149" y="175"/>
                    <a:pt x="149" y="176"/>
                    <a:pt x="149" y="177"/>
                  </a:cubicBezTo>
                  <a:cubicBezTo>
                    <a:pt x="149" y="176"/>
                    <a:pt x="150" y="175"/>
                    <a:pt x="150" y="174"/>
                  </a:cubicBezTo>
                  <a:cubicBezTo>
                    <a:pt x="150" y="173"/>
                    <a:pt x="150" y="173"/>
                    <a:pt x="150" y="172"/>
                  </a:cubicBezTo>
                  <a:cubicBezTo>
                    <a:pt x="151" y="171"/>
                    <a:pt x="152" y="171"/>
                    <a:pt x="153" y="171"/>
                  </a:cubicBezTo>
                  <a:cubicBezTo>
                    <a:pt x="152" y="170"/>
                    <a:pt x="151" y="170"/>
                    <a:pt x="150" y="170"/>
                  </a:cubicBezTo>
                  <a:close/>
                  <a:moveTo>
                    <a:pt x="91" y="213"/>
                  </a:moveTo>
                  <a:cubicBezTo>
                    <a:pt x="91" y="214"/>
                    <a:pt x="91" y="215"/>
                    <a:pt x="90" y="215"/>
                  </a:cubicBezTo>
                  <a:cubicBezTo>
                    <a:pt x="90" y="216"/>
                    <a:pt x="88" y="217"/>
                    <a:pt x="87" y="217"/>
                  </a:cubicBezTo>
                  <a:cubicBezTo>
                    <a:pt x="85" y="217"/>
                    <a:pt x="83" y="218"/>
                    <a:pt x="83" y="220"/>
                  </a:cubicBezTo>
                  <a:cubicBezTo>
                    <a:pt x="82" y="221"/>
                    <a:pt x="82" y="222"/>
                    <a:pt x="82" y="223"/>
                  </a:cubicBezTo>
                  <a:cubicBezTo>
                    <a:pt x="83" y="224"/>
                    <a:pt x="83" y="224"/>
                    <a:pt x="83" y="225"/>
                  </a:cubicBezTo>
                  <a:cubicBezTo>
                    <a:pt x="83" y="224"/>
                    <a:pt x="83" y="224"/>
                    <a:pt x="83" y="223"/>
                  </a:cubicBezTo>
                  <a:cubicBezTo>
                    <a:pt x="83" y="222"/>
                    <a:pt x="84" y="221"/>
                    <a:pt x="84" y="221"/>
                  </a:cubicBezTo>
                  <a:cubicBezTo>
                    <a:pt x="85" y="220"/>
                    <a:pt x="86" y="219"/>
                    <a:pt x="87" y="219"/>
                  </a:cubicBezTo>
                  <a:cubicBezTo>
                    <a:pt x="89" y="219"/>
                    <a:pt x="91" y="218"/>
                    <a:pt x="92" y="216"/>
                  </a:cubicBezTo>
                  <a:cubicBezTo>
                    <a:pt x="92" y="215"/>
                    <a:pt x="92" y="214"/>
                    <a:pt x="92" y="213"/>
                  </a:cubicBezTo>
                  <a:cubicBezTo>
                    <a:pt x="92" y="213"/>
                    <a:pt x="92" y="212"/>
                    <a:pt x="91" y="211"/>
                  </a:cubicBezTo>
                  <a:cubicBezTo>
                    <a:pt x="91" y="212"/>
                    <a:pt x="91" y="213"/>
                    <a:pt x="91" y="213"/>
                  </a:cubicBezTo>
                  <a:close/>
                  <a:moveTo>
                    <a:pt x="182" y="255"/>
                  </a:moveTo>
                  <a:cubicBezTo>
                    <a:pt x="181" y="256"/>
                    <a:pt x="181" y="256"/>
                    <a:pt x="181" y="257"/>
                  </a:cubicBezTo>
                  <a:cubicBezTo>
                    <a:pt x="180" y="258"/>
                    <a:pt x="179" y="259"/>
                    <a:pt x="178" y="259"/>
                  </a:cubicBezTo>
                  <a:cubicBezTo>
                    <a:pt x="176" y="259"/>
                    <a:pt x="174" y="260"/>
                    <a:pt x="173" y="262"/>
                  </a:cubicBezTo>
                  <a:cubicBezTo>
                    <a:pt x="173" y="263"/>
                    <a:pt x="173" y="264"/>
                    <a:pt x="173" y="264"/>
                  </a:cubicBezTo>
                  <a:cubicBezTo>
                    <a:pt x="173" y="265"/>
                    <a:pt x="173" y="266"/>
                    <a:pt x="173" y="267"/>
                  </a:cubicBezTo>
                  <a:cubicBezTo>
                    <a:pt x="174" y="266"/>
                    <a:pt x="174" y="265"/>
                    <a:pt x="174" y="264"/>
                  </a:cubicBezTo>
                  <a:cubicBezTo>
                    <a:pt x="174" y="264"/>
                    <a:pt x="174" y="263"/>
                    <a:pt x="175" y="262"/>
                  </a:cubicBezTo>
                  <a:cubicBezTo>
                    <a:pt x="175" y="261"/>
                    <a:pt x="177" y="261"/>
                    <a:pt x="178" y="261"/>
                  </a:cubicBezTo>
                  <a:cubicBezTo>
                    <a:pt x="180" y="261"/>
                    <a:pt x="182" y="259"/>
                    <a:pt x="182" y="258"/>
                  </a:cubicBezTo>
                  <a:cubicBezTo>
                    <a:pt x="183" y="257"/>
                    <a:pt x="183" y="256"/>
                    <a:pt x="183" y="255"/>
                  </a:cubicBezTo>
                  <a:cubicBezTo>
                    <a:pt x="182" y="254"/>
                    <a:pt x="182" y="253"/>
                    <a:pt x="182" y="252"/>
                  </a:cubicBezTo>
                  <a:cubicBezTo>
                    <a:pt x="182" y="253"/>
                    <a:pt x="182" y="254"/>
                    <a:pt x="182" y="255"/>
                  </a:cubicBezTo>
                  <a:close/>
                  <a:moveTo>
                    <a:pt x="63" y="49"/>
                  </a:moveTo>
                  <a:cubicBezTo>
                    <a:pt x="63" y="50"/>
                    <a:pt x="63" y="50"/>
                    <a:pt x="63" y="51"/>
                  </a:cubicBezTo>
                  <a:cubicBezTo>
                    <a:pt x="62" y="52"/>
                    <a:pt x="61" y="53"/>
                    <a:pt x="59" y="53"/>
                  </a:cubicBezTo>
                  <a:cubicBezTo>
                    <a:pt x="58" y="53"/>
                    <a:pt x="56" y="54"/>
                    <a:pt x="55" y="56"/>
                  </a:cubicBezTo>
                  <a:cubicBezTo>
                    <a:pt x="54" y="57"/>
                    <a:pt x="54" y="58"/>
                    <a:pt x="55" y="59"/>
                  </a:cubicBezTo>
                  <a:cubicBezTo>
                    <a:pt x="55" y="59"/>
                    <a:pt x="55" y="60"/>
                    <a:pt x="55" y="61"/>
                  </a:cubicBezTo>
                  <a:cubicBezTo>
                    <a:pt x="55" y="60"/>
                    <a:pt x="55" y="59"/>
                    <a:pt x="56" y="59"/>
                  </a:cubicBezTo>
                  <a:cubicBezTo>
                    <a:pt x="56" y="58"/>
                    <a:pt x="56" y="57"/>
                    <a:pt x="56" y="57"/>
                  </a:cubicBezTo>
                  <a:cubicBezTo>
                    <a:pt x="57" y="55"/>
                    <a:pt x="58" y="55"/>
                    <a:pt x="59" y="55"/>
                  </a:cubicBezTo>
                  <a:cubicBezTo>
                    <a:pt x="61" y="55"/>
                    <a:pt x="63" y="54"/>
                    <a:pt x="64" y="52"/>
                  </a:cubicBezTo>
                  <a:cubicBezTo>
                    <a:pt x="64" y="51"/>
                    <a:pt x="64" y="50"/>
                    <a:pt x="64" y="49"/>
                  </a:cubicBezTo>
                  <a:cubicBezTo>
                    <a:pt x="64" y="48"/>
                    <a:pt x="64" y="47"/>
                    <a:pt x="64" y="47"/>
                  </a:cubicBezTo>
                  <a:cubicBezTo>
                    <a:pt x="63" y="47"/>
                    <a:pt x="63" y="48"/>
                    <a:pt x="63" y="49"/>
                  </a:cubicBezTo>
                  <a:close/>
                  <a:moveTo>
                    <a:pt x="40" y="3"/>
                  </a:moveTo>
                  <a:cubicBezTo>
                    <a:pt x="41" y="2"/>
                    <a:pt x="41" y="2"/>
                    <a:pt x="42" y="2"/>
                  </a:cubicBezTo>
                  <a:cubicBezTo>
                    <a:pt x="43" y="1"/>
                    <a:pt x="44" y="2"/>
                    <a:pt x="45" y="3"/>
                  </a:cubicBezTo>
                  <a:cubicBezTo>
                    <a:pt x="47" y="4"/>
                    <a:pt x="49" y="5"/>
                    <a:pt x="51" y="4"/>
                  </a:cubicBezTo>
                  <a:cubicBezTo>
                    <a:pt x="51" y="3"/>
                    <a:pt x="52" y="3"/>
                    <a:pt x="53" y="2"/>
                  </a:cubicBezTo>
                  <a:cubicBezTo>
                    <a:pt x="53" y="1"/>
                    <a:pt x="54" y="1"/>
                    <a:pt x="54" y="0"/>
                  </a:cubicBezTo>
                  <a:cubicBezTo>
                    <a:pt x="53" y="0"/>
                    <a:pt x="53" y="1"/>
                    <a:pt x="52" y="1"/>
                  </a:cubicBezTo>
                  <a:cubicBezTo>
                    <a:pt x="51" y="2"/>
                    <a:pt x="51" y="2"/>
                    <a:pt x="50" y="2"/>
                  </a:cubicBezTo>
                  <a:cubicBezTo>
                    <a:pt x="49" y="3"/>
                    <a:pt x="47" y="2"/>
                    <a:pt x="47" y="1"/>
                  </a:cubicBezTo>
                  <a:cubicBezTo>
                    <a:pt x="45" y="0"/>
                    <a:pt x="43" y="0"/>
                    <a:pt x="41" y="0"/>
                  </a:cubicBezTo>
                  <a:cubicBezTo>
                    <a:pt x="40" y="1"/>
                    <a:pt x="40" y="1"/>
                    <a:pt x="39" y="2"/>
                  </a:cubicBezTo>
                  <a:cubicBezTo>
                    <a:pt x="39" y="3"/>
                    <a:pt x="38" y="3"/>
                    <a:pt x="38" y="4"/>
                  </a:cubicBezTo>
                  <a:cubicBezTo>
                    <a:pt x="39" y="4"/>
                    <a:pt x="39" y="3"/>
                    <a:pt x="40" y="3"/>
                  </a:cubicBezTo>
                  <a:close/>
                  <a:moveTo>
                    <a:pt x="42" y="141"/>
                  </a:moveTo>
                  <a:cubicBezTo>
                    <a:pt x="43" y="141"/>
                    <a:pt x="43" y="141"/>
                    <a:pt x="44" y="140"/>
                  </a:cubicBezTo>
                  <a:cubicBezTo>
                    <a:pt x="45" y="140"/>
                    <a:pt x="46" y="140"/>
                    <a:pt x="47" y="141"/>
                  </a:cubicBezTo>
                  <a:cubicBezTo>
                    <a:pt x="49" y="143"/>
                    <a:pt x="51" y="143"/>
                    <a:pt x="53" y="142"/>
                  </a:cubicBezTo>
                  <a:cubicBezTo>
                    <a:pt x="53" y="142"/>
                    <a:pt x="54" y="141"/>
                    <a:pt x="55" y="141"/>
                  </a:cubicBezTo>
                  <a:cubicBezTo>
                    <a:pt x="55" y="140"/>
                    <a:pt x="56" y="139"/>
                    <a:pt x="56" y="139"/>
                  </a:cubicBezTo>
                  <a:cubicBezTo>
                    <a:pt x="55" y="139"/>
                    <a:pt x="55" y="140"/>
                    <a:pt x="54" y="140"/>
                  </a:cubicBezTo>
                  <a:cubicBezTo>
                    <a:pt x="53" y="140"/>
                    <a:pt x="53" y="141"/>
                    <a:pt x="52" y="141"/>
                  </a:cubicBezTo>
                  <a:cubicBezTo>
                    <a:pt x="51" y="141"/>
                    <a:pt x="49" y="141"/>
                    <a:pt x="49" y="140"/>
                  </a:cubicBezTo>
                  <a:cubicBezTo>
                    <a:pt x="47" y="138"/>
                    <a:pt x="45" y="138"/>
                    <a:pt x="43" y="139"/>
                  </a:cubicBezTo>
                  <a:cubicBezTo>
                    <a:pt x="42" y="139"/>
                    <a:pt x="42" y="140"/>
                    <a:pt x="41" y="141"/>
                  </a:cubicBezTo>
                  <a:cubicBezTo>
                    <a:pt x="41" y="141"/>
                    <a:pt x="40" y="142"/>
                    <a:pt x="40" y="143"/>
                  </a:cubicBezTo>
                  <a:cubicBezTo>
                    <a:pt x="41" y="142"/>
                    <a:pt x="41" y="142"/>
                    <a:pt x="42" y="141"/>
                  </a:cubicBezTo>
                  <a:close/>
                  <a:moveTo>
                    <a:pt x="100" y="177"/>
                  </a:moveTo>
                  <a:cubicBezTo>
                    <a:pt x="101" y="177"/>
                    <a:pt x="102" y="176"/>
                    <a:pt x="102" y="176"/>
                  </a:cubicBezTo>
                  <a:cubicBezTo>
                    <a:pt x="104" y="176"/>
                    <a:pt x="105" y="176"/>
                    <a:pt x="106" y="177"/>
                  </a:cubicBezTo>
                  <a:cubicBezTo>
                    <a:pt x="107" y="178"/>
                    <a:pt x="109" y="179"/>
                    <a:pt x="111" y="178"/>
                  </a:cubicBezTo>
                  <a:cubicBezTo>
                    <a:pt x="112" y="178"/>
                    <a:pt x="113" y="177"/>
                    <a:pt x="113" y="176"/>
                  </a:cubicBezTo>
                  <a:cubicBezTo>
                    <a:pt x="114" y="176"/>
                    <a:pt x="114" y="175"/>
                    <a:pt x="115" y="174"/>
                  </a:cubicBezTo>
                  <a:cubicBezTo>
                    <a:pt x="114" y="175"/>
                    <a:pt x="113" y="175"/>
                    <a:pt x="112" y="176"/>
                  </a:cubicBezTo>
                  <a:cubicBezTo>
                    <a:pt x="112" y="176"/>
                    <a:pt x="111" y="177"/>
                    <a:pt x="111" y="177"/>
                  </a:cubicBezTo>
                  <a:cubicBezTo>
                    <a:pt x="109" y="177"/>
                    <a:pt x="108" y="177"/>
                    <a:pt x="107" y="176"/>
                  </a:cubicBezTo>
                  <a:cubicBezTo>
                    <a:pt x="106" y="174"/>
                    <a:pt x="103" y="174"/>
                    <a:pt x="102" y="175"/>
                  </a:cubicBezTo>
                  <a:cubicBezTo>
                    <a:pt x="101" y="175"/>
                    <a:pt x="100" y="176"/>
                    <a:pt x="100" y="176"/>
                  </a:cubicBezTo>
                  <a:cubicBezTo>
                    <a:pt x="99" y="177"/>
                    <a:pt x="99" y="178"/>
                    <a:pt x="98" y="179"/>
                  </a:cubicBezTo>
                  <a:cubicBezTo>
                    <a:pt x="99" y="178"/>
                    <a:pt x="100" y="178"/>
                    <a:pt x="100" y="177"/>
                  </a:cubicBezTo>
                  <a:close/>
                  <a:moveTo>
                    <a:pt x="14" y="203"/>
                  </a:moveTo>
                  <a:cubicBezTo>
                    <a:pt x="13" y="204"/>
                    <a:pt x="13" y="204"/>
                    <a:pt x="12" y="204"/>
                  </a:cubicBezTo>
                  <a:cubicBezTo>
                    <a:pt x="11" y="204"/>
                    <a:pt x="10" y="204"/>
                    <a:pt x="10" y="204"/>
                  </a:cubicBezTo>
                  <a:cubicBezTo>
                    <a:pt x="10" y="204"/>
                    <a:pt x="10" y="205"/>
                    <a:pt x="11" y="206"/>
                  </a:cubicBezTo>
                  <a:cubicBezTo>
                    <a:pt x="11" y="206"/>
                    <a:pt x="12" y="206"/>
                    <a:pt x="13" y="205"/>
                  </a:cubicBezTo>
                  <a:cubicBezTo>
                    <a:pt x="14" y="205"/>
                    <a:pt x="14" y="204"/>
                    <a:pt x="15" y="204"/>
                  </a:cubicBezTo>
                  <a:cubicBezTo>
                    <a:pt x="15" y="203"/>
                    <a:pt x="16" y="202"/>
                    <a:pt x="16" y="202"/>
                  </a:cubicBezTo>
                  <a:cubicBezTo>
                    <a:pt x="15" y="202"/>
                    <a:pt x="15" y="203"/>
                    <a:pt x="14" y="203"/>
                  </a:cubicBezTo>
                  <a:close/>
                  <a:moveTo>
                    <a:pt x="129" y="240"/>
                  </a:moveTo>
                  <a:cubicBezTo>
                    <a:pt x="130" y="240"/>
                    <a:pt x="130" y="239"/>
                    <a:pt x="131" y="239"/>
                  </a:cubicBezTo>
                  <a:cubicBezTo>
                    <a:pt x="132" y="239"/>
                    <a:pt x="133" y="239"/>
                    <a:pt x="134" y="240"/>
                  </a:cubicBezTo>
                  <a:cubicBezTo>
                    <a:pt x="136" y="241"/>
                    <a:pt x="138" y="242"/>
                    <a:pt x="140" y="241"/>
                  </a:cubicBezTo>
                  <a:cubicBezTo>
                    <a:pt x="141" y="241"/>
                    <a:pt x="141" y="240"/>
                    <a:pt x="142" y="240"/>
                  </a:cubicBezTo>
                  <a:cubicBezTo>
                    <a:pt x="142" y="239"/>
                    <a:pt x="143" y="238"/>
                    <a:pt x="143" y="237"/>
                  </a:cubicBezTo>
                  <a:cubicBezTo>
                    <a:pt x="142" y="238"/>
                    <a:pt x="142" y="238"/>
                    <a:pt x="141" y="239"/>
                  </a:cubicBezTo>
                  <a:cubicBezTo>
                    <a:pt x="140" y="239"/>
                    <a:pt x="140" y="240"/>
                    <a:pt x="139" y="240"/>
                  </a:cubicBezTo>
                  <a:cubicBezTo>
                    <a:pt x="138" y="240"/>
                    <a:pt x="137" y="240"/>
                    <a:pt x="136" y="239"/>
                  </a:cubicBezTo>
                  <a:cubicBezTo>
                    <a:pt x="134" y="237"/>
                    <a:pt x="132" y="237"/>
                    <a:pt x="130" y="238"/>
                  </a:cubicBezTo>
                  <a:cubicBezTo>
                    <a:pt x="129" y="238"/>
                    <a:pt x="129" y="239"/>
                    <a:pt x="128" y="240"/>
                  </a:cubicBezTo>
                  <a:cubicBezTo>
                    <a:pt x="128" y="240"/>
                    <a:pt x="127" y="241"/>
                    <a:pt x="127" y="242"/>
                  </a:cubicBezTo>
                  <a:cubicBezTo>
                    <a:pt x="128" y="241"/>
                    <a:pt x="128" y="241"/>
                    <a:pt x="129" y="2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70">
              <a:extLst>
                <a:ext uri="{FF2B5EF4-FFF2-40B4-BE49-F238E27FC236}">
                  <a16:creationId xmlns:a16="http://schemas.microsoft.com/office/drawing/2014/main" id="{3D4D8982-3671-46AD-96AC-BFB57C05A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203" y="2536172"/>
              <a:ext cx="120907" cy="573714"/>
            </a:xfrm>
            <a:custGeom>
              <a:avLst/>
              <a:gdLst>
                <a:gd name="T0" fmla="*/ 43 w 43"/>
                <a:gd name="T1" fmla="*/ 203 h 204"/>
                <a:gd name="T2" fmla="*/ 17 w 43"/>
                <a:gd name="T3" fmla="*/ 176 h 204"/>
                <a:gd name="T4" fmla="*/ 12 w 43"/>
                <a:gd name="T5" fmla="*/ 158 h 204"/>
                <a:gd name="T6" fmla="*/ 8 w 43"/>
                <a:gd name="T7" fmla="*/ 136 h 204"/>
                <a:gd name="T8" fmla="*/ 3 w 43"/>
                <a:gd name="T9" fmla="*/ 49 h 204"/>
                <a:gd name="T10" fmla="*/ 6 w 43"/>
                <a:gd name="T11" fmla="*/ 0 h 204"/>
                <a:gd name="T12" fmla="*/ 6 w 43"/>
                <a:gd name="T13" fmla="*/ 0 h 204"/>
                <a:gd name="T14" fmla="*/ 1 w 43"/>
                <a:gd name="T15" fmla="*/ 40 h 204"/>
                <a:gd name="T16" fmla="*/ 1 w 43"/>
                <a:gd name="T17" fmla="*/ 34 h 204"/>
                <a:gd name="T18" fmla="*/ 1 w 43"/>
                <a:gd name="T19" fmla="*/ 18 h 204"/>
                <a:gd name="T20" fmla="*/ 0 w 43"/>
                <a:gd name="T21" fmla="*/ 18 h 204"/>
                <a:gd name="T22" fmla="*/ 0 w 43"/>
                <a:gd name="T23" fmla="*/ 34 h 204"/>
                <a:gd name="T24" fmla="*/ 1 w 43"/>
                <a:gd name="T25" fmla="*/ 43 h 204"/>
                <a:gd name="T26" fmla="*/ 0 w 43"/>
                <a:gd name="T27" fmla="*/ 89 h 204"/>
                <a:gd name="T28" fmla="*/ 3 w 43"/>
                <a:gd name="T29" fmla="*/ 134 h 204"/>
                <a:gd name="T30" fmla="*/ 7 w 43"/>
                <a:gd name="T31" fmla="*/ 156 h 204"/>
                <a:gd name="T32" fmla="*/ 12 w 43"/>
                <a:gd name="T33" fmla="*/ 176 h 204"/>
                <a:gd name="T34" fmla="*/ 43 w 43"/>
                <a:gd name="T35" fmla="*/ 204 h 204"/>
                <a:gd name="T36" fmla="*/ 43 w 43"/>
                <a:gd name="T37" fmla="*/ 20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204">
                  <a:moveTo>
                    <a:pt x="43" y="203"/>
                  </a:moveTo>
                  <a:cubicBezTo>
                    <a:pt x="33" y="196"/>
                    <a:pt x="23" y="186"/>
                    <a:pt x="17" y="176"/>
                  </a:cubicBezTo>
                  <a:cubicBezTo>
                    <a:pt x="13" y="170"/>
                    <a:pt x="13" y="164"/>
                    <a:pt x="12" y="158"/>
                  </a:cubicBezTo>
                  <a:cubicBezTo>
                    <a:pt x="10" y="150"/>
                    <a:pt x="9" y="143"/>
                    <a:pt x="8" y="136"/>
                  </a:cubicBezTo>
                  <a:cubicBezTo>
                    <a:pt x="5" y="107"/>
                    <a:pt x="3" y="78"/>
                    <a:pt x="3" y="49"/>
                  </a:cubicBezTo>
                  <a:cubicBezTo>
                    <a:pt x="4" y="33"/>
                    <a:pt x="5" y="17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3"/>
                    <a:pt x="2" y="27"/>
                    <a:pt x="1" y="40"/>
                  </a:cubicBezTo>
                  <a:cubicBezTo>
                    <a:pt x="1" y="38"/>
                    <a:pt x="1" y="36"/>
                    <a:pt x="1" y="34"/>
                  </a:cubicBezTo>
                  <a:cubicBezTo>
                    <a:pt x="0" y="29"/>
                    <a:pt x="0" y="23"/>
                    <a:pt x="1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4"/>
                    <a:pt x="0" y="29"/>
                    <a:pt x="0" y="34"/>
                  </a:cubicBezTo>
                  <a:cubicBezTo>
                    <a:pt x="0" y="37"/>
                    <a:pt x="1" y="40"/>
                    <a:pt x="1" y="43"/>
                  </a:cubicBezTo>
                  <a:cubicBezTo>
                    <a:pt x="0" y="58"/>
                    <a:pt x="0" y="74"/>
                    <a:pt x="0" y="89"/>
                  </a:cubicBezTo>
                  <a:cubicBezTo>
                    <a:pt x="1" y="104"/>
                    <a:pt x="2" y="119"/>
                    <a:pt x="3" y="134"/>
                  </a:cubicBezTo>
                  <a:cubicBezTo>
                    <a:pt x="4" y="141"/>
                    <a:pt x="5" y="148"/>
                    <a:pt x="7" y="156"/>
                  </a:cubicBezTo>
                  <a:cubicBezTo>
                    <a:pt x="8" y="163"/>
                    <a:pt x="9" y="170"/>
                    <a:pt x="12" y="176"/>
                  </a:cubicBezTo>
                  <a:cubicBezTo>
                    <a:pt x="18" y="188"/>
                    <a:pt x="31" y="197"/>
                    <a:pt x="43" y="204"/>
                  </a:cubicBezTo>
                  <a:lnTo>
                    <a:pt x="43" y="203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71">
              <a:extLst>
                <a:ext uri="{FF2B5EF4-FFF2-40B4-BE49-F238E27FC236}">
                  <a16:creationId xmlns:a16="http://schemas.microsoft.com/office/drawing/2014/main" id="{FC3F0512-D58D-4432-ADE6-83AD129DC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641" y="2564620"/>
              <a:ext cx="112609" cy="317677"/>
            </a:xfrm>
            <a:custGeom>
              <a:avLst/>
              <a:gdLst>
                <a:gd name="T0" fmla="*/ 40 w 40"/>
                <a:gd name="T1" fmla="*/ 112 h 113"/>
                <a:gd name="T2" fmla="*/ 32 w 40"/>
                <a:gd name="T3" fmla="*/ 101 h 113"/>
                <a:gd name="T4" fmla="*/ 27 w 40"/>
                <a:gd name="T5" fmla="*/ 86 h 113"/>
                <a:gd name="T6" fmla="*/ 18 w 40"/>
                <a:gd name="T7" fmla="*/ 58 h 113"/>
                <a:gd name="T8" fmla="*/ 11 w 40"/>
                <a:gd name="T9" fmla="*/ 35 h 113"/>
                <a:gd name="T10" fmla="*/ 8 w 40"/>
                <a:gd name="T11" fmla="*/ 20 h 113"/>
                <a:gd name="T12" fmla="*/ 8 w 40"/>
                <a:gd name="T13" fmla="*/ 20 h 113"/>
                <a:gd name="T14" fmla="*/ 9 w 40"/>
                <a:gd name="T15" fmla="*/ 30 h 113"/>
                <a:gd name="T16" fmla="*/ 1 w 40"/>
                <a:gd name="T17" fmla="*/ 0 h 113"/>
                <a:gd name="T18" fmla="*/ 0 w 40"/>
                <a:gd name="T19" fmla="*/ 0 h 113"/>
                <a:gd name="T20" fmla="*/ 12 w 40"/>
                <a:gd name="T21" fmla="*/ 49 h 113"/>
                <a:gd name="T22" fmla="*/ 28 w 40"/>
                <a:gd name="T23" fmla="*/ 96 h 113"/>
                <a:gd name="T24" fmla="*/ 33 w 40"/>
                <a:gd name="T25" fmla="*/ 108 h 113"/>
                <a:gd name="T26" fmla="*/ 39 w 40"/>
                <a:gd name="T27" fmla="*/ 113 h 113"/>
                <a:gd name="T28" fmla="*/ 40 w 40"/>
                <a:gd name="T29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113">
                  <a:moveTo>
                    <a:pt x="40" y="112"/>
                  </a:moveTo>
                  <a:cubicBezTo>
                    <a:pt x="35" y="111"/>
                    <a:pt x="33" y="104"/>
                    <a:pt x="32" y="101"/>
                  </a:cubicBezTo>
                  <a:cubicBezTo>
                    <a:pt x="30" y="96"/>
                    <a:pt x="29" y="91"/>
                    <a:pt x="27" y="86"/>
                  </a:cubicBezTo>
                  <a:cubicBezTo>
                    <a:pt x="24" y="77"/>
                    <a:pt x="21" y="68"/>
                    <a:pt x="18" y="58"/>
                  </a:cubicBezTo>
                  <a:cubicBezTo>
                    <a:pt x="15" y="50"/>
                    <a:pt x="13" y="42"/>
                    <a:pt x="11" y="35"/>
                  </a:cubicBezTo>
                  <a:cubicBezTo>
                    <a:pt x="10" y="30"/>
                    <a:pt x="9" y="25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3"/>
                    <a:pt x="9" y="27"/>
                    <a:pt x="9" y="30"/>
                  </a:cubicBezTo>
                  <a:cubicBezTo>
                    <a:pt x="6" y="20"/>
                    <a:pt x="4" y="1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17"/>
                    <a:pt x="7" y="33"/>
                    <a:pt x="12" y="49"/>
                  </a:cubicBezTo>
                  <a:cubicBezTo>
                    <a:pt x="16" y="65"/>
                    <a:pt x="21" y="81"/>
                    <a:pt x="28" y="96"/>
                  </a:cubicBezTo>
                  <a:cubicBezTo>
                    <a:pt x="29" y="100"/>
                    <a:pt x="31" y="104"/>
                    <a:pt x="33" y="108"/>
                  </a:cubicBezTo>
                  <a:cubicBezTo>
                    <a:pt x="34" y="110"/>
                    <a:pt x="36" y="112"/>
                    <a:pt x="39" y="113"/>
                  </a:cubicBezTo>
                  <a:cubicBezTo>
                    <a:pt x="40" y="113"/>
                    <a:pt x="40" y="112"/>
                    <a:pt x="40" y="1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72">
              <a:extLst>
                <a:ext uri="{FF2B5EF4-FFF2-40B4-BE49-F238E27FC236}">
                  <a16:creationId xmlns:a16="http://schemas.microsoft.com/office/drawing/2014/main" id="{EED7B11D-7E1D-471E-8E5F-EF5E9603C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352" y="3011501"/>
              <a:ext cx="78234" cy="292784"/>
            </a:xfrm>
            <a:custGeom>
              <a:avLst/>
              <a:gdLst>
                <a:gd name="T0" fmla="*/ 28 w 28"/>
                <a:gd name="T1" fmla="*/ 0 h 104"/>
                <a:gd name="T2" fmla="*/ 20 w 28"/>
                <a:gd name="T3" fmla="*/ 25 h 104"/>
                <a:gd name="T4" fmla="*/ 13 w 28"/>
                <a:gd name="T5" fmla="*/ 51 h 104"/>
                <a:gd name="T6" fmla="*/ 0 w 28"/>
                <a:gd name="T7" fmla="*/ 103 h 104"/>
                <a:gd name="T8" fmla="*/ 1 w 28"/>
                <a:gd name="T9" fmla="*/ 104 h 104"/>
                <a:gd name="T10" fmla="*/ 16 w 28"/>
                <a:gd name="T11" fmla="*/ 52 h 104"/>
                <a:gd name="T12" fmla="*/ 22 w 28"/>
                <a:gd name="T13" fmla="*/ 27 h 104"/>
                <a:gd name="T14" fmla="*/ 28 w 28"/>
                <a:gd name="T1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04">
                  <a:moveTo>
                    <a:pt x="28" y="0"/>
                  </a:moveTo>
                  <a:cubicBezTo>
                    <a:pt x="24" y="8"/>
                    <a:pt x="22" y="17"/>
                    <a:pt x="20" y="25"/>
                  </a:cubicBezTo>
                  <a:cubicBezTo>
                    <a:pt x="17" y="34"/>
                    <a:pt x="15" y="42"/>
                    <a:pt x="13" y="51"/>
                  </a:cubicBezTo>
                  <a:cubicBezTo>
                    <a:pt x="10" y="60"/>
                    <a:pt x="2" y="95"/>
                    <a:pt x="0" y="103"/>
                  </a:cubicBezTo>
                  <a:cubicBezTo>
                    <a:pt x="0" y="104"/>
                    <a:pt x="0" y="104"/>
                    <a:pt x="1" y="104"/>
                  </a:cubicBezTo>
                  <a:cubicBezTo>
                    <a:pt x="3" y="95"/>
                    <a:pt x="13" y="61"/>
                    <a:pt x="16" y="52"/>
                  </a:cubicBezTo>
                  <a:cubicBezTo>
                    <a:pt x="18" y="44"/>
                    <a:pt x="20" y="35"/>
                    <a:pt x="22" y="27"/>
                  </a:cubicBezTo>
                  <a:cubicBezTo>
                    <a:pt x="24" y="18"/>
                    <a:pt x="27" y="9"/>
                    <a:pt x="2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3" name="Group 472">
            <a:extLst>
              <a:ext uri="{FF2B5EF4-FFF2-40B4-BE49-F238E27FC236}">
                <a16:creationId xmlns:a16="http://schemas.microsoft.com/office/drawing/2014/main" id="{46899477-0756-4F49-9B99-0DEB82B6DF9D}"/>
              </a:ext>
            </a:extLst>
          </p:cNvPr>
          <p:cNvGrpSpPr/>
          <p:nvPr/>
        </p:nvGrpSpPr>
        <p:grpSpPr>
          <a:xfrm>
            <a:off x="202274" y="254454"/>
            <a:ext cx="304800" cy="226242"/>
            <a:chOff x="202274" y="254454"/>
            <a:chExt cx="304800" cy="226242"/>
          </a:xfrm>
        </p:grpSpPr>
        <p:cxnSp>
          <p:nvCxnSpPr>
            <p:cNvPr id="474" name="Straight Connector 473">
              <a:extLst>
                <a:ext uri="{FF2B5EF4-FFF2-40B4-BE49-F238E27FC236}">
                  <a16:creationId xmlns:a16="http://schemas.microsoft.com/office/drawing/2014/main" id="{D8795AA8-9064-4687-BF3E-78E645435B4C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5" name="Straight Connector 474">
              <a:extLst>
                <a:ext uri="{FF2B5EF4-FFF2-40B4-BE49-F238E27FC236}">
                  <a16:creationId xmlns:a16="http://schemas.microsoft.com/office/drawing/2014/main" id="{CA72CB56-73D0-4459-BEC5-9706C37105EA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6" name="Straight Connector 475">
              <a:extLst>
                <a:ext uri="{FF2B5EF4-FFF2-40B4-BE49-F238E27FC236}">
                  <a16:creationId xmlns:a16="http://schemas.microsoft.com/office/drawing/2014/main" id="{5D8D5418-DAAA-4D29-B99B-74D13FF80C21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8" name="TextBox 477">
            <a:extLst>
              <a:ext uri="{FF2B5EF4-FFF2-40B4-BE49-F238E27FC236}">
                <a16:creationId xmlns:a16="http://schemas.microsoft.com/office/drawing/2014/main" id="{70EA1A06-93B1-422F-A638-7DDDF7F91D4B}"/>
              </a:ext>
            </a:extLst>
          </p:cNvPr>
          <p:cNvSpPr txBox="1"/>
          <p:nvPr/>
        </p:nvSpPr>
        <p:spPr>
          <a:xfrm>
            <a:off x="7398129" y="2331689"/>
            <a:ext cx="5112302" cy="246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han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0" b="1" dirty="0">
                <a:solidFill>
                  <a:schemeClr val="bg1"/>
                </a:solidFill>
                <a:latin typeface="Arial Black" panose="020B0A04020102020204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You!</a:t>
            </a: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24835CCD-A1C5-4AE5-9DF0-DF69CCA6BFC4}"/>
              </a:ext>
            </a:extLst>
          </p:cNvPr>
          <p:cNvGrpSpPr/>
          <p:nvPr/>
        </p:nvGrpSpPr>
        <p:grpSpPr>
          <a:xfrm flipH="1">
            <a:off x="11649736" y="6399666"/>
            <a:ext cx="304800" cy="226242"/>
            <a:chOff x="202274" y="254454"/>
            <a:chExt cx="304800" cy="226242"/>
          </a:xfrm>
        </p:grpSpPr>
        <p:cxnSp>
          <p:nvCxnSpPr>
            <p:cNvPr id="484" name="Straight Connector 483">
              <a:extLst>
                <a:ext uri="{FF2B5EF4-FFF2-40B4-BE49-F238E27FC236}">
                  <a16:creationId xmlns:a16="http://schemas.microsoft.com/office/drawing/2014/main" id="{09F7DA6A-059B-41D9-B4AB-186F25A031B0}"/>
                </a:ext>
              </a:extLst>
            </p:cNvPr>
            <p:cNvCxnSpPr>
              <a:cxnSpLocks/>
            </p:cNvCxnSpPr>
            <p:nvPr/>
          </p:nvCxnSpPr>
          <p:spPr>
            <a:xfrm>
              <a:off x="202274" y="254454"/>
              <a:ext cx="1524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5660474F-CB13-4413-A811-39D366998CE3}"/>
                </a:ext>
              </a:extLst>
            </p:cNvPr>
            <p:cNvCxnSpPr/>
            <p:nvPr/>
          </p:nvCxnSpPr>
          <p:spPr>
            <a:xfrm>
              <a:off x="202274" y="367575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6" name="Straight Connector 485">
              <a:extLst>
                <a:ext uri="{FF2B5EF4-FFF2-40B4-BE49-F238E27FC236}">
                  <a16:creationId xmlns:a16="http://schemas.microsoft.com/office/drawing/2014/main" id="{94DCD50E-CFEF-4972-8936-E9A889815C2C}"/>
                </a:ext>
              </a:extLst>
            </p:cNvPr>
            <p:cNvCxnSpPr/>
            <p:nvPr/>
          </p:nvCxnSpPr>
          <p:spPr>
            <a:xfrm>
              <a:off x="202274" y="480696"/>
              <a:ext cx="304800" cy="0"/>
            </a:xfrm>
            <a:prstGeom prst="line">
              <a:avLst/>
            </a:prstGeom>
            <a:ln w="3175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4FD591C-0AEB-285F-2A19-D7C96C949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829" y="131154"/>
            <a:ext cx="10515600" cy="5346730"/>
          </a:xfrm>
        </p:spPr>
        <p:txBody>
          <a:bodyPr>
            <a:normAutofit/>
          </a:bodyPr>
          <a:lstStyle/>
          <a:p>
            <a:r>
              <a:rPr lang="pt-BR" sz="2400" dirty="0"/>
              <a:t>1Bimestre</a:t>
            </a:r>
          </a:p>
          <a:p>
            <a:r>
              <a:rPr lang="pt-BR" sz="2400" dirty="0"/>
              <a:t>N1 ( atividades em sala de aula) – Valor 3,0</a:t>
            </a:r>
          </a:p>
          <a:p>
            <a:r>
              <a:rPr lang="pt-BR" sz="2400" dirty="0"/>
              <a:t>N2 (produção de pesquisa) – Valor 2,0</a:t>
            </a:r>
          </a:p>
          <a:p>
            <a:r>
              <a:rPr lang="pt-BR" sz="2400" dirty="0"/>
              <a:t>29 a 31/08</a:t>
            </a:r>
          </a:p>
          <a:p>
            <a:r>
              <a:rPr lang="pt-BR" sz="2400" dirty="0"/>
              <a:t>N3 (seminário artigo) – Valor 2,0</a:t>
            </a:r>
          </a:p>
          <a:p>
            <a:r>
              <a:rPr lang="pt-BR" sz="2400" dirty="0"/>
              <a:t>12 a 14/09</a:t>
            </a:r>
          </a:p>
          <a:p>
            <a:r>
              <a:rPr lang="pt-BR" sz="2400" dirty="0"/>
              <a:t>19 a 21/09</a:t>
            </a:r>
          </a:p>
          <a:p>
            <a:r>
              <a:rPr lang="pt-BR" sz="2400" dirty="0"/>
              <a:t>N4 (entrega de </a:t>
            </a:r>
            <a:r>
              <a:rPr lang="pt-BR" sz="2400" dirty="0" err="1"/>
              <a:t>pré</a:t>
            </a:r>
            <a:r>
              <a:rPr lang="pt-BR" sz="2400" dirty="0"/>
              <a:t> projeto) – Valor 3,0</a:t>
            </a:r>
          </a:p>
          <a:p>
            <a:pPr marL="0" indent="0">
              <a:buNone/>
            </a:pPr>
            <a:r>
              <a:rPr lang="pt-BR" sz="2400" dirty="0"/>
              <a:t>Data 25/09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3F5D073-6AA4-F0B5-1E6C-918072963291}"/>
              </a:ext>
            </a:extLst>
          </p:cNvPr>
          <p:cNvSpPr txBox="1"/>
          <p:nvPr/>
        </p:nvSpPr>
        <p:spPr>
          <a:xfrm flipH="1">
            <a:off x="1302243" y="150449"/>
            <a:ext cx="24202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/>
              <a:t>Avaliação</a:t>
            </a:r>
          </a:p>
        </p:txBody>
      </p:sp>
    </p:spTree>
    <p:extLst>
      <p:ext uri="{BB962C8B-B14F-4D97-AF65-F5344CB8AC3E}">
        <p14:creationId xmlns:p14="http://schemas.microsoft.com/office/powerpoint/2010/main" val="4005774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0CA5F6-8F92-EB06-91BE-D604FDD45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vro da disciplina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067487E-73AF-12E7-D38F-5D896FA28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5259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98B1940-086F-472C-E078-012A4081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ividade 1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806BFEB-72CD-E9BD-048F-56AAE3CFAB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https://www.mindmeister.com/app/map/2873351202</a:t>
            </a:r>
          </a:p>
        </p:txBody>
      </p:sp>
    </p:spTree>
    <p:extLst>
      <p:ext uri="{BB962C8B-B14F-4D97-AF65-F5344CB8AC3E}">
        <p14:creationId xmlns:p14="http://schemas.microsoft.com/office/powerpoint/2010/main" val="473505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693EDF-E304-C71E-9BDC-F83ED805F2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esponda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54B05D9-60B5-CFAC-9170-AB6D807AE41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0331" y="1825625"/>
            <a:ext cx="4351338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4845972A-6E62-024E-E5AE-366E2653BE5D}"/>
              </a:ext>
            </a:extLst>
          </p:cNvPr>
          <p:cNvSpPr txBox="1"/>
          <p:nvPr/>
        </p:nvSpPr>
        <p:spPr>
          <a:xfrm>
            <a:off x="555859" y="5988734"/>
            <a:ext cx="60976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mentimeter.com/app/presentation/alyvgk3hwabvm19kxah9nzrdmbarksbk/8gmw9cdmdyt7/edit</a:t>
            </a:r>
          </a:p>
        </p:txBody>
      </p:sp>
    </p:spTree>
    <p:extLst>
      <p:ext uri="{BB962C8B-B14F-4D97-AF65-F5344CB8AC3E}">
        <p14:creationId xmlns:p14="http://schemas.microsoft.com/office/powerpoint/2010/main" val="1050517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3CBE52-2042-5C73-5B7B-4722357A0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bjetivos: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B3ADB98-4950-FCF1-5F4C-BD41596CBC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</a:pPr>
            <a:r>
              <a:rPr lang="pt-BR" sz="2400" b="0" i="0" dirty="0">
                <a:solidFill>
                  <a:srgbClr val="212121"/>
                </a:solidFill>
                <a:effectLst/>
                <a:latin typeface="Ubuntu" panose="020F0502020204030204" pitchFamily="34" charset="0"/>
              </a:rPr>
              <a:t>A Disciplina Produção do Conhecimento Científico, Tecnológico e </a:t>
            </a:r>
            <a:r>
              <a:rPr lang="pt-BR" sz="2400" b="0" i="0" dirty="0" err="1">
                <a:solidFill>
                  <a:srgbClr val="212121"/>
                </a:solidFill>
                <a:effectLst/>
                <a:latin typeface="Ubuntu" panose="020F0502020204030204" pitchFamily="34" charset="0"/>
              </a:rPr>
              <a:t>Disrupção</a:t>
            </a:r>
            <a:r>
              <a:rPr lang="pt-BR" sz="2400" b="0" i="0" dirty="0">
                <a:solidFill>
                  <a:srgbClr val="212121"/>
                </a:solidFill>
                <a:effectLst/>
                <a:latin typeface="Ubuntu" panose="020F0502020204030204" pitchFamily="34" charset="0"/>
              </a:rPr>
              <a:t> tem como principais  </a:t>
            </a:r>
            <a:r>
              <a:rPr lang="pt-BR" sz="2400" b="0" i="0" dirty="0">
                <a:solidFill>
                  <a:srgbClr val="000000"/>
                </a:solidFill>
                <a:effectLst/>
                <a:latin typeface="Ubuntu" panose="020F0502020204030204" pitchFamily="34" charset="0"/>
              </a:rPr>
              <a:t>objetivos:</a:t>
            </a: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BR" sz="2400" dirty="0">
              <a:solidFill>
                <a:srgbClr val="000000"/>
              </a:solidFill>
              <a:latin typeface="Ubuntu" panose="020F050202020403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pt-BR" sz="2400" b="0" i="0" dirty="0">
              <a:solidFill>
                <a:srgbClr val="212121"/>
              </a:solidFill>
              <a:effectLst/>
              <a:latin typeface="Droid Sans"/>
            </a:endParaRP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b="0" i="0" dirty="0">
                <a:solidFill>
                  <a:srgbClr val="000000"/>
                </a:solidFill>
                <a:effectLst/>
                <a:latin typeface="Ubuntu" panose="020F0502020204030204" pitchFamily="34" charset="0"/>
              </a:rPr>
              <a:t>Conectar-se à sociedade de maneira ética, a partir da produção do conhecimento científico e tecnológico sob uma perspectiva criativa e inovadora;</a:t>
            </a: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pt-BR" b="0" i="0" dirty="0">
              <a:solidFill>
                <a:srgbClr val="212121"/>
              </a:solidFill>
              <a:effectLst/>
              <a:latin typeface="Droid Sans"/>
            </a:endParaRP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b="0" i="0" dirty="0">
                <a:solidFill>
                  <a:srgbClr val="000000"/>
                </a:solidFill>
                <a:effectLst/>
                <a:latin typeface="Ubuntu" panose="020F0502020204030204" pitchFamily="34" charset="0"/>
              </a:rPr>
              <a:t>Desenvolver a capacidade questionadora através do método científico, para agir em prol do desenvolvimento humano, entendendo que o aprender a aprender e a busca constante do conhecimento geram impactos relevantes;</a:t>
            </a: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pt-BR" b="0" i="0" dirty="0">
              <a:solidFill>
                <a:srgbClr val="212121"/>
              </a:solidFill>
              <a:effectLst/>
              <a:latin typeface="Droid Sans"/>
            </a:endParaRP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b="0" i="0" dirty="0">
                <a:solidFill>
                  <a:srgbClr val="000000"/>
                </a:solidFill>
                <a:effectLst/>
                <a:latin typeface="Ubuntu" panose="020F0502020204030204" pitchFamily="34" charset="0"/>
              </a:rPr>
              <a:t>Engajar-se na busca de soluções criativas e disruptivas, considerando as interferências do desenvolvimento científico-tecnológico na sociedade; </a:t>
            </a:r>
          </a:p>
          <a:p>
            <a:pPr marL="0" marR="342900" lvl="1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pt-BR" b="0" i="0" dirty="0">
              <a:solidFill>
                <a:srgbClr val="212121"/>
              </a:solidFill>
              <a:effectLst/>
              <a:latin typeface="Droid Sans"/>
            </a:endParaRPr>
          </a:p>
          <a:p>
            <a:pPr marL="0" marR="342900" lvl="1" indent="0" algn="just" rtl="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b="0" i="0" dirty="0">
                <a:solidFill>
                  <a:srgbClr val="000000"/>
                </a:solidFill>
                <a:effectLst/>
                <a:latin typeface="Ubuntu" panose="020F0502020204030204" pitchFamily="34" charset="0"/>
              </a:rPr>
              <a:t>Raciocinar logicamente e desenvolver postura investigativa, para realizar estudos a partir de métodos e técnicas de pesquisa, a fim divulgar o conhecimento produzido à sociedade.</a:t>
            </a:r>
            <a:endParaRPr lang="pt-BR" b="0" i="0" dirty="0">
              <a:solidFill>
                <a:srgbClr val="212121"/>
              </a:solidFill>
              <a:effectLst/>
              <a:latin typeface="Droid Sans"/>
            </a:endParaRPr>
          </a:p>
          <a:p>
            <a:pPr marL="0" indent="0">
              <a:buNone/>
            </a:pP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2915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752B1B-E84F-76BB-DB99-EDB1191CF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5760"/>
            <a:ext cx="10515600" cy="1325563"/>
          </a:xfrm>
        </p:spPr>
        <p:txBody>
          <a:bodyPr/>
          <a:lstStyle/>
          <a:p>
            <a:r>
              <a:rPr lang="pt-BR" dirty="0"/>
              <a:t>Habilidades:</a:t>
            </a:r>
          </a:p>
        </p:txBody>
      </p:sp>
      <p:graphicFrame>
        <p:nvGraphicFramePr>
          <p:cNvPr id="4" name="Espaço Reservado para Conteúdo 3">
            <a:extLst>
              <a:ext uri="{FF2B5EF4-FFF2-40B4-BE49-F238E27FC236}">
                <a16:creationId xmlns:a16="http://schemas.microsoft.com/office/drawing/2014/main" id="{1294761B-857B-2262-8534-46F537BF16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9412690"/>
              </p:ext>
            </p:extLst>
          </p:nvPr>
        </p:nvGraphicFramePr>
        <p:xfrm>
          <a:off x="770021" y="2685448"/>
          <a:ext cx="10669918" cy="3017520"/>
        </p:xfrm>
        <a:graphic>
          <a:graphicData uri="http://schemas.openxmlformats.org/drawingml/2006/table">
            <a:tbl>
              <a:tblPr/>
              <a:tblGrid>
                <a:gridCol w="10669918">
                  <a:extLst>
                    <a:ext uri="{9D8B030D-6E8A-4147-A177-3AD203B41FA5}">
                      <a16:colId xmlns:a16="http://schemas.microsoft.com/office/drawing/2014/main" val="1690924991"/>
                    </a:ext>
                  </a:extLst>
                </a:gridCol>
              </a:tblGrid>
              <a:tr h="2367406">
                <a:tc>
                  <a:txBody>
                    <a:bodyPr/>
                    <a:lstStyle/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Aplicar o método científico para o desenvolvimento da pesquisa educacional;</a:t>
                      </a:r>
                    </a:p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Compreender e aplicar os procedimentos metodológicos no desenvolvimento de trabalhos científicos;</a:t>
                      </a:r>
                    </a:p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Empregar as normas científicas necessárias ao desenvolvimento do texto acadêmico;</a:t>
                      </a:r>
                    </a:p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Constatar o tema da pesquisa como característica da curiosidade humana;</a:t>
                      </a:r>
                    </a:p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Caracterizar e diferenciar os tipos de conhecimento;</a:t>
                      </a:r>
                    </a:p>
                    <a:p>
                      <a:pPr algn="just" rtl="0" fontAlgn="base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t-BR" sz="2400" b="0" i="0" u="none" strike="noStrike" dirty="0">
                          <a:solidFill>
                            <a:srgbClr val="3B3838"/>
                          </a:solidFill>
                          <a:effectLst/>
                          <a:latin typeface="Calibri" panose="020F0502020204030204" pitchFamily="34" charset="0"/>
                        </a:rPr>
                        <a:t>Descrever, caracterizar e discutir as formas de pensamento científico.</a:t>
                      </a:r>
                    </a:p>
                  </a:txBody>
                  <a:tcPr marL="73025" marR="73025">
                    <a:lnL w="6350" cap="flat" cmpd="sng" algn="ctr">
                      <a:solidFill>
                        <a:srgbClr val="1F4E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714436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8B81F31B-EFB6-B05B-89B4-6642DA57E8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031041" y="-57453"/>
            <a:ext cx="21223041" cy="514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776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9091D3-6042-46DC-970D-B32924B930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9091D3-6042-46DC-970D-B32924B93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E1BCED88-CAC5-4015-9DDF-96FF840262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2A350CB-AA5C-498E-A098-D4BB4D00E7F3}"/>
              </a:ext>
            </a:extLst>
          </p:cNvPr>
          <p:cNvSpPr/>
          <p:nvPr/>
        </p:nvSpPr>
        <p:spPr>
          <a:xfrm>
            <a:off x="0" y="0"/>
            <a:ext cx="2043183" cy="1316128"/>
          </a:xfrm>
          <a:custGeom>
            <a:avLst/>
            <a:gdLst>
              <a:gd name="connsiteX0" fmla="*/ 0 w 2043183"/>
              <a:gd name="connsiteY0" fmla="*/ 0 h 1316128"/>
              <a:gd name="connsiteX1" fmla="*/ 2043183 w 2043183"/>
              <a:gd name="connsiteY1" fmla="*/ 0 h 1316128"/>
              <a:gd name="connsiteX2" fmla="*/ 2022760 w 2043183"/>
              <a:gd name="connsiteY2" fmla="*/ 29465 h 1316128"/>
              <a:gd name="connsiteX3" fmla="*/ 508000 w 2043183"/>
              <a:gd name="connsiteY3" fmla="*/ 1155700 h 1316128"/>
              <a:gd name="connsiteX4" fmla="*/ 12700 w 2043183"/>
              <a:gd name="connsiteY4" fmla="*/ 1130300 h 1316128"/>
              <a:gd name="connsiteX5" fmla="*/ 0 w 2043183"/>
              <a:gd name="connsiteY5" fmla="*/ 1103457 h 131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3183" h="1316128">
                <a:moveTo>
                  <a:pt x="0" y="0"/>
                </a:moveTo>
                <a:lnTo>
                  <a:pt x="2043183" y="0"/>
                </a:lnTo>
                <a:lnTo>
                  <a:pt x="2022760" y="29465"/>
                </a:lnTo>
                <a:cubicBezTo>
                  <a:pt x="1740016" y="380074"/>
                  <a:pt x="790046" y="980281"/>
                  <a:pt x="508000" y="1155700"/>
                </a:cubicBezTo>
                <a:cubicBezTo>
                  <a:pt x="160867" y="1371600"/>
                  <a:pt x="131233" y="1375833"/>
                  <a:pt x="12700" y="1130300"/>
                </a:cubicBezTo>
                <a:lnTo>
                  <a:pt x="0" y="1103457"/>
                </a:lnTo>
                <a:close/>
              </a:path>
            </a:pathLst>
          </a:cu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09242C1-ABD1-4C50-A33F-EC8287F08DB6}"/>
              </a:ext>
            </a:extLst>
          </p:cNvPr>
          <p:cNvSpPr/>
          <p:nvPr/>
        </p:nvSpPr>
        <p:spPr>
          <a:xfrm>
            <a:off x="6429828" y="0"/>
            <a:ext cx="5762171" cy="6858000"/>
          </a:xfrm>
          <a:prstGeom prst="rect">
            <a:avLst/>
          </a:prstGeom>
          <a:solidFill>
            <a:srgbClr val="4443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A75E205B-4160-4514-A4C6-0B926FC73A70}"/>
              </a:ext>
            </a:extLst>
          </p:cNvPr>
          <p:cNvSpPr>
            <a:spLocks/>
          </p:cNvSpPr>
          <p:nvPr/>
        </p:nvSpPr>
        <p:spPr bwMode="auto">
          <a:xfrm>
            <a:off x="6429828" y="1781580"/>
            <a:ext cx="5762172" cy="4872368"/>
          </a:xfrm>
          <a:custGeom>
            <a:avLst/>
            <a:gdLst>
              <a:gd name="connsiteX0" fmla="*/ 5262430 w 5762172"/>
              <a:gd name="connsiteY0" fmla="*/ 652 h 4872368"/>
              <a:gd name="connsiteX1" fmla="*/ 5686299 w 5762172"/>
              <a:gd name="connsiteY1" fmla="*/ 129783 h 4872368"/>
              <a:gd name="connsiteX2" fmla="*/ 5762172 w 5762172"/>
              <a:gd name="connsiteY2" fmla="*/ 189074 h 4872368"/>
              <a:gd name="connsiteX3" fmla="*/ 5762172 w 5762172"/>
              <a:gd name="connsiteY3" fmla="*/ 4872368 h 4872368"/>
              <a:gd name="connsiteX4" fmla="*/ 5711856 w 5762172"/>
              <a:gd name="connsiteY4" fmla="*/ 4872368 h 4872368"/>
              <a:gd name="connsiteX5" fmla="*/ 2880066 w 5762172"/>
              <a:gd name="connsiteY5" fmla="*/ 4872368 h 4872368"/>
              <a:gd name="connsiteX6" fmla="*/ 252768 w 5762172"/>
              <a:gd name="connsiteY6" fmla="*/ 4872368 h 4872368"/>
              <a:gd name="connsiteX7" fmla="*/ 0 w 5762172"/>
              <a:gd name="connsiteY7" fmla="*/ 4872368 h 4872368"/>
              <a:gd name="connsiteX8" fmla="*/ 0 w 5762172"/>
              <a:gd name="connsiteY8" fmla="*/ 187481 h 4872368"/>
              <a:gd name="connsiteX9" fmla="*/ 73835 w 5762172"/>
              <a:gd name="connsiteY9" fmla="*/ 129783 h 4872368"/>
              <a:gd name="connsiteX10" fmla="*/ 1273447 w 5762172"/>
              <a:gd name="connsiteY10" fmla="*/ 925709 h 4872368"/>
              <a:gd name="connsiteX11" fmla="*/ 1680000 w 5762172"/>
              <a:gd name="connsiteY11" fmla="*/ 1332632 h 4872368"/>
              <a:gd name="connsiteX12" fmla="*/ 2635155 w 5762172"/>
              <a:gd name="connsiteY12" fmla="*/ 1303215 h 4872368"/>
              <a:gd name="connsiteX13" fmla="*/ 2816390 w 5762172"/>
              <a:gd name="connsiteY13" fmla="*/ 533494 h 4872368"/>
              <a:gd name="connsiteX14" fmla="*/ 2880066 w 5762172"/>
              <a:gd name="connsiteY14" fmla="*/ 533494 h 4872368"/>
              <a:gd name="connsiteX15" fmla="*/ 2943744 w 5762172"/>
              <a:gd name="connsiteY15" fmla="*/ 533494 h 4872368"/>
              <a:gd name="connsiteX16" fmla="*/ 3124978 w 5762172"/>
              <a:gd name="connsiteY16" fmla="*/ 1303215 h 4872368"/>
              <a:gd name="connsiteX17" fmla="*/ 4080133 w 5762172"/>
              <a:gd name="connsiteY17" fmla="*/ 1332632 h 4872368"/>
              <a:gd name="connsiteX18" fmla="*/ 4486686 w 5762172"/>
              <a:gd name="connsiteY18" fmla="*/ 925709 h 4872368"/>
              <a:gd name="connsiteX19" fmla="*/ 5262430 w 5762172"/>
              <a:gd name="connsiteY19" fmla="*/ 652 h 4872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62172" h="4872368">
                <a:moveTo>
                  <a:pt x="5262430" y="652"/>
                </a:moveTo>
                <a:cubicBezTo>
                  <a:pt x="5416092" y="6460"/>
                  <a:pt x="5566464" y="51010"/>
                  <a:pt x="5686299" y="129783"/>
                </a:cubicBezTo>
                <a:lnTo>
                  <a:pt x="5762172" y="189074"/>
                </a:lnTo>
                <a:lnTo>
                  <a:pt x="5762172" y="4872368"/>
                </a:lnTo>
                <a:lnTo>
                  <a:pt x="5711856" y="4872368"/>
                </a:lnTo>
                <a:cubicBezTo>
                  <a:pt x="5023043" y="4872368"/>
                  <a:pt x="4104624" y="4872368"/>
                  <a:pt x="2880066" y="4872368"/>
                </a:cubicBezTo>
                <a:cubicBezTo>
                  <a:pt x="2880066" y="4872368"/>
                  <a:pt x="2880066" y="4872368"/>
                  <a:pt x="252768" y="4872368"/>
                </a:cubicBezTo>
                <a:lnTo>
                  <a:pt x="0" y="4872368"/>
                </a:lnTo>
                <a:lnTo>
                  <a:pt x="0" y="187481"/>
                </a:lnTo>
                <a:lnTo>
                  <a:pt x="73835" y="129783"/>
                </a:lnTo>
                <a:cubicBezTo>
                  <a:pt x="523214" y="-165617"/>
                  <a:pt x="1402026" y="20245"/>
                  <a:pt x="1273447" y="925709"/>
                </a:cubicBezTo>
                <a:cubicBezTo>
                  <a:pt x="1591832" y="744310"/>
                  <a:pt x="1836743" y="1087498"/>
                  <a:pt x="1680000" y="1332632"/>
                </a:cubicBezTo>
                <a:cubicBezTo>
                  <a:pt x="1993486" y="1087498"/>
                  <a:pt x="2375548" y="1616987"/>
                  <a:pt x="2635155" y="1303215"/>
                </a:cubicBezTo>
                <a:cubicBezTo>
                  <a:pt x="2894761" y="994346"/>
                  <a:pt x="2816390" y="768823"/>
                  <a:pt x="2816390" y="533494"/>
                </a:cubicBezTo>
                <a:cubicBezTo>
                  <a:pt x="2816390" y="533494"/>
                  <a:pt x="2816390" y="533494"/>
                  <a:pt x="2880066" y="533494"/>
                </a:cubicBezTo>
                <a:cubicBezTo>
                  <a:pt x="2880066" y="533494"/>
                  <a:pt x="2880066" y="533494"/>
                  <a:pt x="2943744" y="533494"/>
                </a:cubicBezTo>
                <a:cubicBezTo>
                  <a:pt x="2943744" y="768823"/>
                  <a:pt x="2865372" y="994346"/>
                  <a:pt x="3124978" y="1303215"/>
                </a:cubicBezTo>
                <a:cubicBezTo>
                  <a:pt x="3384584" y="1616987"/>
                  <a:pt x="3766646" y="1087498"/>
                  <a:pt x="4080133" y="1332632"/>
                </a:cubicBezTo>
                <a:cubicBezTo>
                  <a:pt x="3923390" y="1087498"/>
                  <a:pt x="4168302" y="744310"/>
                  <a:pt x="4486686" y="925709"/>
                </a:cubicBezTo>
                <a:cubicBezTo>
                  <a:pt x="4392395" y="261702"/>
                  <a:pt x="4839857" y="-15319"/>
                  <a:pt x="5262430" y="652"/>
                </a:cubicBezTo>
                <a:close/>
              </a:path>
            </a:pathLst>
          </a:custGeom>
          <a:solidFill>
            <a:srgbClr val="605E8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ACE8EA7-6F20-4D93-86DC-6853EC8E5197}"/>
              </a:ext>
            </a:extLst>
          </p:cNvPr>
          <p:cNvSpPr>
            <a:spLocks/>
          </p:cNvSpPr>
          <p:nvPr/>
        </p:nvSpPr>
        <p:spPr bwMode="auto">
          <a:xfrm>
            <a:off x="6429828" y="2324525"/>
            <a:ext cx="7778298" cy="4329424"/>
          </a:xfrm>
          <a:custGeom>
            <a:avLst/>
            <a:gdLst>
              <a:gd name="connsiteX0" fmla="*/ 2703730 w 7778298"/>
              <a:gd name="connsiteY0" fmla="*/ 0 h 4329424"/>
              <a:gd name="connsiteX1" fmla="*/ 2880066 w 7778298"/>
              <a:gd name="connsiteY1" fmla="*/ 137287 h 4329424"/>
              <a:gd name="connsiteX2" fmla="*/ 3056403 w 7778298"/>
              <a:gd name="connsiteY2" fmla="*/ 0 h 4329424"/>
              <a:gd name="connsiteX3" fmla="*/ 3291518 w 7778298"/>
              <a:gd name="connsiteY3" fmla="*/ 877653 h 4329424"/>
              <a:gd name="connsiteX4" fmla="*/ 3756850 w 7778298"/>
              <a:gd name="connsiteY4" fmla="*/ 1103195 h 4329424"/>
              <a:gd name="connsiteX5" fmla="*/ 4158505 w 7778298"/>
              <a:gd name="connsiteY5" fmla="*/ 1485635 h 4329424"/>
              <a:gd name="connsiteX6" fmla="*/ 4501381 w 7778298"/>
              <a:gd name="connsiteY6" fmla="*/ 1519957 h 4329424"/>
              <a:gd name="connsiteX7" fmla="*/ 5466332 w 7778298"/>
              <a:gd name="connsiteY7" fmla="*/ 951199 h 4329424"/>
              <a:gd name="connsiteX8" fmla="*/ 5706346 w 7778298"/>
              <a:gd name="connsiteY8" fmla="*/ 887459 h 4329424"/>
              <a:gd name="connsiteX9" fmla="*/ 5745350 w 7778298"/>
              <a:gd name="connsiteY9" fmla="*/ 452096 h 4329424"/>
              <a:gd name="connsiteX10" fmla="*/ 5762172 w 7778298"/>
              <a:gd name="connsiteY10" fmla="*/ 415679 h 4329424"/>
              <a:gd name="connsiteX11" fmla="*/ 5762172 w 7778298"/>
              <a:gd name="connsiteY11" fmla="*/ 4329423 h 4329424"/>
              <a:gd name="connsiteX12" fmla="*/ 7778298 w 7778298"/>
              <a:gd name="connsiteY12" fmla="*/ 4329423 h 4329424"/>
              <a:gd name="connsiteX13" fmla="*/ 7778298 w 7778298"/>
              <a:gd name="connsiteY13" fmla="*/ 4329424 h 4329424"/>
              <a:gd name="connsiteX14" fmla="*/ 486857 w 7778298"/>
              <a:gd name="connsiteY14" fmla="*/ 4329424 h 4329424"/>
              <a:gd name="connsiteX15" fmla="*/ 0 w 7778298"/>
              <a:gd name="connsiteY15" fmla="*/ 4329424 h 4329424"/>
              <a:gd name="connsiteX16" fmla="*/ 0 w 7778298"/>
              <a:gd name="connsiteY16" fmla="*/ 420093 h 4329424"/>
              <a:gd name="connsiteX17" fmla="*/ 14783 w 7778298"/>
              <a:gd name="connsiteY17" fmla="*/ 452096 h 4329424"/>
              <a:gd name="connsiteX18" fmla="*/ 53787 w 7778298"/>
              <a:gd name="connsiteY18" fmla="*/ 887459 h 4329424"/>
              <a:gd name="connsiteX19" fmla="*/ 293800 w 7778298"/>
              <a:gd name="connsiteY19" fmla="*/ 951199 h 4329424"/>
              <a:gd name="connsiteX20" fmla="*/ 1258752 w 7778298"/>
              <a:gd name="connsiteY20" fmla="*/ 1519957 h 4329424"/>
              <a:gd name="connsiteX21" fmla="*/ 1601628 w 7778298"/>
              <a:gd name="connsiteY21" fmla="*/ 1485635 h 4329424"/>
              <a:gd name="connsiteX22" fmla="*/ 2003283 w 7778298"/>
              <a:gd name="connsiteY22" fmla="*/ 1103195 h 4329424"/>
              <a:gd name="connsiteX23" fmla="*/ 2468615 w 7778298"/>
              <a:gd name="connsiteY23" fmla="*/ 877653 h 4329424"/>
              <a:gd name="connsiteX24" fmla="*/ 2703730 w 7778298"/>
              <a:gd name="connsiteY24" fmla="*/ 0 h 4329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778298" h="4329424">
                <a:moveTo>
                  <a:pt x="2703730" y="0"/>
                </a:moveTo>
                <a:cubicBezTo>
                  <a:pt x="2703730" y="0"/>
                  <a:pt x="2703730" y="0"/>
                  <a:pt x="2880066" y="137287"/>
                </a:cubicBezTo>
                <a:cubicBezTo>
                  <a:pt x="2880066" y="137287"/>
                  <a:pt x="2880066" y="137287"/>
                  <a:pt x="3056403" y="0"/>
                </a:cubicBezTo>
                <a:cubicBezTo>
                  <a:pt x="3056403" y="382441"/>
                  <a:pt x="3169062" y="671723"/>
                  <a:pt x="3291518" y="877653"/>
                </a:cubicBezTo>
                <a:cubicBezTo>
                  <a:pt x="3389482" y="1039454"/>
                  <a:pt x="3575616" y="1127710"/>
                  <a:pt x="3756850" y="1103195"/>
                </a:cubicBezTo>
                <a:cubicBezTo>
                  <a:pt x="3938084" y="1078679"/>
                  <a:pt x="4173200" y="1206159"/>
                  <a:pt x="4158505" y="1485635"/>
                </a:cubicBezTo>
                <a:cubicBezTo>
                  <a:pt x="4222182" y="1328736"/>
                  <a:pt x="4423010" y="1333640"/>
                  <a:pt x="4501381" y="1519957"/>
                </a:cubicBezTo>
                <a:cubicBezTo>
                  <a:pt x="4393620" y="1049261"/>
                  <a:pt x="4888342" y="593274"/>
                  <a:pt x="5466332" y="951199"/>
                </a:cubicBezTo>
                <a:cubicBezTo>
                  <a:pt x="5441842" y="789397"/>
                  <a:pt x="5662262" y="701142"/>
                  <a:pt x="5706346" y="887459"/>
                </a:cubicBezTo>
                <a:cubicBezTo>
                  <a:pt x="5681549" y="729335"/>
                  <a:pt x="5698080" y="581897"/>
                  <a:pt x="5745350" y="452096"/>
                </a:cubicBezTo>
                <a:lnTo>
                  <a:pt x="5762172" y="415679"/>
                </a:lnTo>
                <a:lnTo>
                  <a:pt x="5762172" y="4329423"/>
                </a:lnTo>
                <a:lnTo>
                  <a:pt x="7778298" y="4329423"/>
                </a:lnTo>
                <a:lnTo>
                  <a:pt x="7778298" y="4329424"/>
                </a:lnTo>
                <a:cubicBezTo>
                  <a:pt x="7778298" y="4329424"/>
                  <a:pt x="7778298" y="4329424"/>
                  <a:pt x="486857" y="4329424"/>
                </a:cubicBezTo>
                <a:lnTo>
                  <a:pt x="0" y="4329424"/>
                </a:lnTo>
                <a:lnTo>
                  <a:pt x="0" y="420093"/>
                </a:lnTo>
                <a:lnTo>
                  <a:pt x="14783" y="452096"/>
                </a:lnTo>
                <a:cubicBezTo>
                  <a:pt x="62053" y="581897"/>
                  <a:pt x="78585" y="729334"/>
                  <a:pt x="53787" y="887459"/>
                </a:cubicBezTo>
                <a:cubicBezTo>
                  <a:pt x="97871" y="701142"/>
                  <a:pt x="318292" y="789397"/>
                  <a:pt x="293800" y="951199"/>
                </a:cubicBezTo>
                <a:cubicBezTo>
                  <a:pt x="871792" y="593274"/>
                  <a:pt x="1366513" y="1049261"/>
                  <a:pt x="1258752" y="1519957"/>
                </a:cubicBezTo>
                <a:cubicBezTo>
                  <a:pt x="1337124" y="1333640"/>
                  <a:pt x="1537951" y="1328736"/>
                  <a:pt x="1601628" y="1485635"/>
                </a:cubicBezTo>
                <a:cubicBezTo>
                  <a:pt x="1586934" y="1206159"/>
                  <a:pt x="1822049" y="1078679"/>
                  <a:pt x="2003283" y="1103195"/>
                </a:cubicBezTo>
                <a:cubicBezTo>
                  <a:pt x="2184518" y="1127710"/>
                  <a:pt x="2370650" y="1039454"/>
                  <a:pt x="2468615" y="877653"/>
                </a:cubicBezTo>
                <a:cubicBezTo>
                  <a:pt x="2591071" y="671723"/>
                  <a:pt x="2703730" y="382441"/>
                  <a:pt x="2703730" y="0"/>
                </a:cubicBezTo>
                <a:close/>
              </a:path>
            </a:pathLst>
          </a:custGeom>
          <a:solidFill>
            <a:srgbClr val="8A89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9F798E71-8368-4C87-866F-DE13D0112126}"/>
              </a:ext>
            </a:extLst>
          </p:cNvPr>
          <p:cNvSpPr>
            <a:spLocks/>
          </p:cNvSpPr>
          <p:nvPr/>
        </p:nvSpPr>
        <p:spPr bwMode="auto">
          <a:xfrm>
            <a:off x="6429828" y="2210172"/>
            <a:ext cx="5762172" cy="4441825"/>
          </a:xfrm>
          <a:custGeom>
            <a:avLst/>
            <a:gdLst>
              <a:gd name="connsiteX0" fmla="*/ 2880066 w 5762172"/>
              <a:gd name="connsiteY0" fmla="*/ 0 h 4441825"/>
              <a:gd name="connsiteX1" fmla="*/ 2943744 w 5762172"/>
              <a:gd name="connsiteY1" fmla="*/ 102956 h 4441825"/>
              <a:gd name="connsiteX2" fmla="*/ 3335602 w 5762172"/>
              <a:gd name="connsiteY2" fmla="*/ 1554149 h 4441825"/>
              <a:gd name="connsiteX3" fmla="*/ 3781341 w 5762172"/>
              <a:gd name="connsiteY3" fmla="*/ 1838504 h 4441825"/>
              <a:gd name="connsiteX4" fmla="*/ 4276062 w 5762172"/>
              <a:gd name="connsiteY4" fmla="*/ 2338577 h 4441825"/>
              <a:gd name="connsiteX5" fmla="*/ 4721802 w 5762172"/>
              <a:gd name="connsiteY5" fmla="*/ 2436630 h 4441825"/>
              <a:gd name="connsiteX6" fmla="*/ 5728931 w 5762172"/>
              <a:gd name="connsiteY6" fmla="*/ 2200347 h 4441825"/>
              <a:gd name="connsiteX7" fmla="*/ 5762172 w 5762172"/>
              <a:gd name="connsiteY7" fmla="*/ 2219938 h 4441825"/>
              <a:gd name="connsiteX8" fmla="*/ 5762172 w 5762172"/>
              <a:gd name="connsiteY8" fmla="*/ 4441825 h 4441825"/>
              <a:gd name="connsiteX9" fmla="*/ 5717567 w 5762172"/>
              <a:gd name="connsiteY9" fmla="*/ 4441825 h 4441825"/>
              <a:gd name="connsiteX10" fmla="*/ 486857 w 5762172"/>
              <a:gd name="connsiteY10" fmla="*/ 4441825 h 4441825"/>
              <a:gd name="connsiteX11" fmla="*/ 0 w 5762172"/>
              <a:gd name="connsiteY11" fmla="*/ 4441825 h 4441825"/>
              <a:gd name="connsiteX12" fmla="*/ 0 w 5762172"/>
              <a:gd name="connsiteY12" fmla="*/ 2218736 h 4441825"/>
              <a:gd name="connsiteX13" fmla="*/ 31202 w 5762172"/>
              <a:gd name="connsiteY13" fmla="*/ 2200347 h 4441825"/>
              <a:gd name="connsiteX14" fmla="*/ 1038332 w 5762172"/>
              <a:gd name="connsiteY14" fmla="*/ 2436630 h 4441825"/>
              <a:gd name="connsiteX15" fmla="*/ 1484071 w 5762172"/>
              <a:gd name="connsiteY15" fmla="*/ 2338577 h 4441825"/>
              <a:gd name="connsiteX16" fmla="*/ 1978792 w 5762172"/>
              <a:gd name="connsiteY16" fmla="*/ 1838504 h 4441825"/>
              <a:gd name="connsiteX17" fmla="*/ 2424531 w 5762172"/>
              <a:gd name="connsiteY17" fmla="*/ 1554149 h 4441825"/>
              <a:gd name="connsiteX18" fmla="*/ 2816390 w 5762172"/>
              <a:gd name="connsiteY18" fmla="*/ 102956 h 4441825"/>
              <a:gd name="connsiteX19" fmla="*/ 2880066 w 5762172"/>
              <a:gd name="connsiteY19" fmla="*/ 0 h 4441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762172" h="4441825">
                <a:moveTo>
                  <a:pt x="2880066" y="0"/>
                </a:moveTo>
                <a:cubicBezTo>
                  <a:pt x="2880066" y="0"/>
                  <a:pt x="2880066" y="0"/>
                  <a:pt x="2943744" y="102956"/>
                </a:cubicBezTo>
                <a:cubicBezTo>
                  <a:pt x="2943744" y="823650"/>
                  <a:pt x="3159266" y="1259988"/>
                  <a:pt x="3335602" y="1554149"/>
                </a:cubicBezTo>
                <a:cubicBezTo>
                  <a:pt x="3428668" y="1711034"/>
                  <a:pt x="3595208" y="1823796"/>
                  <a:pt x="3781341" y="1838504"/>
                </a:cubicBezTo>
                <a:cubicBezTo>
                  <a:pt x="4045846" y="1858115"/>
                  <a:pt x="4290757" y="2024806"/>
                  <a:pt x="4276062" y="2338577"/>
                </a:cubicBezTo>
                <a:cubicBezTo>
                  <a:pt x="4398518" y="2157178"/>
                  <a:pt x="4677718" y="2216010"/>
                  <a:pt x="4721802" y="2436630"/>
                </a:cubicBezTo>
                <a:cubicBezTo>
                  <a:pt x="4866606" y="2092830"/>
                  <a:pt x="5354057" y="2010883"/>
                  <a:pt x="5728931" y="2200347"/>
                </a:cubicBezTo>
                <a:lnTo>
                  <a:pt x="5762172" y="2219938"/>
                </a:lnTo>
                <a:lnTo>
                  <a:pt x="5762172" y="4441825"/>
                </a:lnTo>
                <a:lnTo>
                  <a:pt x="5717567" y="4441825"/>
                </a:lnTo>
                <a:cubicBezTo>
                  <a:pt x="4638136" y="4441825"/>
                  <a:pt x="2993290" y="4441825"/>
                  <a:pt x="486857" y="4441825"/>
                </a:cubicBezTo>
                <a:lnTo>
                  <a:pt x="0" y="4441825"/>
                </a:lnTo>
                <a:lnTo>
                  <a:pt x="0" y="2218736"/>
                </a:lnTo>
                <a:lnTo>
                  <a:pt x="31202" y="2200347"/>
                </a:lnTo>
                <a:cubicBezTo>
                  <a:pt x="406077" y="2010883"/>
                  <a:pt x="893528" y="2092830"/>
                  <a:pt x="1038332" y="2436630"/>
                </a:cubicBezTo>
                <a:cubicBezTo>
                  <a:pt x="1082416" y="2216010"/>
                  <a:pt x="1361615" y="2157178"/>
                  <a:pt x="1484071" y="2338577"/>
                </a:cubicBezTo>
                <a:cubicBezTo>
                  <a:pt x="1469376" y="2024806"/>
                  <a:pt x="1714288" y="1858115"/>
                  <a:pt x="1978792" y="1838504"/>
                </a:cubicBezTo>
                <a:cubicBezTo>
                  <a:pt x="2164925" y="1823796"/>
                  <a:pt x="2331464" y="1711034"/>
                  <a:pt x="2424531" y="1554149"/>
                </a:cubicBezTo>
                <a:cubicBezTo>
                  <a:pt x="2600868" y="1259988"/>
                  <a:pt x="2816390" y="823650"/>
                  <a:pt x="2816390" y="102956"/>
                </a:cubicBezTo>
                <a:cubicBezTo>
                  <a:pt x="2816390" y="102956"/>
                  <a:pt x="2816390" y="102956"/>
                  <a:pt x="2880066" y="0"/>
                </a:cubicBezTo>
                <a:close/>
              </a:path>
            </a:pathLst>
          </a:custGeom>
          <a:solidFill>
            <a:srgbClr val="B2B1C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4A310F4-206F-4708-A536-B680E0669682}"/>
              </a:ext>
            </a:extLst>
          </p:cNvPr>
          <p:cNvSpPr/>
          <p:nvPr/>
        </p:nvSpPr>
        <p:spPr>
          <a:xfrm>
            <a:off x="9244726" y="2406652"/>
            <a:ext cx="132373" cy="3709189"/>
          </a:xfrm>
          <a:prstGeom prst="roundRect">
            <a:avLst>
              <a:gd name="adj" fmla="val 50000"/>
            </a:avLst>
          </a:prstGeom>
          <a:solidFill>
            <a:srgbClr val="D9D9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0241E79-F751-4081-9F26-C58F77740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49" y="1064149"/>
            <a:ext cx="5486401" cy="840545"/>
          </a:xfrm>
        </p:spPr>
        <p:txBody>
          <a:bodyPr lIns="0" rIns="0">
            <a:noAutofit/>
          </a:bodyPr>
          <a:lstStyle/>
          <a:p>
            <a:pPr algn="ctr"/>
            <a:r>
              <a:rPr lang="en-US" sz="3000" dirty="0" err="1"/>
              <a:t>Diferenciais</a:t>
            </a:r>
            <a:r>
              <a:rPr lang="en-US" sz="3000" dirty="0"/>
              <a:t> da nova </a:t>
            </a:r>
            <a:r>
              <a:rPr lang="en-US" sz="3000" dirty="0" err="1"/>
              <a:t>proposta</a:t>
            </a:r>
            <a:r>
              <a:rPr lang="en-US" sz="3000" dirty="0"/>
              <a:t> da disciplin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990752-B1F5-4DC4-B781-6A3A909594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16971" y="327797"/>
            <a:ext cx="1387884" cy="2292111"/>
          </a:xfrm>
          <a:prstGeom prst="rect">
            <a:avLst/>
          </a:prstGeom>
          <a:effectLst>
            <a:outerShdw dist="63500" dir="2700000" algn="tl" rotWithShape="0">
              <a:prstClr val="black">
                <a:alpha val="20000"/>
              </a:prstClr>
            </a:outerShdw>
          </a:effectLst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4AC8756D-38DE-445E-A187-5E4EAB2AD43D}"/>
              </a:ext>
            </a:extLst>
          </p:cNvPr>
          <p:cNvGrpSpPr/>
          <p:nvPr/>
        </p:nvGrpSpPr>
        <p:grpSpPr>
          <a:xfrm>
            <a:off x="9035077" y="5736999"/>
            <a:ext cx="551670" cy="551670"/>
            <a:chOff x="6503025" y="1498600"/>
            <a:chExt cx="807700" cy="8077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1CF85E0-3702-4AAC-AC1C-829EEEFB9D76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A50BA59-939A-491F-B600-5A730523783A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4467098-7B20-4230-A728-F44A4D05EEE8}"/>
              </a:ext>
            </a:extLst>
          </p:cNvPr>
          <p:cNvGrpSpPr/>
          <p:nvPr/>
        </p:nvGrpSpPr>
        <p:grpSpPr>
          <a:xfrm>
            <a:off x="9035077" y="4799893"/>
            <a:ext cx="551670" cy="551670"/>
            <a:chOff x="6503025" y="1498600"/>
            <a:chExt cx="807700" cy="80770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262EA79-F141-44C5-B4B1-0995E8E5D6E3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4CCB743-8160-4711-A3FE-B1B441D7A695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CFE402-7B24-4F26-A4E9-FCC957F0E975}"/>
              </a:ext>
            </a:extLst>
          </p:cNvPr>
          <p:cNvGrpSpPr/>
          <p:nvPr/>
        </p:nvGrpSpPr>
        <p:grpSpPr>
          <a:xfrm>
            <a:off x="9035077" y="3862786"/>
            <a:ext cx="551670" cy="551670"/>
            <a:chOff x="6503025" y="1498600"/>
            <a:chExt cx="807700" cy="8077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5B82F5A-8A51-4125-9953-D9D392BD2C25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7E2452A-959F-4DA8-834B-D9F927C33D59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CFD88AD-99B0-4E62-830E-7DA038072EA7}"/>
              </a:ext>
            </a:extLst>
          </p:cNvPr>
          <p:cNvGrpSpPr/>
          <p:nvPr/>
        </p:nvGrpSpPr>
        <p:grpSpPr>
          <a:xfrm>
            <a:off x="9035077" y="2925679"/>
            <a:ext cx="551670" cy="551670"/>
            <a:chOff x="6503025" y="1498600"/>
            <a:chExt cx="807700" cy="8077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72F6C5F-AAF7-4384-9394-5F463D506B6D}"/>
                </a:ext>
              </a:extLst>
            </p:cNvPr>
            <p:cNvSpPr/>
            <p:nvPr/>
          </p:nvSpPr>
          <p:spPr>
            <a:xfrm>
              <a:off x="6503025" y="1498600"/>
              <a:ext cx="807700" cy="807700"/>
            </a:xfrm>
            <a:prstGeom prst="ellipse">
              <a:avLst/>
            </a:prstGeom>
            <a:solidFill>
              <a:srgbClr val="FED6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4812CFF-A617-4C1B-A849-69B101641A2F}"/>
                </a:ext>
              </a:extLst>
            </p:cNvPr>
            <p:cNvSpPr/>
            <p:nvPr/>
          </p:nvSpPr>
          <p:spPr>
            <a:xfrm>
              <a:off x="6656116" y="1651691"/>
              <a:ext cx="501518" cy="5015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2" name="Rounded Rectangle 23">
            <a:extLst>
              <a:ext uri="{FF2B5EF4-FFF2-40B4-BE49-F238E27FC236}">
                <a16:creationId xmlns:a16="http://schemas.microsoft.com/office/drawing/2014/main" id="{FCC63948-72BC-46D0-A9AF-E6191AD2F9BF}"/>
              </a:ext>
            </a:extLst>
          </p:cNvPr>
          <p:cNvSpPr/>
          <p:nvPr/>
        </p:nvSpPr>
        <p:spPr>
          <a:xfrm>
            <a:off x="6609454" y="2759061"/>
            <a:ext cx="2220222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a 4*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ão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ares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as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e 5</a:t>
            </a:r>
          </a:p>
        </p:txBody>
      </p:sp>
      <p:sp>
        <p:nvSpPr>
          <p:cNvPr id="53" name="Rounded Rectangle 23">
            <a:extLst>
              <a:ext uri="{FF2B5EF4-FFF2-40B4-BE49-F238E27FC236}">
                <a16:creationId xmlns:a16="http://schemas.microsoft.com/office/drawing/2014/main" id="{AC6EA3FD-96E9-411E-B5B6-2DAA2BFD8859}"/>
              </a:ext>
            </a:extLst>
          </p:cNvPr>
          <p:cNvSpPr/>
          <p:nvPr/>
        </p:nvSpPr>
        <p:spPr>
          <a:xfrm>
            <a:off x="9764396" y="3728353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ounded Rectangle 23">
            <a:extLst>
              <a:ext uri="{FF2B5EF4-FFF2-40B4-BE49-F238E27FC236}">
                <a16:creationId xmlns:a16="http://schemas.microsoft.com/office/drawing/2014/main" id="{520054BC-DB58-4FAD-B002-E954F2599E5E}"/>
              </a:ext>
            </a:extLst>
          </p:cNvPr>
          <p:cNvSpPr/>
          <p:nvPr/>
        </p:nvSpPr>
        <p:spPr>
          <a:xfrm>
            <a:off x="6727000" y="4702814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ounded Rectangle 23">
            <a:extLst>
              <a:ext uri="{FF2B5EF4-FFF2-40B4-BE49-F238E27FC236}">
                <a16:creationId xmlns:a16="http://schemas.microsoft.com/office/drawing/2014/main" id="{4F61BF7B-4586-474A-9FF0-EF6AD343FDC7}"/>
              </a:ext>
            </a:extLst>
          </p:cNvPr>
          <p:cNvSpPr/>
          <p:nvPr/>
        </p:nvSpPr>
        <p:spPr>
          <a:xfrm>
            <a:off x="9843097" y="5709967"/>
            <a:ext cx="2102675" cy="827668"/>
          </a:xfrm>
          <a:prstGeom prst="roundRect">
            <a:avLst>
              <a:gd name="adj" fmla="val 815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ubtitle 176">
            <a:extLst>
              <a:ext uri="{FF2B5EF4-FFF2-40B4-BE49-F238E27FC236}">
                <a16:creationId xmlns:a16="http://schemas.microsoft.com/office/drawing/2014/main" id="{37F02C49-6E3C-4C84-9B7F-8ECB30722107}"/>
              </a:ext>
            </a:extLst>
          </p:cNvPr>
          <p:cNvSpPr txBox="1">
            <a:spLocks/>
          </p:cNvSpPr>
          <p:nvPr/>
        </p:nvSpPr>
        <p:spPr>
          <a:xfrm>
            <a:off x="9879365" y="5723667"/>
            <a:ext cx="1877770" cy="7755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e 2: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cl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çã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heciment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ínu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8" name="Subtitle 176">
            <a:extLst>
              <a:ext uri="{FF2B5EF4-FFF2-40B4-BE49-F238E27FC236}">
                <a16:creationId xmlns:a16="http://schemas.microsoft.com/office/drawing/2014/main" id="{27343F83-F4E7-4397-9C89-88664369B0E4}"/>
              </a:ext>
            </a:extLst>
          </p:cNvPr>
          <p:cNvSpPr txBox="1">
            <a:spLocks/>
          </p:cNvSpPr>
          <p:nvPr/>
        </p:nvSpPr>
        <p:spPr>
          <a:xfrm>
            <a:off x="6717912" y="4704346"/>
            <a:ext cx="2120672" cy="7755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e 4*: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o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heciment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edade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ústria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balh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9" name="Subtitle 176">
            <a:extLst>
              <a:ext uri="{FF2B5EF4-FFF2-40B4-BE49-F238E27FC236}">
                <a16:creationId xmlns:a16="http://schemas.microsoft.com/office/drawing/2014/main" id="{6F284938-0383-496C-A155-0634556196AE}"/>
              </a:ext>
            </a:extLst>
          </p:cNvPr>
          <p:cNvSpPr txBox="1">
            <a:spLocks/>
          </p:cNvSpPr>
          <p:nvPr/>
        </p:nvSpPr>
        <p:spPr>
          <a:xfrm>
            <a:off x="9855195" y="3770684"/>
            <a:ext cx="1938063" cy="5816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e 5: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çã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ulgação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tos</a:t>
            </a:r>
            <a:r>
              <a:rPr lang="en-ID" sz="14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ID" sz="14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</a:t>
            </a: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1696D7B-34F6-4D3B-A252-9BA55417430B}"/>
              </a:ext>
            </a:extLst>
          </p:cNvPr>
          <p:cNvSpPr/>
          <p:nvPr/>
        </p:nvSpPr>
        <p:spPr>
          <a:xfrm>
            <a:off x="8774909" y="3113364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6DBCA23-4493-45A9-B7DB-E753A39F8220}"/>
              </a:ext>
            </a:extLst>
          </p:cNvPr>
          <p:cNvSpPr/>
          <p:nvPr/>
        </p:nvSpPr>
        <p:spPr>
          <a:xfrm>
            <a:off x="8774909" y="5057117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F8FE6FFA-780E-45E5-A32E-1E42A7EE4479}"/>
              </a:ext>
            </a:extLst>
          </p:cNvPr>
          <p:cNvSpPr/>
          <p:nvPr/>
        </p:nvSpPr>
        <p:spPr>
          <a:xfrm>
            <a:off x="9699175" y="4082656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609244C-E224-42A7-B778-3E2FA92F453A}"/>
              </a:ext>
            </a:extLst>
          </p:cNvPr>
          <p:cNvSpPr/>
          <p:nvPr/>
        </p:nvSpPr>
        <p:spPr>
          <a:xfrm>
            <a:off x="9699175" y="6026409"/>
            <a:ext cx="119062" cy="119062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A140D1B-2902-4E3B-BD49-BD13459A5C8E}"/>
              </a:ext>
            </a:extLst>
          </p:cNvPr>
          <p:cNvCxnSpPr>
            <a:cxnSpLocks/>
          </p:cNvCxnSpPr>
          <p:nvPr/>
        </p:nvCxnSpPr>
        <p:spPr>
          <a:xfrm>
            <a:off x="8858250" y="3172895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6CBFB12-5BFB-4FEB-B432-06359501BC0E}"/>
              </a:ext>
            </a:extLst>
          </p:cNvPr>
          <p:cNvCxnSpPr>
            <a:cxnSpLocks/>
          </p:cNvCxnSpPr>
          <p:nvPr/>
        </p:nvCxnSpPr>
        <p:spPr>
          <a:xfrm>
            <a:off x="8858250" y="5116648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287BAB6-16B9-402E-A765-A162B9CE7489}"/>
              </a:ext>
            </a:extLst>
          </p:cNvPr>
          <p:cNvCxnSpPr>
            <a:cxnSpLocks/>
          </p:cNvCxnSpPr>
          <p:nvPr/>
        </p:nvCxnSpPr>
        <p:spPr>
          <a:xfrm>
            <a:off x="9551670" y="4142187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B972DFB-7445-4643-A90C-6B1D720DAA80}"/>
              </a:ext>
            </a:extLst>
          </p:cNvPr>
          <p:cNvCxnSpPr>
            <a:cxnSpLocks/>
          </p:cNvCxnSpPr>
          <p:nvPr/>
        </p:nvCxnSpPr>
        <p:spPr>
          <a:xfrm>
            <a:off x="9551670" y="6085940"/>
            <a:ext cx="204788" cy="0"/>
          </a:xfrm>
          <a:prstGeom prst="line">
            <a:avLst/>
          </a:prstGeom>
          <a:ln w="12700">
            <a:solidFill>
              <a:srgbClr val="FED67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>
            <a:extLst>
              <a:ext uri="{FF2B5EF4-FFF2-40B4-BE49-F238E27FC236}">
                <a16:creationId xmlns:a16="http://schemas.microsoft.com/office/drawing/2014/main" id="{B6C2754E-E5D5-4D9F-9641-A4F73E792315}"/>
              </a:ext>
            </a:extLst>
          </p:cNvPr>
          <p:cNvSpPr/>
          <p:nvPr/>
        </p:nvSpPr>
        <p:spPr>
          <a:xfrm>
            <a:off x="6429828" y="6559304"/>
            <a:ext cx="5762171" cy="298695"/>
          </a:xfrm>
          <a:prstGeom prst="rect">
            <a:avLst/>
          </a:prstGeom>
          <a:solidFill>
            <a:srgbClr val="B2B1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Subtitle 176">
            <a:extLst>
              <a:ext uri="{FF2B5EF4-FFF2-40B4-BE49-F238E27FC236}">
                <a16:creationId xmlns:a16="http://schemas.microsoft.com/office/drawing/2014/main" id="{C1B190D8-A708-4F13-9C65-61D271B7E598}"/>
              </a:ext>
            </a:extLst>
          </p:cNvPr>
          <p:cNvSpPr txBox="1">
            <a:spLocks/>
          </p:cNvSpPr>
          <p:nvPr/>
        </p:nvSpPr>
        <p:spPr>
          <a:xfrm>
            <a:off x="609600" y="2194410"/>
            <a:ext cx="537209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8EDE35F-6E76-4C27-8ED9-181E9392D20D}"/>
              </a:ext>
            </a:extLst>
          </p:cNvPr>
          <p:cNvSpPr/>
          <p:nvPr/>
        </p:nvSpPr>
        <p:spPr>
          <a:xfrm>
            <a:off x="737615" y="3592122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EA36AF6-8D3C-436D-BFAC-23B29C69DEDA}"/>
              </a:ext>
            </a:extLst>
          </p:cNvPr>
          <p:cNvSpPr/>
          <p:nvPr/>
        </p:nvSpPr>
        <p:spPr>
          <a:xfrm>
            <a:off x="737615" y="4635598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2C614FE-7C72-41E0-91ED-2DE28611DE41}"/>
              </a:ext>
            </a:extLst>
          </p:cNvPr>
          <p:cNvSpPr/>
          <p:nvPr/>
        </p:nvSpPr>
        <p:spPr>
          <a:xfrm>
            <a:off x="737615" y="5679073"/>
            <a:ext cx="551670" cy="5516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176">
            <a:extLst>
              <a:ext uri="{FF2B5EF4-FFF2-40B4-BE49-F238E27FC236}">
                <a16:creationId xmlns:a16="http://schemas.microsoft.com/office/drawing/2014/main" id="{A070C3EE-23EE-4687-97C3-B8DC90CE1021}"/>
              </a:ext>
            </a:extLst>
          </p:cNvPr>
          <p:cNvSpPr txBox="1">
            <a:spLocks/>
          </p:cNvSpPr>
          <p:nvPr/>
        </p:nvSpPr>
        <p:spPr>
          <a:xfrm>
            <a:off x="1556859" y="3534196"/>
            <a:ext cx="4424839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D" sz="14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ubtitle 176">
            <a:extLst>
              <a:ext uri="{FF2B5EF4-FFF2-40B4-BE49-F238E27FC236}">
                <a16:creationId xmlns:a16="http://schemas.microsoft.com/office/drawing/2014/main" id="{7B0E863C-60AA-4FCE-9C35-DD5EC3CE1B95}"/>
              </a:ext>
            </a:extLst>
          </p:cNvPr>
          <p:cNvSpPr txBox="1">
            <a:spLocks/>
          </p:cNvSpPr>
          <p:nvPr/>
        </p:nvSpPr>
        <p:spPr>
          <a:xfrm>
            <a:off x="1226278" y="4570695"/>
            <a:ext cx="4872966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biliza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dêmico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a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dade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os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o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hecimento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entífico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nológico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zem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a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edade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do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balho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83" name="Subtitle 176">
            <a:extLst>
              <a:ext uri="{FF2B5EF4-FFF2-40B4-BE49-F238E27FC236}">
                <a16:creationId xmlns:a16="http://schemas.microsoft.com/office/drawing/2014/main" id="{6C3253A4-8B0E-4F5C-ADF8-77E410BD10A1}"/>
              </a:ext>
            </a:extLst>
          </p:cNvPr>
          <p:cNvSpPr txBox="1">
            <a:spLocks/>
          </p:cNvSpPr>
          <p:nvPr/>
        </p:nvSpPr>
        <p:spPr>
          <a:xfrm>
            <a:off x="1419249" y="5697783"/>
            <a:ext cx="4424839" cy="6675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ia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pas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ção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ulgação</a:t>
            </a:r>
            <a:r>
              <a:rPr lang="en-ID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ID" sz="1800" b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to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ado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r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</a:t>
            </a:r>
            <a:r>
              <a:rPr lang="en-ID" sz="1800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</a:t>
            </a:r>
            <a:r>
              <a:rPr lang="en-ID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0BFB63AE-9154-4CD3-B062-3BB5D5625FBA}"/>
              </a:ext>
            </a:extLst>
          </p:cNvPr>
          <p:cNvCxnSpPr/>
          <p:nvPr/>
        </p:nvCxnSpPr>
        <p:spPr>
          <a:xfrm>
            <a:off x="704850" y="4389695"/>
            <a:ext cx="525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652B76D-8AD6-4E69-B0EE-5F7D1578C3D3}"/>
              </a:ext>
            </a:extLst>
          </p:cNvPr>
          <p:cNvCxnSpPr/>
          <p:nvPr/>
        </p:nvCxnSpPr>
        <p:spPr>
          <a:xfrm>
            <a:off x="704850" y="5433171"/>
            <a:ext cx="52578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743CC2B-1936-4D9D-830D-F78FFA283B28}"/>
              </a:ext>
            </a:extLst>
          </p:cNvPr>
          <p:cNvGrpSpPr/>
          <p:nvPr/>
        </p:nvGrpSpPr>
        <p:grpSpPr>
          <a:xfrm>
            <a:off x="890384" y="3744349"/>
            <a:ext cx="246133" cy="247217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90" name="Freeform 63">
              <a:extLst>
                <a:ext uri="{FF2B5EF4-FFF2-40B4-BE49-F238E27FC236}">
                  <a16:creationId xmlns:a16="http://schemas.microsoft.com/office/drawing/2014/main" id="{C6F1B94D-85C6-456A-86B9-FCBB53FF0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1" name="Freeform 64">
              <a:extLst>
                <a:ext uri="{FF2B5EF4-FFF2-40B4-BE49-F238E27FC236}">
                  <a16:creationId xmlns:a16="http://schemas.microsoft.com/office/drawing/2014/main" id="{259699D5-4875-485D-9362-82B8EBBD5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2" name="Freeform 65">
              <a:extLst>
                <a:ext uri="{FF2B5EF4-FFF2-40B4-BE49-F238E27FC236}">
                  <a16:creationId xmlns:a16="http://schemas.microsoft.com/office/drawing/2014/main" id="{D6F108C6-0601-40DC-BF88-FCF392C3A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3" name="Freeform 66">
              <a:extLst>
                <a:ext uri="{FF2B5EF4-FFF2-40B4-BE49-F238E27FC236}">
                  <a16:creationId xmlns:a16="http://schemas.microsoft.com/office/drawing/2014/main" id="{3F17257A-21D1-4379-B613-2DB376824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4B4D36B-41D6-49B9-88A2-BD7E47C692FB}"/>
              </a:ext>
            </a:extLst>
          </p:cNvPr>
          <p:cNvGrpSpPr/>
          <p:nvPr/>
        </p:nvGrpSpPr>
        <p:grpSpPr>
          <a:xfrm>
            <a:off x="901769" y="5831842"/>
            <a:ext cx="223362" cy="246133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95" name="Freeform 179">
              <a:extLst>
                <a:ext uri="{FF2B5EF4-FFF2-40B4-BE49-F238E27FC236}">
                  <a16:creationId xmlns:a16="http://schemas.microsoft.com/office/drawing/2014/main" id="{C4882C28-C7B0-4062-801B-4256A82AB9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6" name="Freeform 180">
              <a:extLst>
                <a:ext uri="{FF2B5EF4-FFF2-40B4-BE49-F238E27FC236}">
                  <a16:creationId xmlns:a16="http://schemas.microsoft.com/office/drawing/2014/main" id="{E094FD4E-FA47-4B5A-BEBD-D99C26694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7" name="Freeform 181">
              <a:extLst>
                <a:ext uri="{FF2B5EF4-FFF2-40B4-BE49-F238E27FC236}">
                  <a16:creationId xmlns:a16="http://schemas.microsoft.com/office/drawing/2014/main" id="{46D3B6D3-96DB-452E-8B5F-7208B0290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8" name="Freeform 182">
              <a:extLst>
                <a:ext uri="{FF2B5EF4-FFF2-40B4-BE49-F238E27FC236}">
                  <a16:creationId xmlns:a16="http://schemas.microsoft.com/office/drawing/2014/main" id="{577CBA92-0EF9-4FF5-9620-066522818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9" name="Freeform 183">
              <a:extLst>
                <a:ext uri="{FF2B5EF4-FFF2-40B4-BE49-F238E27FC236}">
                  <a16:creationId xmlns:a16="http://schemas.microsoft.com/office/drawing/2014/main" id="{0731F6B0-2A52-4CA1-A742-66D415C9A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85955A9-CCC8-40CF-86C4-CD532F0FFD67}"/>
              </a:ext>
            </a:extLst>
          </p:cNvPr>
          <p:cNvGrpSpPr/>
          <p:nvPr/>
        </p:nvGrpSpPr>
        <p:grpSpPr>
          <a:xfrm>
            <a:off x="911743" y="4809278"/>
            <a:ext cx="203415" cy="204311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DD7DB674-2305-4254-9666-F55D3356D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5CF2E1A-5EDE-4E6D-A3DE-5D9538ED9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2EED8DB6-5101-4FF4-9CBE-C59973B096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12BE5E64-B5C4-4B90-B5CD-6EA3A7FFE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5" name="Freeform 33">
              <a:extLst>
                <a:ext uri="{FF2B5EF4-FFF2-40B4-BE49-F238E27FC236}">
                  <a16:creationId xmlns:a16="http://schemas.microsoft.com/office/drawing/2014/main" id="{D5414210-8B2A-4751-9BBD-965E4F3405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34">
              <a:extLst>
                <a:ext uri="{FF2B5EF4-FFF2-40B4-BE49-F238E27FC236}">
                  <a16:creationId xmlns:a16="http://schemas.microsoft.com/office/drawing/2014/main" id="{AD9CA8A6-93E6-4511-A170-38656673DD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BC7F4256-5CC0-4818-B0BF-766872DECD9C}"/>
              </a:ext>
            </a:extLst>
          </p:cNvPr>
          <p:cNvGrpSpPr/>
          <p:nvPr/>
        </p:nvGrpSpPr>
        <p:grpSpPr>
          <a:xfrm>
            <a:off x="9209205" y="3141923"/>
            <a:ext cx="203415" cy="119183"/>
            <a:chOff x="4113213" y="4046538"/>
            <a:chExt cx="360363" cy="211138"/>
          </a:xfrm>
          <a:solidFill>
            <a:srgbClr val="FED677"/>
          </a:solidFill>
          <a:effectLst/>
        </p:grpSpPr>
        <p:sp>
          <p:nvSpPr>
            <p:cNvPr id="108" name="Freeform 84">
              <a:extLst>
                <a:ext uri="{FF2B5EF4-FFF2-40B4-BE49-F238E27FC236}">
                  <a16:creationId xmlns:a16="http://schemas.microsoft.com/office/drawing/2014/main" id="{67A1A7CC-6C3E-4E38-BDF2-548B3974D2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85">
              <a:extLst>
                <a:ext uri="{FF2B5EF4-FFF2-40B4-BE49-F238E27FC236}">
                  <a16:creationId xmlns:a16="http://schemas.microsoft.com/office/drawing/2014/main" id="{EC11399B-5402-4323-BE77-9B9CA91D5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0" name="Freeform 104">
            <a:extLst>
              <a:ext uri="{FF2B5EF4-FFF2-40B4-BE49-F238E27FC236}">
                <a16:creationId xmlns:a16="http://schemas.microsoft.com/office/drawing/2014/main" id="{B4EABB24-0DD0-4F3C-845E-21BB0E1102B2}"/>
              </a:ext>
            </a:extLst>
          </p:cNvPr>
          <p:cNvSpPr>
            <a:spLocks noEditPoints="1"/>
          </p:cNvSpPr>
          <p:nvPr/>
        </p:nvSpPr>
        <p:spPr bwMode="auto">
          <a:xfrm>
            <a:off x="9226856" y="5928408"/>
            <a:ext cx="168112" cy="16885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1" name="Freeform 18">
            <a:extLst>
              <a:ext uri="{FF2B5EF4-FFF2-40B4-BE49-F238E27FC236}">
                <a16:creationId xmlns:a16="http://schemas.microsoft.com/office/drawing/2014/main" id="{944E12EC-897A-4364-BA1E-3AC301BA22E7}"/>
              </a:ext>
            </a:extLst>
          </p:cNvPr>
          <p:cNvSpPr>
            <a:spLocks noEditPoints="1"/>
          </p:cNvSpPr>
          <p:nvPr/>
        </p:nvSpPr>
        <p:spPr bwMode="auto">
          <a:xfrm>
            <a:off x="9234498" y="4061533"/>
            <a:ext cx="152829" cy="154176"/>
          </a:xfrm>
          <a:custGeom>
            <a:avLst/>
            <a:gdLst>
              <a:gd name="T0" fmla="*/ 94 w 96"/>
              <a:gd name="T1" fmla="*/ 0 h 96"/>
              <a:gd name="T2" fmla="*/ 2 w 96"/>
              <a:gd name="T3" fmla="*/ 0 h 96"/>
              <a:gd name="T4" fmla="*/ 0 w 96"/>
              <a:gd name="T5" fmla="*/ 2 h 96"/>
              <a:gd name="T6" fmla="*/ 0 w 96"/>
              <a:gd name="T7" fmla="*/ 94 h 96"/>
              <a:gd name="T8" fmla="*/ 2 w 96"/>
              <a:gd name="T9" fmla="*/ 96 h 96"/>
              <a:gd name="T10" fmla="*/ 94 w 96"/>
              <a:gd name="T11" fmla="*/ 96 h 96"/>
              <a:gd name="T12" fmla="*/ 96 w 96"/>
              <a:gd name="T13" fmla="*/ 94 h 96"/>
              <a:gd name="T14" fmla="*/ 96 w 96"/>
              <a:gd name="T15" fmla="*/ 2 h 96"/>
              <a:gd name="T16" fmla="*/ 94 w 96"/>
              <a:gd name="T17" fmla="*/ 0 h 96"/>
              <a:gd name="T18" fmla="*/ 43 w 96"/>
              <a:gd name="T19" fmla="*/ 55 h 96"/>
              <a:gd name="T20" fmla="*/ 23 w 96"/>
              <a:gd name="T21" fmla="*/ 75 h 96"/>
              <a:gd name="T22" fmla="*/ 22 w 96"/>
              <a:gd name="T23" fmla="*/ 76 h 96"/>
              <a:gd name="T24" fmla="*/ 21 w 96"/>
              <a:gd name="T25" fmla="*/ 75 h 96"/>
              <a:gd name="T26" fmla="*/ 13 w 96"/>
              <a:gd name="T27" fmla="*/ 67 h 96"/>
              <a:gd name="T28" fmla="*/ 13 w 96"/>
              <a:gd name="T29" fmla="*/ 65 h 96"/>
              <a:gd name="T30" fmla="*/ 15 w 96"/>
              <a:gd name="T31" fmla="*/ 65 h 96"/>
              <a:gd name="T32" fmla="*/ 22 w 96"/>
              <a:gd name="T33" fmla="*/ 71 h 96"/>
              <a:gd name="T34" fmla="*/ 41 w 96"/>
              <a:gd name="T35" fmla="*/ 53 h 96"/>
              <a:gd name="T36" fmla="*/ 43 w 96"/>
              <a:gd name="T37" fmla="*/ 53 h 96"/>
              <a:gd name="T38" fmla="*/ 43 w 96"/>
              <a:gd name="T39" fmla="*/ 55 h 96"/>
              <a:gd name="T40" fmla="*/ 43 w 96"/>
              <a:gd name="T41" fmla="*/ 17 h 96"/>
              <a:gd name="T42" fmla="*/ 23 w 96"/>
              <a:gd name="T43" fmla="*/ 37 h 96"/>
              <a:gd name="T44" fmla="*/ 22 w 96"/>
              <a:gd name="T45" fmla="*/ 38 h 96"/>
              <a:gd name="T46" fmla="*/ 21 w 96"/>
              <a:gd name="T47" fmla="*/ 37 h 96"/>
              <a:gd name="T48" fmla="*/ 13 w 96"/>
              <a:gd name="T49" fmla="*/ 29 h 96"/>
              <a:gd name="T50" fmla="*/ 13 w 96"/>
              <a:gd name="T51" fmla="*/ 27 h 96"/>
              <a:gd name="T52" fmla="*/ 15 w 96"/>
              <a:gd name="T53" fmla="*/ 27 h 96"/>
              <a:gd name="T54" fmla="*/ 22 w 96"/>
              <a:gd name="T55" fmla="*/ 33 h 96"/>
              <a:gd name="T56" fmla="*/ 41 w 96"/>
              <a:gd name="T57" fmla="*/ 15 h 96"/>
              <a:gd name="T58" fmla="*/ 43 w 96"/>
              <a:gd name="T59" fmla="*/ 15 h 96"/>
              <a:gd name="T60" fmla="*/ 43 w 96"/>
              <a:gd name="T61" fmla="*/ 17 h 96"/>
              <a:gd name="T62" fmla="*/ 82 w 96"/>
              <a:gd name="T63" fmla="*/ 72 h 96"/>
              <a:gd name="T64" fmla="*/ 50 w 96"/>
              <a:gd name="T65" fmla="*/ 72 h 96"/>
              <a:gd name="T66" fmla="*/ 48 w 96"/>
              <a:gd name="T67" fmla="*/ 70 h 96"/>
              <a:gd name="T68" fmla="*/ 50 w 96"/>
              <a:gd name="T69" fmla="*/ 68 h 96"/>
              <a:gd name="T70" fmla="*/ 82 w 96"/>
              <a:gd name="T71" fmla="*/ 68 h 96"/>
              <a:gd name="T72" fmla="*/ 84 w 96"/>
              <a:gd name="T73" fmla="*/ 70 h 96"/>
              <a:gd name="T74" fmla="*/ 82 w 96"/>
              <a:gd name="T75" fmla="*/ 72 h 96"/>
              <a:gd name="T76" fmla="*/ 82 w 96"/>
              <a:gd name="T77" fmla="*/ 36 h 96"/>
              <a:gd name="T78" fmla="*/ 50 w 96"/>
              <a:gd name="T79" fmla="*/ 36 h 96"/>
              <a:gd name="T80" fmla="*/ 48 w 96"/>
              <a:gd name="T81" fmla="*/ 34 h 96"/>
              <a:gd name="T82" fmla="*/ 50 w 96"/>
              <a:gd name="T83" fmla="*/ 32 h 96"/>
              <a:gd name="T84" fmla="*/ 82 w 96"/>
              <a:gd name="T85" fmla="*/ 32 h 96"/>
              <a:gd name="T86" fmla="*/ 84 w 96"/>
              <a:gd name="T87" fmla="*/ 34 h 96"/>
              <a:gd name="T88" fmla="*/ 82 w 96"/>
              <a:gd name="T89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6" h="96">
                <a:moveTo>
                  <a:pt x="9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2"/>
                  <a:pt x="96" y="2"/>
                  <a:pt x="96" y="2"/>
                </a:cubicBezTo>
                <a:cubicBezTo>
                  <a:pt x="96" y="1"/>
                  <a:pt x="95" y="0"/>
                  <a:pt x="94" y="0"/>
                </a:cubicBezTo>
                <a:close/>
                <a:moveTo>
                  <a:pt x="43" y="55"/>
                </a:moveTo>
                <a:cubicBezTo>
                  <a:pt x="23" y="75"/>
                  <a:pt x="23" y="75"/>
                  <a:pt x="23" y="75"/>
                </a:cubicBezTo>
                <a:cubicBezTo>
                  <a:pt x="23" y="76"/>
                  <a:pt x="23" y="76"/>
                  <a:pt x="22" y="76"/>
                </a:cubicBezTo>
                <a:cubicBezTo>
                  <a:pt x="21" y="76"/>
                  <a:pt x="21" y="76"/>
                  <a:pt x="21" y="75"/>
                </a:cubicBezTo>
                <a:cubicBezTo>
                  <a:pt x="13" y="67"/>
                  <a:pt x="13" y="67"/>
                  <a:pt x="13" y="67"/>
                </a:cubicBezTo>
                <a:cubicBezTo>
                  <a:pt x="12" y="67"/>
                  <a:pt x="12" y="65"/>
                  <a:pt x="13" y="65"/>
                </a:cubicBezTo>
                <a:cubicBezTo>
                  <a:pt x="13" y="64"/>
                  <a:pt x="15" y="64"/>
                  <a:pt x="15" y="65"/>
                </a:cubicBezTo>
                <a:cubicBezTo>
                  <a:pt x="22" y="71"/>
                  <a:pt x="22" y="71"/>
                  <a:pt x="22" y="71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2"/>
                  <a:pt x="43" y="52"/>
                  <a:pt x="43" y="53"/>
                </a:cubicBezTo>
                <a:cubicBezTo>
                  <a:pt x="44" y="53"/>
                  <a:pt x="44" y="55"/>
                  <a:pt x="43" y="55"/>
                </a:cubicBezTo>
                <a:close/>
                <a:moveTo>
                  <a:pt x="43" y="1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8"/>
                  <a:pt x="23" y="38"/>
                  <a:pt x="22" y="38"/>
                </a:cubicBezTo>
                <a:cubicBezTo>
                  <a:pt x="21" y="38"/>
                  <a:pt x="21" y="38"/>
                  <a:pt x="21" y="37"/>
                </a:cubicBezTo>
                <a:cubicBezTo>
                  <a:pt x="13" y="29"/>
                  <a:pt x="13" y="29"/>
                  <a:pt x="13" y="29"/>
                </a:cubicBezTo>
                <a:cubicBezTo>
                  <a:pt x="12" y="29"/>
                  <a:pt x="12" y="27"/>
                  <a:pt x="13" y="27"/>
                </a:cubicBezTo>
                <a:cubicBezTo>
                  <a:pt x="13" y="26"/>
                  <a:pt x="15" y="26"/>
                  <a:pt x="15" y="27"/>
                </a:cubicBezTo>
                <a:cubicBezTo>
                  <a:pt x="22" y="33"/>
                  <a:pt x="22" y="33"/>
                  <a:pt x="22" y="3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4"/>
                  <a:pt x="43" y="14"/>
                  <a:pt x="43" y="15"/>
                </a:cubicBezTo>
                <a:cubicBezTo>
                  <a:pt x="44" y="15"/>
                  <a:pt x="44" y="17"/>
                  <a:pt x="43" y="17"/>
                </a:cubicBezTo>
                <a:close/>
                <a:moveTo>
                  <a:pt x="82" y="72"/>
                </a:moveTo>
                <a:cubicBezTo>
                  <a:pt x="50" y="72"/>
                  <a:pt x="50" y="72"/>
                  <a:pt x="50" y="72"/>
                </a:cubicBezTo>
                <a:cubicBezTo>
                  <a:pt x="49" y="72"/>
                  <a:pt x="48" y="71"/>
                  <a:pt x="48" y="70"/>
                </a:cubicBezTo>
                <a:cubicBezTo>
                  <a:pt x="48" y="69"/>
                  <a:pt x="49" y="68"/>
                  <a:pt x="50" y="68"/>
                </a:cubicBezTo>
                <a:cubicBezTo>
                  <a:pt x="82" y="68"/>
                  <a:pt x="82" y="68"/>
                  <a:pt x="82" y="68"/>
                </a:cubicBezTo>
                <a:cubicBezTo>
                  <a:pt x="83" y="68"/>
                  <a:pt x="84" y="69"/>
                  <a:pt x="84" y="70"/>
                </a:cubicBezTo>
                <a:cubicBezTo>
                  <a:pt x="84" y="71"/>
                  <a:pt x="83" y="72"/>
                  <a:pt x="82" y="72"/>
                </a:cubicBezTo>
                <a:close/>
                <a:moveTo>
                  <a:pt x="82" y="36"/>
                </a:move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8" y="35"/>
                  <a:pt x="48" y="34"/>
                </a:cubicBezTo>
                <a:cubicBezTo>
                  <a:pt x="48" y="33"/>
                  <a:pt x="49" y="32"/>
                  <a:pt x="50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3" y="32"/>
                  <a:pt x="84" y="33"/>
                  <a:pt x="84" y="34"/>
                </a:cubicBezTo>
                <a:cubicBezTo>
                  <a:pt x="84" y="35"/>
                  <a:pt x="83" y="36"/>
                  <a:pt x="82" y="36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2" name="Freeform 6">
            <a:extLst>
              <a:ext uri="{FF2B5EF4-FFF2-40B4-BE49-F238E27FC236}">
                <a16:creationId xmlns:a16="http://schemas.microsoft.com/office/drawing/2014/main" id="{22EC5F87-9D15-48E9-99D3-923D99B6404A}"/>
              </a:ext>
            </a:extLst>
          </p:cNvPr>
          <p:cNvSpPr>
            <a:spLocks noEditPoints="1"/>
          </p:cNvSpPr>
          <p:nvPr/>
        </p:nvSpPr>
        <p:spPr bwMode="auto">
          <a:xfrm>
            <a:off x="9198541" y="4963357"/>
            <a:ext cx="224742" cy="22474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ED67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4" name="Subtitle 176">
            <a:extLst>
              <a:ext uri="{FF2B5EF4-FFF2-40B4-BE49-F238E27FC236}">
                <a16:creationId xmlns:a16="http://schemas.microsoft.com/office/drawing/2014/main" id="{7B0E863C-60AA-4FCE-9C35-DD5EC3CE1B95}"/>
              </a:ext>
            </a:extLst>
          </p:cNvPr>
          <p:cNvSpPr txBox="1">
            <a:spLocks/>
          </p:cNvSpPr>
          <p:nvPr/>
        </p:nvSpPr>
        <p:spPr>
          <a:xfrm>
            <a:off x="1440737" y="3261106"/>
            <a:ext cx="4521914" cy="98280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oxima o acadêmico da </a:t>
            </a:r>
            <a:r>
              <a:rPr lang="pt-BR" sz="1800" b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ção do conhecimento</a:t>
            </a:r>
            <a:r>
              <a:rPr lang="pt-BR" sz="1800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erspectivas acadêmica e profissional).</a:t>
            </a:r>
            <a:endParaRPr lang="en-ID" sz="1800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2853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508E1E-68E3-4416-8E30-0730C48B5B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508E1E-68E3-4416-8E30-0730C48B5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1E4CB3-390A-458D-89D3-01DE27387A4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C45160-0FD8-4FEB-B9C0-11F9AB83163E}"/>
              </a:ext>
            </a:extLst>
          </p:cNvPr>
          <p:cNvSpPr/>
          <p:nvPr/>
        </p:nvSpPr>
        <p:spPr>
          <a:xfrm>
            <a:off x="6114350" y="276"/>
            <a:ext cx="6096000" cy="6858000"/>
          </a:xfrm>
          <a:prstGeom prst="rect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80D1214-0531-454D-925A-F26BF3A10429}"/>
              </a:ext>
            </a:extLst>
          </p:cNvPr>
          <p:cNvGrpSpPr/>
          <p:nvPr/>
        </p:nvGrpSpPr>
        <p:grpSpPr>
          <a:xfrm>
            <a:off x="6515152" y="1080283"/>
            <a:ext cx="5067248" cy="4629150"/>
            <a:chOff x="6068291" y="1080283"/>
            <a:chExt cx="6792686" cy="462915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1D2E0F-321D-4CAC-A140-7217793CB9EC}"/>
                </a:ext>
              </a:extLst>
            </p:cNvPr>
            <p:cNvCxnSpPr/>
            <p:nvPr/>
          </p:nvCxnSpPr>
          <p:spPr>
            <a:xfrm>
              <a:off x="6068291" y="5709433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6555B06-A8F1-4E1D-B6CD-71FAFAE1389A}"/>
                </a:ext>
              </a:extLst>
            </p:cNvPr>
            <p:cNvCxnSpPr/>
            <p:nvPr/>
          </p:nvCxnSpPr>
          <p:spPr>
            <a:xfrm>
              <a:off x="6068291" y="4937908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C02FB4E-D1FD-48B5-BE41-F2687C013820}"/>
                </a:ext>
              </a:extLst>
            </p:cNvPr>
            <p:cNvCxnSpPr/>
            <p:nvPr/>
          </p:nvCxnSpPr>
          <p:spPr>
            <a:xfrm>
              <a:off x="6068291" y="4166383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8FC76F-7347-4D3D-A3CF-B9775576AA7C}"/>
                </a:ext>
              </a:extLst>
            </p:cNvPr>
            <p:cNvCxnSpPr/>
            <p:nvPr/>
          </p:nvCxnSpPr>
          <p:spPr>
            <a:xfrm>
              <a:off x="6068291" y="3394858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9C6E831-D71B-4465-92FA-97F8BA5D6673}"/>
                </a:ext>
              </a:extLst>
            </p:cNvPr>
            <p:cNvCxnSpPr/>
            <p:nvPr/>
          </p:nvCxnSpPr>
          <p:spPr>
            <a:xfrm>
              <a:off x="6068291" y="2623333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5DA4C97-9FB6-40AC-AA9A-E5F334811B36}"/>
                </a:ext>
              </a:extLst>
            </p:cNvPr>
            <p:cNvCxnSpPr/>
            <p:nvPr/>
          </p:nvCxnSpPr>
          <p:spPr>
            <a:xfrm>
              <a:off x="6068291" y="1851808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3BF99F0-7CA9-42F6-9C7D-2C314E6628C3}"/>
                </a:ext>
              </a:extLst>
            </p:cNvPr>
            <p:cNvCxnSpPr/>
            <p:nvPr/>
          </p:nvCxnSpPr>
          <p:spPr>
            <a:xfrm>
              <a:off x="6068291" y="1080283"/>
              <a:ext cx="6792686" cy="0"/>
            </a:xfrm>
            <a:prstGeom prst="line">
              <a:avLst/>
            </a:prstGeom>
            <a:ln>
              <a:solidFill>
                <a:srgbClr val="FEEA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ED700F74-5A9C-43EE-AA39-B229FCFFCF19}"/>
              </a:ext>
            </a:extLst>
          </p:cNvPr>
          <p:cNvSpPr/>
          <p:nvPr/>
        </p:nvSpPr>
        <p:spPr>
          <a:xfrm>
            <a:off x="5975297" y="582540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DDB168C-81E2-407D-A51D-4C49D656F043}"/>
              </a:ext>
            </a:extLst>
          </p:cNvPr>
          <p:cNvSpPr/>
          <p:nvPr/>
        </p:nvSpPr>
        <p:spPr>
          <a:xfrm>
            <a:off x="5975297" y="1352611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A6A86EA-70FC-4C17-AF65-A5DA6872DB27}"/>
              </a:ext>
            </a:extLst>
          </p:cNvPr>
          <p:cNvSpPr/>
          <p:nvPr/>
        </p:nvSpPr>
        <p:spPr>
          <a:xfrm>
            <a:off x="5975297" y="2122682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3315BEB-9B4F-4ACE-8B6A-E92D73FA65B2}"/>
              </a:ext>
            </a:extLst>
          </p:cNvPr>
          <p:cNvSpPr/>
          <p:nvPr/>
        </p:nvSpPr>
        <p:spPr>
          <a:xfrm>
            <a:off x="5975297" y="2892753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3C22D2F-0F80-45A0-BF5B-AF43E2A08518}"/>
              </a:ext>
            </a:extLst>
          </p:cNvPr>
          <p:cNvSpPr/>
          <p:nvPr/>
        </p:nvSpPr>
        <p:spPr>
          <a:xfrm>
            <a:off x="5975297" y="3662824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88D4319-77B8-417F-9397-9B0ABA7CBD20}"/>
              </a:ext>
            </a:extLst>
          </p:cNvPr>
          <p:cNvSpPr/>
          <p:nvPr/>
        </p:nvSpPr>
        <p:spPr>
          <a:xfrm>
            <a:off x="5975297" y="4432895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4CF721A-DC07-47BD-B26D-ECF13726CCCE}"/>
              </a:ext>
            </a:extLst>
          </p:cNvPr>
          <p:cNvSpPr/>
          <p:nvPr/>
        </p:nvSpPr>
        <p:spPr>
          <a:xfrm>
            <a:off x="5975297" y="5202968"/>
            <a:ext cx="241405" cy="241405"/>
          </a:xfrm>
          <a:prstGeom prst="ellipse">
            <a:avLst/>
          </a:prstGeom>
          <a:solidFill>
            <a:srgbClr val="605E87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3">
            <a:extLst>
              <a:ext uri="{FF2B5EF4-FFF2-40B4-BE49-F238E27FC236}">
                <a16:creationId xmlns:a16="http://schemas.microsoft.com/office/drawing/2014/main" id="{42252C72-9DC8-45E9-99F0-EF90B52617A8}"/>
              </a:ext>
            </a:extLst>
          </p:cNvPr>
          <p:cNvSpPr/>
          <p:nvPr/>
        </p:nvSpPr>
        <p:spPr>
          <a:xfrm>
            <a:off x="4128117" y="516314"/>
            <a:ext cx="1649747" cy="331241"/>
          </a:xfrm>
          <a:prstGeom prst="roundRect">
            <a:avLst>
              <a:gd name="adj" fmla="val 50000"/>
            </a:avLst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b="1" dirty="0" err="1">
                <a:latin typeface="Arial" panose="020B0604020202020204" pitchFamily="34" charset="0"/>
                <a:cs typeface="Arial" panose="020B0604020202020204" pitchFamily="34" charset="0"/>
              </a:rPr>
              <a:t>Unidade</a:t>
            </a:r>
            <a:r>
              <a:rPr lang="en-ID" b="1" dirty="0"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6C57D45E-0141-4328-839E-A3B37B984E7A}"/>
              </a:ext>
            </a:extLst>
          </p:cNvPr>
          <p:cNvSpPr/>
          <p:nvPr/>
        </p:nvSpPr>
        <p:spPr>
          <a:xfrm>
            <a:off x="4165523" y="2802917"/>
            <a:ext cx="1675894" cy="331241"/>
          </a:xfrm>
          <a:prstGeom prst="roundRect">
            <a:avLst>
              <a:gd name="adj" fmla="val 50000"/>
            </a:avLst>
          </a:pr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en-ID" b="1" dirty="0" err="1">
                <a:latin typeface="Arial" panose="020B0604020202020204" pitchFamily="34" charset="0"/>
                <a:cs typeface="Arial" panose="020B0604020202020204" pitchFamily="34" charset="0"/>
              </a:rPr>
              <a:t>Unidade</a:t>
            </a:r>
            <a:r>
              <a:rPr lang="en-ID" b="1" dirty="0">
                <a:latin typeface="Arial" panose="020B0604020202020204" pitchFamily="34" charset="0"/>
                <a:cs typeface="Arial" panose="020B0604020202020204" pitchFamily="34" charset="0"/>
              </a:rPr>
              <a:t>  2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ubtitle 176">
            <a:extLst>
              <a:ext uri="{FF2B5EF4-FFF2-40B4-BE49-F238E27FC236}">
                <a16:creationId xmlns:a16="http://schemas.microsoft.com/office/drawing/2014/main" id="{87A1DBB7-1E1D-4142-A524-2596626277D6}"/>
              </a:ext>
            </a:extLst>
          </p:cNvPr>
          <p:cNvSpPr txBox="1">
            <a:spLocks/>
          </p:cNvSpPr>
          <p:nvPr/>
        </p:nvSpPr>
        <p:spPr>
          <a:xfrm>
            <a:off x="6414135" y="109241"/>
            <a:ext cx="5232583" cy="6220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  <a:defRPr/>
            </a:pPr>
            <a:r>
              <a:rPr lang="pt-BR" sz="1800" b="1" i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ências e habilidades para aprender, inovar e cooperar </a:t>
            </a:r>
          </a:p>
        </p:txBody>
      </p:sp>
      <p:sp>
        <p:nvSpPr>
          <p:cNvPr id="45" name="Subtitle 176">
            <a:extLst>
              <a:ext uri="{FF2B5EF4-FFF2-40B4-BE49-F238E27FC236}">
                <a16:creationId xmlns:a16="http://schemas.microsoft.com/office/drawing/2014/main" id="{A34B86CC-A38B-4D36-965F-DB609329207F}"/>
              </a:ext>
            </a:extLst>
          </p:cNvPr>
          <p:cNvSpPr txBox="1">
            <a:spLocks/>
          </p:cNvSpPr>
          <p:nvPr/>
        </p:nvSpPr>
        <p:spPr>
          <a:xfrm>
            <a:off x="6484463" y="2794876"/>
            <a:ext cx="5225744" cy="5189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Aft>
                <a:spcPts val="900"/>
              </a:spcAft>
              <a:buNone/>
              <a:defRPr/>
            </a:pPr>
            <a:r>
              <a:rPr lang="pt-BR" sz="1800" b="1" i="1" dirty="0" err="1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roplasticidade</a:t>
            </a:r>
            <a:r>
              <a:rPr lang="pt-BR" sz="1800" b="1" i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estratégias para o desenvolvimento da alta performance cognitiva</a:t>
            </a:r>
            <a:endParaRPr lang="en-ID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ubtitle 176">
            <a:extLst>
              <a:ext uri="{FF2B5EF4-FFF2-40B4-BE49-F238E27FC236}">
                <a16:creationId xmlns:a16="http://schemas.microsoft.com/office/drawing/2014/main" id="{23D2528C-A30A-4500-AD36-BC3F76A018A7}"/>
              </a:ext>
            </a:extLst>
          </p:cNvPr>
          <p:cNvSpPr txBox="1">
            <a:spLocks/>
          </p:cNvSpPr>
          <p:nvPr/>
        </p:nvSpPr>
        <p:spPr>
          <a:xfrm>
            <a:off x="6515152" y="1990191"/>
            <a:ext cx="50672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D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ubtitle 176">
            <a:extLst>
              <a:ext uri="{FF2B5EF4-FFF2-40B4-BE49-F238E27FC236}">
                <a16:creationId xmlns:a16="http://schemas.microsoft.com/office/drawing/2014/main" id="{72ED71C5-FCF7-4B23-8254-81D8466ED808}"/>
              </a:ext>
            </a:extLst>
          </p:cNvPr>
          <p:cNvSpPr txBox="1">
            <a:spLocks/>
          </p:cNvSpPr>
          <p:nvPr/>
        </p:nvSpPr>
        <p:spPr>
          <a:xfrm>
            <a:off x="6303947" y="931397"/>
            <a:ext cx="5586776" cy="166222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rtes teóricos clássicos para compreender a aprendizagem</a:t>
            </a:r>
          </a:p>
          <a:p>
            <a:pPr marL="457200"/>
            <a:endParaRPr lang="pt-BR" sz="19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ndizagem no século XXI</a:t>
            </a:r>
          </a:p>
        </p:txBody>
      </p:sp>
      <p:sp>
        <p:nvSpPr>
          <p:cNvPr id="48" name="Subtitle 176">
            <a:extLst>
              <a:ext uri="{FF2B5EF4-FFF2-40B4-BE49-F238E27FC236}">
                <a16:creationId xmlns:a16="http://schemas.microsoft.com/office/drawing/2014/main" id="{E5931934-F497-4137-B816-70F4E587EF39}"/>
              </a:ext>
            </a:extLst>
          </p:cNvPr>
          <p:cNvSpPr txBox="1">
            <a:spLocks/>
          </p:cNvSpPr>
          <p:nvPr/>
        </p:nvSpPr>
        <p:spPr>
          <a:xfrm>
            <a:off x="6595494" y="4225015"/>
            <a:ext cx="5445613" cy="63166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atégias de </a:t>
            </a:r>
            <a:r>
              <a:rPr lang="pt-BR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aprendizagem</a:t>
            </a:r>
            <a:endParaRPr lang="en-ID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ubtitle 176">
            <a:extLst>
              <a:ext uri="{FF2B5EF4-FFF2-40B4-BE49-F238E27FC236}">
                <a16:creationId xmlns:a16="http://schemas.microsoft.com/office/drawing/2014/main" id="{78EA10F6-A017-4BC8-B318-0F93184C26FD}"/>
              </a:ext>
            </a:extLst>
          </p:cNvPr>
          <p:cNvSpPr txBox="1">
            <a:spLocks/>
          </p:cNvSpPr>
          <p:nvPr/>
        </p:nvSpPr>
        <p:spPr>
          <a:xfrm>
            <a:off x="6477233" y="2062629"/>
            <a:ext cx="50672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D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" name="Group 8">
            <a:extLst>
              <a:ext uri="{FF2B5EF4-FFF2-40B4-BE49-F238E27FC236}">
                <a16:creationId xmlns:a16="http://schemas.microsoft.com/office/drawing/2014/main" id="{54A201F4-F6C9-48F5-B88F-2AB593C677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5313" y="3271291"/>
            <a:ext cx="3329879" cy="3218409"/>
            <a:chOff x="375" y="-214"/>
            <a:chExt cx="4451" cy="4302"/>
          </a:xfrm>
        </p:grpSpPr>
        <p:grpSp>
          <p:nvGrpSpPr>
            <p:cNvPr id="56" name="Group 209">
              <a:extLst>
                <a:ext uri="{FF2B5EF4-FFF2-40B4-BE49-F238E27FC236}">
                  <a16:creationId xmlns:a16="http://schemas.microsoft.com/office/drawing/2014/main" id="{D6BF936E-803B-4C3A-8305-2C0B9A3C4D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" y="-214"/>
              <a:ext cx="4451" cy="3943"/>
              <a:chOff x="375" y="-214"/>
              <a:chExt cx="4451" cy="3943"/>
            </a:xfrm>
          </p:grpSpPr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F3C93919-4099-45CE-81C0-5E683CFE4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7" y="2093"/>
                <a:ext cx="902" cy="1232"/>
              </a:xfrm>
              <a:custGeom>
                <a:avLst/>
                <a:gdLst>
                  <a:gd name="T0" fmla="*/ 30 w 380"/>
                  <a:gd name="T1" fmla="*/ 19 h 519"/>
                  <a:gd name="T2" fmla="*/ 35 w 380"/>
                  <a:gd name="T3" fmla="*/ 94 h 519"/>
                  <a:gd name="T4" fmla="*/ 92 w 380"/>
                  <a:gd name="T5" fmla="*/ 189 h 519"/>
                  <a:gd name="T6" fmla="*/ 86 w 380"/>
                  <a:gd name="T7" fmla="*/ 206 h 519"/>
                  <a:gd name="T8" fmla="*/ 41 w 380"/>
                  <a:gd name="T9" fmla="*/ 220 h 519"/>
                  <a:gd name="T10" fmla="*/ 71 w 380"/>
                  <a:gd name="T11" fmla="*/ 263 h 519"/>
                  <a:gd name="T12" fmla="*/ 150 w 380"/>
                  <a:gd name="T13" fmla="*/ 308 h 519"/>
                  <a:gd name="T14" fmla="*/ 151 w 380"/>
                  <a:gd name="T15" fmla="*/ 320 h 519"/>
                  <a:gd name="T16" fmla="*/ 87 w 380"/>
                  <a:gd name="T17" fmla="*/ 361 h 519"/>
                  <a:gd name="T18" fmla="*/ 172 w 380"/>
                  <a:gd name="T19" fmla="*/ 417 h 519"/>
                  <a:gd name="T20" fmla="*/ 181 w 380"/>
                  <a:gd name="T21" fmla="*/ 427 h 519"/>
                  <a:gd name="T22" fmla="*/ 142 w 380"/>
                  <a:gd name="T23" fmla="*/ 435 h 519"/>
                  <a:gd name="T24" fmla="*/ 110 w 380"/>
                  <a:gd name="T25" fmla="*/ 461 h 519"/>
                  <a:gd name="T26" fmla="*/ 260 w 380"/>
                  <a:gd name="T27" fmla="*/ 519 h 519"/>
                  <a:gd name="T28" fmla="*/ 307 w 380"/>
                  <a:gd name="T29" fmla="*/ 519 h 519"/>
                  <a:gd name="T30" fmla="*/ 332 w 380"/>
                  <a:gd name="T31" fmla="*/ 478 h 519"/>
                  <a:gd name="T32" fmla="*/ 363 w 380"/>
                  <a:gd name="T33" fmla="*/ 320 h 519"/>
                  <a:gd name="T34" fmla="*/ 323 w 380"/>
                  <a:gd name="T35" fmla="*/ 334 h 519"/>
                  <a:gd name="T36" fmla="*/ 296 w 380"/>
                  <a:gd name="T37" fmla="*/ 363 h 519"/>
                  <a:gd name="T38" fmla="*/ 292 w 380"/>
                  <a:gd name="T39" fmla="*/ 350 h 519"/>
                  <a:gd name="T40" fmla="*/ 290 w 380"/>
                  <a:gd name="T41" fmla="*/ 248 h 519"/>
                  <a:gd name="T42" fmla="*/ 222 w 380"/>
                  <a:gd name="T43" fmla="*/ 281 h 519"/>
                  <a:gd name="T44" fmla="*/ 211 w 380"/>
                  <a:gd name="T45" fmla="*/ 274 h 519"/>
                  <a:gd name="T46" fmla="*/ 216 w 380"/>
                  <a:gd name="T47" fmla="*/ 183 h 519"/>
                  <a:gd name="T48" fmla="*/ 195 w 380"/>
                  <a:gd name="T49" fmla="*/ 134 h 519"/>
                  <a:gd name="T50" fmla="*/ 159 w 380"/>
                  <a:gd name="T51" fmla="*/ 165 h 519"/>
                  <a:gd name="T52" fmla="*/ 141 w 380"/>
                  <a:gd name="T53" fmla="*/ 161 h 519"/>
                  <a:gd name="T54" fmla="*/ 91 w 380"/>
                  <a:gd name="T55" fmla="*/ 63 h 519"/>
                  <a:gd name="T56" fmla="*/ 30 w 380"/>
                  <a:gd name="T57" fmla="*/ 2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80" h="519">
                    <a:moveTo>
                      <a:pt x="30" y="19"/>
                    </a:moveTo>
                    <a:cubicBezTo>
                      <a:pt x="30" y="19"/>
                      <a:pt x="0" y="31"/>
                      <a:pt x="35" y="94"/>
                    </a:cubicBezTo>
                    <a:cubicBezTo>
                      <a:pt x="69" y="158"/>
                      <a:pt x="92" y="189"/>
                      <a:pt x="92" y="189"/>
                    </a:cubicBezTo>
                    <a:cubicBezTo>
                      <a:pt x="92" y="189"/>
                      <a:pt x="98" y="203"/>
                      <a:pt x="86" y="206"/>
                    </a:cubicBezTo>
                    <a:cubicBezTo>
                      <a:pt x="74" y="209"/>
                      <a:pt x="46" y="205"/>
                      <a:pt x="41" y="220"/>
                    </a:cubicBezTo>
                    <a:cubicBezTo>
                      <a:pt x="35" y="236"/>
                      <a:pt x="47" y="251"/>
                      <a:pt x="71" y="263"/>
                    </a:cubicBezTo>
                    <a:cubicBezTo>
                      <a:pt x="95" y="276"/>
                      <a:pt x="146" y="305"/>
                      <a:pt x="150" y="308"/>
                    </a:cubicBezTo>
                    <a:cubicBezTo>
                      <a:pt x="155" y="311"/>
                      <a:pt x="159" y="317"/>
                      <a:pt x="151" y="320"/>
                    </a:cubicBezTo>
                    <a:cubicBezTo>
                      <a:pt x="143" y="324"/>
                      <a:pt x="81" y="332"/>
                      <a:pt x="87" y="361"/>
                    </a:cubicBezTo>
                    <a:cubicBezTo>
                      <a:pt x="92" y="390"/>
                      <a:pt x="164" y="414"/>
                      <a:pt x="172" y="417"/>
                    </a:cubicBezTo>
                    <a:cubicBezTo>
                      <a:pt x="180" y="419"/>
                      <a:pt x="182" y="423"/>
                      <a:pt x="181" y="427"/>
                    </a:cubicBezTo>
                    <a:cubicBezTo>
                      <a:pt x="181" y="431"/>
                      <a:pt x="160" y="432"/>
                      <a:pt x="142" y="435"/>
                    </a:cubicBezTo>
                    <a:cubicBezTo>
                      <a:pt x="125" y="438"/>
                      <a:pt x="105" y="444"/>
                      <a:pt x="110" y="461"/>
                    </a:cubicBezTo>
                    <a:cubicBezTo>
                      <a:pt x="114" y="477"/>
                      <a:pt x="157" y="511"/>
                      <a:pt x="260" y="519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332" y="478"/>
                      <a:pt x="332" y="478"/>
                      <a:pt x="332" y="478"/>
                    </a:cubicBezTo>
                    <a:cubicBezTo>
                      <a:pt x="380" y="387"/>
                      <a:pt x="374" y="333"/>
                      <a:pt x="363" y="320"/>
                    </a:cubicBezTo>
                    <a:cubicBezTo>
                      <a:pt x="351" y="307"/>
                      <a:pt x="335" y="321"/>
                      <a:pt x="323" y="334"/>
                    </a:cubicBezTo>
                    <a:cubicBezTo>
                      <a:pt x="312" y="347"/>
                      <a:pt x="300" y="365"/>
                      <a:pt x="296" y="363"/>
                    </a:cubicBezTo>
                    <a:cubicBezTo>
                      <a:pt x="292" y="361"/>
                      <a:pt x="290" y="358"/>
                      <a:pt x="292" y="350"/>
                    </a:cubicBezTo>
                    <a:cubicBezTo>
                      <a:pt x="294" y="341"/>
                      <a:pt x="311" y="268"/>
                      <a:pt x="290" y="248"/>
                    </a:cubicBezTo>
                    <a:cubicBezTo>
                      <a:pt x="268" y="228"/>
                      <a:pt x="229" y="276"/>
                      <a:pt x="222" y="281"/>
                    </a:cubicBezTo>
                    <a:cubicBezTo>
                      <a:pt x="215" y="286"/>
                      <a:pt x="211" y="279"/>
                      <a:pt x="211" y="274"/>
                    </a:cubicBezTo>
                    <a:cubicBezTo>
                      <a:pt x="212" y="268"/>
                      <a:pt x="214" y="210"/>
                      <a:pt x="216" y="183"/>
                    </a:cubicBezTo>
                    <a:cubicBezTo>
                      <a:pt x="217" y="156"/>
                      <a:pt x="211" y="138"/>
                      <a:pt x="195" y="134"/>
                    </a:cubicBezTo>
                    <a:cubicBezTo>
                      <a:pt x="179" y="131"/>
                      <a:pt x="168" y="156"/>
                      <a:pt x="159" y="165"/>
                    </a:cubicBezTo>
                    <a:cubicBezTo>
                      <a:pt x="150" y="174"/>
                      <a:pt x="141" y="161"/>
                      <a:pt x="141" y="161"/>
                    </a:cubicBezTo>
                    <a:cubicBezTo>
                      <a:pt x="141" y="161"/>
                      <a:pt x="127" y="125"/>
                      <a:pt x="91" y="63"/>
                    </a:cubicBezTo>
                    <a:cubicBezTo>
                      <a:pt x="56" y="0"/>
                      <a:pt x="30" y="20"/>
                      <a:pt x="30" y="20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6A0DAAFC-B4EA-480B-8EE7-F2BB9D425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2" y="2274"/>
                <a:ext cx="593" cy="1078"/>
              </a:xfrm>
              <a:custGeom>
                <a:avLst/>
                <a:gdLst>
                  <a:gd name="T0" fmla="*/ 249 w 250"/>
                  <a:gd name="T1" fmla="*/ 454 h 454"/>
                  <a:gd name="T2" fmla="*/ 140 w 250"/>
                  <a:gd name="T3" fmla="*/ 255 h 454"/>
                  <a:gd name="T4" fmla="*/ 41 w 250"/>
                  <a:gd name="T5" fmla="*/ 74 h 454"/>
                  <a:gd name="T6" fmla="*/ 11 w 250"/>
                  <a:gd name="T7" fmla="*/ 20 h 454"/>
                  <a:gd name="T8" fmla="*/ 2 w 250"/>
                  <a:gd name="T9" fmla="*/ 5 h 454"/>
                  <a:gd name="T10" fmla="*/ 0 w 250"/>
                  <a:gd name="T11" fmla="*/ 1 h 454"/>
                  <a:gd name="T12" fmla="*/ 0 w 250"/>
                  <a:gd name="T13" fmla="*/ 0 h 454"/>
                  <a:gd name="T14" fmla="*/ 0 w 250"/>
                  <a:gd name="T15" fmla="*/ 1 h 454"/>
                  <a:gd name="T16" fmla="*/ 3 w 250"/>
                  <a:gd name="T17" fmla="*/ 5 h 454"/>
                  <a:gd name="T18" fmla="*/ 11 w 250"/>
                  <a:gd name="T19" fmla="*/ 20 h 454"/>
                  <a:gd name="T20" fmla="*/ 42 w 250"/>
                  <a:gd name="T21" fmla="*/ 74 h 454"/>
                  <a:gd name="T22" fmla="*/ 142 w 250"/>
                  <a:gd name="T23" fmla="*/ 254 h 454"/>
                  <a:gd name="T24" fmla="*/ 250 w 250"/>
                  <a:gd name="T25" fmla="*/ 453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0" h="454">
                    <a:moveTo>
                      <a:pt x="249" y="454"/>
                    </a:moveTo>
                    <a:cubicBezTo>
                      <a:pt x="223" y="408"/>
                      <a:pt x="179" y="326"/>
                      <a:pt x="140" y="255"/>
                    </a:cubicBezTo>
                    <a:cubicBezTo>
                      <a:pt x="102" y="184"/>
                      <a:pt x="67" y="121"/>
                      <a:pt x="41" y="74"/>
                    </a:cubicBezTo>
                    <a:cubicBezTo>
                      <a:pt x="28" y="52"/>
                      <a:pt x="18" y="33"/>
                      <a:pt x="11" y="20"/>
                    </a:cubicBezTo>
                    <a:cubicBezTo>
                      <a:pt x="7" y="14"/>
                      <a:pt x="4" y="9"/>
                      <a:pt x="2" y="5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2" y="3"/>
                      <a:pt x="3" y="5"/>
                    </a:cubicBezTo>
                    <a:cubicBezTo>
                      <a:pt x="5" y="8"/>
                      <a:pt x="8" y="13"/>
                      <a:pt x="11" y="20"/>
                    </a:cubicBezTo>
                    <a:cubicBezTo>
                      <a:pt x="19" y="32"/>
                      <a:pt x="29" y="51"/>
                      <a:pt x="42" y="74"/>
                    </a:cubicBezTo>
                    <a:cubicBezTo>
                      <a:pt x="68" y="120"/>
                      <a:pt x="103" y="184"/>
                      <a:pt x="142" y="254"/>
                    </a:cubicBezTo>
                    <a:cubicBezTo>
                      <a:pt x="180" y="325"/>
                      <a:pt x="224" y="407"/>
                      <a:pt x="250" y="453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81B858F5-10B4-49EC-9E6B-240B20D53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" y="2632"/>
                <a:ext cx="195" cy="71"/>
              </a:xfrm>
              <a:custGeom>
                <a:avLst/>
                <a:gdLst>
                  <a:gd name="T0" fmla="*/ 0 w 82"/>
                  <a:gd name="T1" fmla="*/ 0 h 30"/>
                  <a:gd name="T2" fmla="*/ 4 w 82"/>
                  <a:gd name="T3" fmla="*/ 1 h 30"/>
                  <a:gd name="T4" fmla="*/ 13 w 82"/>
                  <a:gd name="T5" fmla="*/ 4 h 30"/>
                  <a:gd name="T6" fmla="*/ 42 w 82"/>
                  <a:gd name="T7" fmla="*/ 14 h 30"/>
                  <a:gd name="T8" fmla="*/ 70 w 82"/>
                  <a:gd name="T9" fmla="*/ 26 h 30"/>
                  <a:gd name="T10" fmla="*/ 79 w 82"/>
                  <a:gd name="T11" fmla="*/ 29 h 30"/>
                  <a:gd name="T12" fmla="*/ 82 w 82"/>
                  <a:gd name="T13" fmla="*/ 30 h 30"/>
                  <a:gd name="T14" fmla="*/ 79 w 82"/>
                  <a:gd name="T15" fmla="*/ 30 h 30"/>
                  <a:gd name="T16" fmla="*/ 70 w 82"/>
                  <a:gd name="T17" fmla="*/ 27 h 30"/>
                  <a:gd name="T18" fmla="*/ 41 w 82"/>
                  <a:gd name="T19" fmla="*/ 16 h 30"/>
                  <a:gd name="T20" fmla="*/ 12 w 82"/>
                  <a:gd name="T21" fmla="*/ 5 h 30"/>
                  <a:gd name="T22" fmla="*/ 3 w 82"/>
                  <a:gd name="T23" fmla="*/ 1 h 30"/>
                  <a:gd name="T24" fmla="*/ 0 w 82"/>
                  <a:gd name="T2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30">
                    <a:moveTo>
                      <a:pt x="0" y="0"/>
                    </a:moveTo>
                    <a:cubicBezTo>
                      <a:pt x="0" y="0"/>
                      <a:pt x="1" y="0"/>
                      <a:pt x="4" y="1"/>
                    </a:cubicBezTo>
                    <a:cubicBezTo>
                      <a:pt x="6" y="1"/>
                      <a:pt x="9" y="2"/>
                      <a:pt x="13" y="4"/>
                    </a:cubicBezTo>
                    <a:cubicBezTo>
                      <a:pt x="20" y="6"/>
                      <a:pt x="30" y="10"/>
                      <a:pt x="42" y="14"/>
                    </a:cubicBezTo>
                    <a:cubicBezTo>
                      <a:pt x="53" y="19"/>
                      <a:pt x="63" y="23"/>
                      <a:pt x="70" y="26"/>
                    </a:cubicBezTo>
                    <a:cubicBezTo>
                      <a:pt x="74" y="27"/>
                      <a:pt x="77" y="28"/>
                      <a:pt x="79" y="29"/>
                    </a:cubicBezTo>
                    <a:cubicBezTo>
                      <a:pt x="81" y="30"/>
                      <a:pt x="82" y="30"/>
                      <a:pt x="82" y="30"/>
                    </a:cubicBezTo>
                    <a:cubicBezTo>
                      <a:pt x="82" y="30"/>
                      <a:pt x="81" y="30"/>
                      <a:pt x="79" y="30"/>
                    </a:cubicBezTo>
                    <a:cubicBezTo>
                      <a:pt x="77" y="29"/>
                      <a:pt x="74" y="28"/>
                      <a:pt x="70" y="27"/>
                    </a:cubicBezTo>
                    <a:cubicBezTo>
                      <a:pt x="63" y="24"/>
                      <a:pt x="52" y="20"/>
                      <a:pt x="41" y="16"/>
                    </a:cubicBezTo>
                    <a:cubicBezTo>
                      <a:pt x="30" y="11"/>
                      <a:pt x="20" y="8"/>
                      <a:pt x="12" y="5"/>
                    </a:cubicBezTo>
                    <a:cubicBezTo>
                      <a:pt x="9" y="3"/>
                      <a:pt x="6" y="2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1312D3A5-383E-4E5E-9945-9C00E9A9E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6" y="2468"/>
                <a:ext cx="78" cy="228"/>
              </a:xfrm>
              <a:custGeom>
                <a:avLst/>
                <a:gdLst>
                  <a:gd name="T0" fmla="*/ 1 w 33"/>
                  <a:gd name="T1" fmla="*/ 96 h 96"/>
                  <a:gd name="T2" fmla="*/ 16 w 33"/>
                  <a:gd name="T3" fmla="*/ 48 h 96"/>
                  <a:gd name="T4" fmla="*/ 32 w 33"/>
                  <a:gd name="T5" fmla="*/ 0 h 96"/>
                  <a:gd name="T6" fmla="*/ 17 w 33"/>
                  <a:gd name="T7" fmla="*/ 49 h 96"/>
                  <a:gd name="T8" fmla="*/ 1 w 33"/>
                  <a:gd name="T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96">
                    <a:moveTo>
                      <a:pt x="1" y="96"/>
                    </a:moveTo>
                    <a:cubicBezTo>
                      <a:pt x="0" y="96"/>
                      <a:pt x="7" y="75"/>
                      <a:pt x="16" y="48"/>
                    </a:cubicBezTo>
                    <a:cubicBezTo>
                      <a:pt x="25" y="22"/>
                      <a:pt x="32" y="0"/>
                      <a:pt x="32" y="0"/>
                    </a:cubicBezTo>
                    <a:cubicBezTo>
                      <a:pt x="33" y="1"/>
                      <a:pt x="26" y="22"/>
                      <a:pt x="17" y="49"/>
                    </a:cubicBezTo>
                    <a:cubicBezTo>
                      <a:pt x="8" y="75"/>
                      <a:pt x="1" y="96"/>
                      <a:pt x="1" y="9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4AD14B1B-246C-4B73-BC25-DEE820557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7" y="2782"/>
                <a:ext cx="114" cy="178"/>
              </a:xfrm>
              <a:custGeom>
                <a:avLst/>
                <a:gdLst>
                  <a:gd name="T0" fmla="*/ 0 w 48"/>
                  <a:gd name="T1" fmla="*/ 75 h 75"/>
                  <a:gd name="T2" fmla="*/ 2 w 48"/>
                  <a:gd name="T3" fmla="*/ 72 h 75"/>
                  <a:gd name="T4" fmla="*/ 7 w 48"/>
                  <a:gd name="T5" fmla="*/ 64 h 75"/>
                  <a:gd name="T6" fmla="*/ 25 w 48"/>
                  <a:gd name="T7" fmla="*/ 38 h 75"/>
                  <a:gd name="T8" fmla="*/ 41 w 48"/>
                  <a:gd name="T9" fmla="*/ 11 h 75"/>
                  <a:gd name="T10" fmla="*/ 46 w 48"/>
                  <a:gd name="T11" fmla="*/ 3 h 75"/>
                  <a:gd name="T12" fmla="*/ 48 w 48"/>
                  <a:gd name="T13" fmla="*/ 0 h 75"/>
                  <a:gd name="T14" fmla="*/ 46 w 48"/>
                  <a:gd name="T15" fmla="*/ 3 h 75"/>
                  <a:gd name="T16" fmla="*/ 42 w 48"/>
                  <a:gd name="T17" fmla="*/ 12 h 75"/>
                  <a:gd name="T18" fmla="*/ 26 w 48"/>
                  <a:gd name="T19" fmla="*/ 39 h 75"/>
                  <a:gd name="T20" fmla="*/ 8 w 48"/>
                  <a:gd name="T21" fmla="*/ 65 h 75"/>
                  <a:gd name="T22" fmla="*/ 2 w 48"/>
                  <a:gd name="T23" fmla="*/ 73 h 75"/>
                  <a:gd name="T24" fmla="*/ 0 w 48"/>
                  <a:gd name="T2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" h="75">
                    <a:moveTo>
                      <a:pt x="0" y="75"/>
                    </a:moveTo>
                    <a:cubicBezTo>
                      <a:pt x="0" y="75"/>
                      <a:pt x="0" y="74"/>
                      <a:pt x="2" y="72"/>
                    </a:cubicBezTo>
                    <a:cubicBezTo>
                      <a:pt x="3" y="70"/>
                      <a:pt x="5" y="68"/>
                      <a:pt x="7" y="64"/>
                    </a:cubicBezTo>
                    <a:cubicBezTo>
                      <a:pt x="12" y="58"/>
                      <a:pt x="18" y="49"/>
                      <a:pt x="25" y="38"/>
                    </a:cubicBezTo>
                    <a:cubicBezTo>
                      <a:pt x="31" y="28"/>
                      <a:pt x="37" y="18"/>
                      <a:pt x="41" y="11"/>
                    </a:cubicBezTo>
                    <a:cubicBezTo>
                      <a:pt x="43" y="8"/>
                      <a:pt x="44" y="5"/>
                      <a:pt x="46" y="3"/>
                    </a:cubicBezTo>
                    <a:cubicBezTo>
                      <a:pt x="47" y="1"/>
                      <a:pt x="47" y="0"/>
                      <a:pt x="48" y="0"/>
                    </a:cubicBezTo>
                    <a:cubicBezTo>
                      <a:pt x="48" y="0"/>
                      <a:pt x="47" y="1"/>
                      <a:pt x="46" y="3"/>
                    </a:cubicBezTo>
                    <a:cubicBezTo>
                      <a:pt x="45" y="5"/>
                      <a:pt x="44" y="8"/>
                      <a:pt x="42" y="12"/>
                    </a:cubicBezTo>
                    <a:cubicBezTo>
                      <a:pt x="38" y="19"/>
                      <a:pt x="32" y="28"/>
                      <a:pt x="26" y="39"/>
                    </a:cubicBezTo>
                    <a:cubicBezTo>
                      <a:pt x="19" y="49"/>
                      <a:pt x="13" y="58"/>
                      <a:pt x="8" y="65"/>
                    </a:cubicBezTo>
                    <a:cubicBezTo>
                      <a:pt x="6" y="68"/>
                      <a:pt x="4" y="71"/>
                      <a:pt x="2" y="73"/>
                    </a:cubicBezTo>
                    <a:cubicBezTo>
                      <a:pt x="1" y="74"/>
                      <a:pt x="0" y="75"/>
                      <a:pt x="0" y="7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BBC09BC-ABFF-4347-B0C4-0BAF60A00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0" y="2941"/>
                <a:ext cx="197" cy="16"/>
              </a:xfrm>
              <a:custGeom>
                <a:avLst/>
                <a:gdLst>
                  <a:gd name="T0" fmla="*/ 0 w 83"/>
                  <a:gd name="T1" fmla="*/ 1 h 7"/>
                  <a:gd name="T2" fmla="*/ 4 w 83"/>
                  <a:gd name="T3" fmla="*/ 1 h 7"/>
                  <a:gd name="T4" fmla="*/ 12 w 83"/>
                  <a:gd name="T5" fmla="*/ 1 h 7"/>
                  <a:gd name="T6" fmla="*/ 42 w 83"/>
                  <a:gd name="T7" fmla="*/ 3 h 7"/>
                  <a:gd name="T8" fmla="*/ 71 w 83"/>
                  <a:gd name="T9" fmla="*/ 6 h 7"/>
                  <a:gd name="T10" fmla="*/ 79 w 83"/>
                  <a:gd name="T11" fmla="*/ 7 h 7"/>
                  <a:gd name="T12" fmla="*/ 83 w 83"/>
                  <a:gd name="T13" fmla="*/ 7 h 7"/>
                  <a:gd name="T14" fmla="*/ 79 w 83"/>
                  <a:gd name="T15" fmla="*/ 7 h 7"/>
                  <a:gd name="T16" fmla="*/ 71 w 83"/>
                  <a:gd name="T17" fmla="*/ 7 h 7"/>
                  <a:gd name="T18" fmla="*/ 41 w 83"/>
                  <a:gd name="T19" fmla="*/ 5 h 7"/>
                  <a:gd name="T20" fmla="*/ 12 w 83"/>
                  <a:gd name="T21" fmla="*/ 2 h 7"/>
                  <a:gd name="T22" fmla="*/ 4 w 83"/>
                  <a:gd name="T23" fmla="*/ 1 h 7"/>
                  <a:gd name="T24" fmla="*/ 0 w 83"/>
                  <a:gd name="T2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7">
                    <a:moveTo>
                      <a:pt x="0" y="1"/>
                    </a:moveTo>
                    <a:cubicBezTo>
                      <a:pt x="0" y="0"/>
                      <a:pt x="2" y="0"/>
                      <a:pt x="4" y="1"/>
                    </a:cubicBezTo>
                    <a:cubicBezTo>
                      <a:pt x="6" y="1"/>
                      <a:pt x="9" y="1"/>
                      <a:pt x="12" y="1"/>
                    </a:cubicBezTo>
                    <a:cubicBezTo>
                      <a:pt x="20" y="1"/>
                      <a:pt x="30" y="2"/>
                      <a:pt x="42" y="3"/>
                    </a:cubicBezTo>
                    <a:cubicBezTo>
                      <a:pt x="53" y="4"/>
                      <a:pt x="63" y="5"/>
                      <a:pt x="71" y="6"/>
                    </a:cubicBezTo>
                    <a:cubicBezTo>
                      <a:pt x="74" y="6"/>
                      <a:pt x="77" y="6"/>
                      <a:pt x="79" y="7"/>
                    </a:cubicBezTo>
                    <a:cubicBezTo>
                      <a:pt x="81" y="7"/>
                      <a:pt x="83" y="7"/>
                      <a:pt x="83" y="7"/>
                    </a:cubicBezTo>
                    <a:cubicBezTo>
                      <a:pt x="83" y="7"/>
                      <a:pt x="81" y="7"/>
                      <a:pt x="79" y="7"/>
                    </a:cubicBezTo>
                    <a:cubicBezTo>
                      <a:pt x="77" y="7"/>
                      <a:pt x="74" y="7"/>
                      <a:pt x="71" y="7"/>
                    </a:cubicBezTo>
                    <a:cubicBezTo>
                      <a:pt x="63" y="6"/>
                      <a:pt x="53" y="6"/>
                      <a:pt x="41" y="5"/>
                    </a:cubicBezTo>
                    <a:cubicBezTo>
                      <a:pt x="30" y="4"/>
                      <a:pt x="20" y="3"/>
                      <a:pt x="12" y="2"/>
                    </a:cubicBezTo>
                    <a:cubicBezTo>
                      <a:pt x="9" y="2"/>
                      <a:pt x="6" y="1"/>
                      <a:pt x="4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4EA717D3-992F-4AA4-869F-2EE6F5F46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3190"/>
                <a:ext cx="249" cy="17"/>
              </a:xfrm>
              <a:custGeom>
                <a:avLst/>
                <a:gdLst>
                  <a:gd name="T0" fmla="*/ 0 w 105"/>
                  <a:gd name="T1" fmla="*/ 0 h 7"/>
                  <a:gd name="T2" fmla="*/ 4 w 105"/>
                  <a:gd name="T3" fmla="*/ 0 h 7"/>
                  <a:gd name="T4" fmla="*/ 15 w 105"/>
                  <a:gd name="T5" fmla="*/ 0 h 7"/>
                  <a:gd name="T6" fmla="*/ 53 w 105"/>
                  <a:gd name="T7" fmla="*/ 3 h 7"/>
                  <a:gd name="T8" fmla="*/ 90 w 105"/>
                  <a:gd name="T9" fmla="*/ 6 h 7"/>
                  <a:gd name="T10" fmla="*/ 101 w 105"/>
                  <a:gd name="T11" fmla="*/ 7 h 7"/>
                  <a:gd name="T12" fmla="*/ 105 w 105"/>
                  <a:gd name="T13" fmla="*/ 7 h 7"/>
                  <a:gd name="T14" fmla="*/ 101 w 105"/>
                  <a:gd name="T15" fmla="*/ 7 h 7"/>
                  <a:gd name="T16" fmla="*/ 90 w 105"/>
                  <a:gd name="T17" fmla="*/ 7 h 7"/>
                  <a:gd name="T18" fmla="*/ 53 w 105"/>
                  <a:gd name="T19" fmla="*/ 4 h 7"/>
                  <a:gd name="T20" fmla="*/ 15 w 105"/>
                  <a:gd name="T21" fmla="*/ 1 h 7"/>
                  <a:gd name="T22" fmla="*/ 4 w 105"/>
                  <a:gd name="T23" fmla="*/ 0 h 7"/>
                  <a:gd name="T24" fmla="*/ 0 w 105"/>
                  <a:gd name="T2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7">
                    <a:moveTo>
                      <a:pt x="0" y="0"/>
                    </a:moveTo>
                    <a:cubicBezTo>
                      <a:pt x="0" y="0"/>
                      <a:pt x="1" y="0"/>
                      <a:pt x="4" y="0"/>
                    </a:cubicBezTo>
                    <a:cubicBezTo>
                      <a:pt x="7" y="0"/>
                      <a:pt x="11" y="0"/>
                      <a:pt x="15" y="0"/>
                    </a:cubicBezTo>
                    <a:cubicBezTo>
                      <a:pt x="25" y="1"/>
                      <a:pt x="38" y="2"/>
                      <a:pt x="53" y="3"/>
                    </a:cubicBezTo>
                    <a:cubicBezTo>
                      <a:pt x="67" y="4"/>
                      <a:pt x="80" y="5"/>
                      <a:pt x="90" y="6"/>
                    </a:cubicBezTo>
                    <a:cubicBezTo>
                      <a:pt x="95" y="6"/>
                      <a:pt x="98" y="6"/>
                      <a:pt x="101" y="7"/>
                    </a:cubicBezTo>
                    <a:cubicBezTo>
                      <a:pt x="104" y="7"/>
                      <a:pt x="105" y="7"/>
                      <a:pt x="105" y="7"/>
                    </a:cubicBezTo>
                    <a:cubicBezTo>
                      <a:pt x="105" y="7"/>
                      <a:pt x="104" y="7"/>
                      <a:pt x="101" y="7"/>
                    </a:cubicBezTo>
                    <a:cubicBezTo>
                      <a:pt x="98" y="7"/>
                      <a:pt x="95" y="7"/>
                      <a:pt x="90" y="7"/>
                    </a:cubicBezTo>
                    <a:cubicBezTo>
                      <a:pt x="80" y="6"/>
                      <a:pt x="67" y="5"/>
                      <a:pt x="53" y="4"/>
                    </a:cubicBezTo>
                    <a:cubicBezTo>
                      <a:pt x="38" y="3"/>
                      <a:pt x="25" y="2"/>
                      <a:pt x="15" y="1"/>
                    </a:cubicBezTo>
                    <a:cubicBezTo>
                      <a:pt x="11" y="1"/>
                      <a:pt x="7" y="1"/>
                      <a:pt x="4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9BE88488-4B2E-41F3-9AEC-DCFA38CB4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0" y="2974"/>
                <a:ext cx="137" cy="230"/>
              </a:xfrm>
              <a:custGeom>
                <a:avLst/>
                <a:gdLst>
                  <a:gd name="T0" fmla="*/ 0 w 58"/>
                  <a:gd name="T1" fmla="*/ 97 h 97"/>
                  <a:gd name="T2" fmla="*/ 2 w 58"/>
                  <a:gd name="T3" fmla="*/ 93 h 97"/>
                  <a:gd name="T4" fmla="*/ 9 w 58"/>
                  <a:gd name="T5" fmla="*/ 83 h 97"/>
                  <a:gd name="T6" fmla="*/ 30 w 58"/>
                  <a:gd name="T7" fmla="*/ 49 h 97"/>
                  <a:gd name="T8" fmla="*/ 50 w 58"/>
                  <a:gd name="T9" fmla="*/ 14 h 97"/>
                  <a:gd name="T10" fmla="*/ 56 w 58"/>
                  <a:gd name="T11" fmla="*/ 4 h 97"/>
                  <a:gd name="T12" fmla="*/ 58 w 58"/>
                  <a:gd name="T13" fmla="*/ 0 h 97"/>
                  <a:gd name="T14" fmla="*/ 56 w 58"/>
                  <a:gd name="T15" fmla="*/ 4 h 97"/>
                  <a:gd name="T16" fmla="*/ 51 w 58"/>
                  <a:gd name="T17" fmla="*/ 15 h 97"/>
                  <a:gd name="T18" fmla="*/ 31 w 58"/>
                  <a:gd name="T19" fmla="*/ 50 h 97"/>
                  <a:gd name="T20" fmla="*/ 10 w 58"/>
                  <a:gd name="T21" fmla="*/ 84 h 97"/>
                  <a:gd name="T22" fmla="*/ 3 w 58"/>
                  <a:gd name="T23" fmla="*/ 94 h 97"/>
                  <a:gd name="T24" fmla="*/ 0 w 58"/>
                  <a:gd name="T25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7">
                    <a:moveTo>
                      <a:pt x="0" y="97"/>
                    </a:moveTo>
                    <a:cubicBezTo>
                      <a:pt x="0" y="97"/>
                      <a:pt x="1" y="96"/>
                      <a:pt x="2" y="93"/>
                    </a:cubicBezTo>
                    <a:cubicBezTo>
                      <a:pt x="4" y="91"/>
                      <a:pt x="6" y="87"/>
                      <a:pt x="9" y="83"/>
                    </a:cubicBezTo>
                    <a:cubicBezTo>
                      <a:pt x="14" y="75"/>
                      <a:pt x="22" y="63"/>
                      <a:pt x="30" y="49"/>
                    </a:cubicBezTo>
                    <a:cubicBezTo>
                      <a:pt x="38" y="36"/>
                      <a:pt x="45" y="23"/>
                      <a:pt x="50" y="14"/>
                    </a:cubicBezTo>
                    <a:cubicBezTo>
                      <a:pt x="52" y="10"/>
                      <a:pt x="54" y="6"/>
                      <a:pt x="56" y="4"/>
                    </a:cubicBezTo>
                    <a:cubicBezTo>
                      <a:pt x="57" y="1"/>
                      <a:pt x="58" y="0"/>
                      <a:pt x="58" y="0"/>
                    </a:cubicBezTo>
                    <a:cubicBezTo>
                      <a:pt x="58" y="0"/>
                      <a:pt x="57" y="1"/>
                      <a:pt x="56" y="4"/>
                    </a:cubicBezTo>
                    <a:cubicBezTo>
                      <a:pt x="55" y="7"/>
                      <a:pt x="53" y="10"/>
                      <a:pt x="51" y="15"/>
                    </a:cubicBezTo>
                    <a:cubicBezTo>
                      <a:pt x="46" y="24"/>
                      <a:pt x="39" y="36"/>
                      <a:pt x="31" y="50"/>
                    </a:cubicBezTo>
                    <a:cubicBezTo>
                      <a:pt x="23" y="63"/>
                      <a:pt x="15" y="75"/>
                      <a:pt x="10" y="84"/>
                    </a:cubicBezTo>
                    <a:cubicBezTo>
                      <a:pt x="7" y="88"/>
                      <a:pt x="4" y="91"/>
                      <a:pt x="3" y="94"/>
                    </a:cubicBezTo>
                    <a:cubicBezTo>
                      <a:pt x="1" y="96"/>
                      <a:pt x="0" y="97"/>
                      <a:pt x="0" y="9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17">
                <a:extLst>
                  <a:ext uri="{FF2B5EF4-FFF2-40B4-BE49-F238E27FC236}">
                    <a16:creationId xmlns:a16="http://schemas.microsoft.com/office/drawing/2014/main" id="{077BDA61-D45F-418E-887E-BC48D0219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9" y="-214"/>
                <a:ext cx="50" cy="1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5AAC1676-E7A7-4B57-BF01-12AACC42B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9" y="-205"/>
                <a:ext cx="683" cy="1019"/>
              </a:xfrm>
              <a:custGeom>
                <a:avLst/>
                <a:gdLst>
                  <a:gd name="T0" fmla="*/ 0 w 683"/>
                  <a:gd name="T1" fmla="*/ 0 h 1019"/>
                  <a:gd name="T2" fmla="*/ 0 w 683"/>
                  <a:gd name="T3" fmla="*/ 1019 h 1019"/>
                  <a:gd name="T4" fmla="*/ 0 w 683"/>
                  <a:gd name="T5" fmla="*/ 1019 h 1019"/>
                  <a:gd name="T6" fmla="*/ 683 w 683"/>
                  <a:gd name="T7" fmla="*/ 1019 h 1019"/>
                  <a:gd name="T8" fmla="*/ 683 w 683"/>
                  <a:gd name="T9" fmla="*/ 1019 h 1019"/>
                  <a:gd name="T10" fmla="*/ 683 w 683"/>
                  <a:gd name="T11" fmla="*/ 0 h 1019"/>
                  <a:gd name="T12" fmla="*/ 683 w 683"/>
                  <a:gd name="T13" fmla="*/ 0 h 1019"/>
                  <a:gd name="T14" fmla="*/ 0 w 683"/>
                  <a:gd name="T15" fmla="*/ 0 h 1019"/>
                  <a:gd name="T16" fmla="*/ 0 w 683"/>
                  <a:gd name="T17" fmla="*/ 0 h 10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3" h="1019">
                    <a:moveTo>
                      <a:pt x="0" y="0"/>
                    </a:moveTo>
                    <a:lnTo>
                      <a:pt x="0" y="1019"/>
                    </a:lnTo>
                    <a:lnTo>
                      <a:pt x="0" y="1019"/>
                    </a:lnTo>
                    <a:lnTo>
                      <a:pt x="683" y="1019"/>
                    </a:lnTo>
                    <a:lnTo>
                      <a:pt x="683" y="1019"/>
                    </a:lnTo>
                    <a:lnTo>
                      <a:pt x="683" y="0"/>
                    </a:lnTo>
                    <a:lnTo>
                      <a:pt x="68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D1B798B9-0245-46CC-8180-9C3E8B2399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1" y="-214"/>
                <a:ext cx="701" cy="1035"/>
              </a:xfrm>
              <a:custGeom>
                <a:avLst/>
                <a:gdLst>
                  <a:gd name="T0" fmla="*/ 698 w 701"/>
                  <a:gd name="T1" fmla="*/ 1035 h 1035"/>
                  <a:gd name="T2" fmla="*/ 0 w 701"/>
                  <a:gd name="T3" fmla="*/ 1035 h 1035"/>
                  <a:gd name="T4" fmla="*/ 0 w 701"/>
                  <a:gd name="T5" fmla="*/ 1035 h 1035"/>
                  <a:gd name="T6" fmla="*/ 0 w 701"/>
                  <a:gd name="T7" fmla="*/ 2 h 1035"/>
                  <a:gd name="T8" fmla="*/ 0 w 701"/>
                  <a:gd name="T9" fmla="*/ 0 h 1035"/>
                  <a:gd name="T10" fmla="*/ 698 w 701"/>
                  <a:gd name="T11" fmla="*/ 0 h 1035"/>
                  <a:gd name="T12" fmla="*/ 701 w 701"/>
                  <a:gd name="T13" fmla="*/ 2 h 1035"/>
                  <a:gd name="T14" fmla="*/ 701 w 701"/>
                  <a:gd name="T15" fmla="*/ 1035 h 1035"/>
                  <a:gd name="T16" fmla="*/ 698 w 701"/>
                  <a:gd name="T17" fmla="*/ 1035 h 1035"/>
                  <a:gd name="T18" fmla="*/ 17 w 701"/>
                  <a:gd name="T19" fmla="*/ 1020 h 1035"/>
                  <a:gd name="T20" fmla="*/ 684 w 701"/>
                  <a:gd name="T21" fmla="*/ 1020 h 1035"/>
                  <a:gd name="T22" fmla="*/ 684 w 701"/>
                  <a:gd name="T23" fmla="*/ 1018 h 1035"/>
                  <a:gd name="T24" fmla="*/ 684 w 701"/>
                  <a:gd name="T25" fmla="*/ 16 h 1035"/>
                  <a:gd name="T26" fmla="*/ 684 w 701"/>
                  <a:gd name="T27" fmla="*/ 16 h 1035"/>
                  <a:gd name="T28" fmla="*/ 17 w 701"/>
                  <a:gd name="T29" fmla="*/ 16 h 1035"/>
                  <a:gd name="T30" fmla="*/ 15 w 701"/>
                  <a:gd name="T31" fmla="*/ 16 h 1035"/>
                  <a:gd name="T32" fmla="*/ 15 w 701"/>
                  <a:gd name="T33" fmla="*/ 1018 h 1035"/>
                  <a:gd name="T34" fmla="*/ 17 w 701"/>
                  <a:gd name="T35" fmla="*/ 1020 h 10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01" h="1035">
                    <a:moveTo>
                      <a:pt x="698" y="1035"/>
                    </a:moveTo>
                    <a:lnTo>
                      <a:pt x="0" y="1035"/>
                    </a:lnTo>
                    <a:lnTo>
                      <a:pt x="0" y="103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698" y="0"/>
                    </a:lnTo>
                    <a:lnTo>
                      <a:pt x="701" y="2"/>
                    </a:lnTo>
                    <a:lnTo>
                      <a:pt x="701" y="1035"/>
                    </a:lnTo>
                    <a:lnTo>
                      <a:pt x="698" y="1035"/>
                    </a:lnTo>
                    <a:close/>
                    <a:moveTo>
                      <a:pt x="17" y="1020"/>
                    </a:moveTo>
                    <a:lnTo>
                      <a:pt x="684" y="1020"/>
                    </a:lnTo>
                    <a:lnTo>
                      <a:pt x="684" y="1018"/>
                    </a:lnTo>
                    <a:lnTo>
                      <a:pt x="684" y="16"/>
                    </a:lnTo>
                    <a:lnTo>
                      <a:pt x="684" y="16"/>
                    </a:lnTo>
                    <a:lnTo>
                      <a:pt x="17" y="16"/>
                    </a:lnTo>
                    <a:lnTo>
                      <a:pt x="15" y="16"/>
                    </a:lnTo>
                    <a:lnTo>
                      <a:pt x="15" y="1018"/>
                    </a:lnTo>
                    <a:lnTo>
                      <a:pt x="17" y="102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4B1FE13D-8BA6-4EBB-A72E-80917C8191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7" y="-143"/>
                <a:ext cx="549" cy="892"/>
              </a:xfrm>
              <a:custGeom>
                <a:avLst/>
                <a:gdLst>
                  <a:gd name="T0" fmla="*/ 0 w 549"/>
                  <a:gd name="T1" fmla="*/ 0 h 892"/>
                  <a:gd name="T2" fmla="*/ 0 w 549"/>
                  <a:gd name="T3" fmla="*/ 892 h 892"/>
                  <a:gd name="T4" fmla="*/ 0 w 549"/>
                  <a:gd name="T5" fmla="*/ 892 h 892"/>
                  <a:gd name="T6" fmla="*/ 549 w 549"/>
                  <a:gd name="T7" fmla="*/ 892 h 892"/>
                  <a:gd name="T8" fmla="*/ 549 w 549"/>
                  <a:gd name="T9" fmla="*/ 892 h 892"/>
                  <a:gd name="T10" fmla="*/ 549 w 549"/>
                  <a:gd name="T11" fmla="*/ 0 h 892"/>
                  <a:gd name="T12" fmla="*/ 549 w 549"/>
                  <a:gd name="T13" fmla="*/ 0 h 892"/>
                  <a:gd name="T14" fmla="*/ 0 w 549"/>
                  <a:gd name="T15" fmla="*/ 0 h 892"/>
                  <a:gd name="T16" fmla="*/ 0 w 549"/>
                  <a:gd name="T17" fmla="*/ 0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9" h="892">
                    <a:moveTo>
                      <a:pt x="0" y="0"/>
                    </a:moveTo>
                    <a:lnTo>
                      <a:pt x="0" y="892"/>
                    </a:lnTo>
                    <a:lnTo>
                      <a:pt x="0" y="892"/>
                    </a:lnTo>
                    <a:lnTo>
                      <a:pt x="549" y="892"/>
                    </a:lnTo>
                    <a:lnTo>
                      <a:pt x="549" y="892"/>
                    </a:lnTo>
                    <a:lnTo>
                      <a:pt x="549" y="0"/>
                    </a:lnTo>
                    <a:lnTo>
                      <a:pt x="549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F0EBB7E9-476A-438C-89D0-A714E9B38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6" y="111"/>
                <a:ext cx="309" cy="361"/>
              </a:xfrm>
              <a:custGeom>
                <a:avLst/>
                <a:gdLst>
                  <a:gd name="T0" fmla="*/ 309 w 309"/>
                  <a:gd name="T1" fmla="*/ 361 h 361"/>
                  <a:gd name="T2" fmla="*/ 2 w 309"/>
                  <a:gd name="T3" fmla="*/ 361 h 361"/>
                  <a:gd name="T4" fmla="*/ 0 w 309"/>
                  <a:gd name="T5" fmla="*/ 358 h 361"/>
                  <a:gd name="T6" fmla="*/ 0 w 309"/>
                  <a:gd name="T7" fmla="*/ 0 h 361"/>
                  <a:gd name="T8" fmla="*/ 2 w 309"/>
                  <a:gd name="T9" fmla="*/ 0 h 361"/>
                  <a:gd name="T10" fmla="*/ 309 w 309"/>
                  <a:gd name="T11" fmla="*/ 0 h 361"/>
                  <a:gd name="T12" fmla="*/ 309 w 309"/>
                  <a:gd name="T13" fmla="*/ 0 h 361"/>
                  <a:gd name="T14" fmla="*/ 309 w 309"/>
                  <a:gd name="T15" fmla="*/ 358 h 361"/>
                  <a:gd name="T16" fmla="*/ 309 w 309"/>
                  <a:gd name="T1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9" h="361">
                    <a:moveTo>
                      <a:pt x="309" y="361"/>
                    </a:moveTo>
                    <a:lnTo>
                      <a:pt x="2" y="361"/>
                    </a:lnTo>
                    <a:lnTo>
                      <a:pt x="0" y="35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09" y="0"/>
                    </a:lnTo>
                    <a:lnTo>
                      <a:pt x="309" y="0"/>
                    </a:lnTo>
                    <a:lnTo>
                      <a:pt x="309" y="358"/>
                    </a:lnTo>
                    <a:lnTo>
                      <a:pt x="309" y="36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C957C413-6FDA-4E9D-A8FF-6860C1DA4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" y="142"/>
                <a:ext cx="280" cy="292"/>
              </a:xfrm>
              <a:custGeom>
                <a:avLst/>
                <a:gdLst>
                  <a:gd name="T0" fmla="*/ 118 w 118"/>
                  <a:gd name="T1" fmla="*/ 120 h 123"/>
                  <a:gd name="T2" fmla="*/ 99 w 118"/>
                  <a:gd name="T3" fmla="*/ 122 h 123"/>
                  <a:gd name="T4" fmla="*/ 79 w 118"/>
                  <a:gd name="T5" fmla="*/ 114 h 123"/>
                  <a:gd name="T6" fmla="*/ 63 w 118"/>
                  <a:gd name="T7" fmla="*/ 88 h 123"/>
                  <a:gd name="T8" fmla="*/ 75 w 118"/>
                  <a:gd name="T9" fmla="*/ 54 h 123"/>
                  <a:gd name="T10" fmla="*/ 84 w 118"/>
                  <a:gd name="T11" fmla="*/ 48 h 123"/>
                  <a:gd name="T12" fmla="*/ 96 w 118"/>
                  <a:gd name="T13" fmla="*/ 47 h 123"/>
                  <a:gd name="T14" fmla="*/ 108 w 118"/>
                  <a:gd name="T15" fmla="*/ 52 h 123"/>
                  <a:gd name="T16" fmla="*/ 112 w 118"/>
                  <a:gd name="T17" fmla="*/ 66 h 123"/>
                  <a:gd name="T18" fmla="*/ 106 w 118"/>
                  <a:gd name="T19" fmla="*/ 77 h 123"/>
                  <a:gd name="T20" fmla="*/ 96 w 118"/>
                  <a:gd name="T21" fmla="*/ 85 h 123"/>
                  <a:gd name="T22" fmla="*/ 73 w 118"/>
                  <a:gd name="T23" fmla="*/ 91 h 123"/>
                  <a:gd name="T24" fmla="*/ 48 w 118"/>
                  <a:gd name="T25" fmla="*/ 86 h 123"/>
                  <a:gd name="T26" fmla="*/ 30 w 118"/>
                  <a:gd name="T27" fmla="*/ 67 h 123"/>
                  <a:gd name="T28" fmla="*/ 26 w 118"/>
                  <a:gd name="T29" fmla="*/ 40 h 123"/>
                  <a:gd name="T30" fmla="*/ 40 w 118"/>
                  <a:gd name="T31" fmla="*/ 18 h 123"/>
                  <a:gd name="T32" fmla="*/ 52 w 118"/>
                  <a:gd name="T33" fmla="*/ 12 h 123"/>
                  <a:gd name="T34" fmla="*/ 65 w 118"/>
                  <a:gd name="T35" fmla="*/ 12 h 123"/>
                  <a:gd name="T36" fmla="*/ 77 w 118"/>
                  <a:gd name="T37" fmla="*/ 19 h 123"/>
                  <a:gd name="T38" fmla="*/ 82 w 118"/>
                  <a:gd name="T39" fmla="*/ 31 h 123"/>
                  <a:gd name="T40" fmla="*/ 79 w 118"/>
                  <a:gd name="T41" fmla="*/ 44 h 123"/>
                  <a:gd name="T42" fmla="*/ 71 w 118"/>
                  <a:gd name="T43" fmla="*/ 53 h 123"/>
                  <a:gd name="T44" fmla="*/ 53 w 118"/>
                  <a:gd name="T45" fmla="*/ 62 h 123"/>
                  <a:gd name="T46" fmla="*/ 34 w 118"/>
                  <a:gd name="T47" fmla="*/ 64 h 123"/>
                  <a:gd name="T48" fmla="*/ 17 w 118"/>
                  <a:gd name="T49" fmla="*/ 57 h 123"/>
                  <a:gd name="T50" fmla="*/ 1 w 118"/>
                  <a:gd name="T51" fmla="*/ 32 h 123"/>
                  <a:gd name="T52" fmla="*/ 7 w 118"/>
                  <a:gd name="T53" fmla="*/ 10 h 123"/>
                  <a:gd name="T54" fmla="*/ 18 w 118"/>
                  <a:gd name="T55" fmla="*/ 1 h 123"/>
                  <a:gd name="T56" fmla="*/ 23 w 118"/>
                  <a:gd name="T57" fmla="*/ 0 h 123"/>
                  <a:gd name="T58" fmla="*/ 19 w 118"/>
                  <a:gd name="T59" fmla="*/ 3 h 123"/>
                  <a:gd name="T60" fmla="*/ 10 w 118"/>
                  <a:gd name="T61" fmla="*/ 12 h 123"/>
                  <a:gd name="T62" fmla="*/ 7 w 118"/>
                  <a:gd name="T63" fmla="*/ 31 h 123"/>
                  <a:gd name="T64" fmla="*/ 21 w 118"/>
                  <a:gd name="T65" fmla="*/ 51 h 123"/>
                  <a:gd name="T66" fmla="*/ 50 w 118"/>
                  <a:gd name="T67" fmla="*/ 54 h 123"/>
                  <a:gd name="T68" fmla="*/ 65 w 118"/>
                  <a:gd name="T69" fmla="*/ 45 h 123"/>
                  <a:gd name="T70" fmla="*/ 72 w 118"/>
                  <a:gd name="T71" fmla="*/ 32 h 123"/>
                  <a:gd name="T72" fmla="*/ 63 w 118"/>
                  <a:gd name="T73" fmla="*/ 22 h 123"/>
                  <a:gd name="T74" fmla="*/ 55 w 118"/>
                  <a:gd name="T75" fmla="*/ 22 h 123"/>
                  <a:gd name="T76" fmla="*/ 47 w 118"/>
                  <a:gd name="T77" fmla="*/ 26 h 123"/>
                  <a:gd name="T78" fmla="*/ 37 w 118"/>
                  <a:gd name="T79" fmla="*/ 43 h 123"/>
                  <a:gd name="T80" fmla="*/ 39 w 118"/>
                  <a:gd name="T81" fmla="*/ 62 h 123"/>
                  <a:gd name="T82" fmla="*/ 53 w 118"/>
                  <a:gd name="T83" fmla="*/ 76 h 123"/>
                  <a:gd name="T84" fmla="*/ 72 w 118"/>
                  <a:gd name="T85" fmla="*/ 81 h 123"/>
                  <a:gd name="T86" fmla="*/ 91 w 118"/>
                  <a:gd name="T87" fmla="*/ 76 h 123"/>
                  <a:gd name="T88" fmla="*/ 99 w 118"/>
                  <a:gd name="T89" fmla="*/ 70 h 123"/>
                  <a:gd name="T90" fmla="*/ 102 w 118"/>
                  <a:gd name="T91" fmla="*/ 64 h 123"/>
                  <a:gd name="T92" fmla="*/ 101 w 118"/>
                  <a:gd name="T93" fmla="*/ 59 h 123"/>
                  <a:gd name="T94" fmla="*/ 95 w 118"/>
                  <a:gd name="T95" fmla="*/ 56 h 123"/>
                  <a:gd name="T96" fmla="*/ 87 w 118"/>
                  <a:gd name="T97" fmla="*/ 57 h 123"/>
                  <a:gd name="T98" fmla="*/ 80 w 118"/>
                  <a:gd name="T99" fmla="*/ 61 h 123"/>
                  <a:gd name="T100" fmla="*/ 72 w 118"/>
                  <a:gd name="T101" fmla="*/ 73 h 123"/>
                  <a:gd name="T102" fmla="*/ 70 w 118"/>
                  <a:gd name="T103" fmla="*/ 87 h 123"/>
                  <a:gd name="T104" fmla="*/ 82 w 118"/>
                  <a:gd name="T105" fmla="*/ 109 h 123"/>
                  <a:gd name="T106" fmla="*/ 100 w 118"/>
                  <a:gd name="T107" fmla="*/ 118 h 123"/>
                  <a:gd name="T108" fmla="*/ 118 w 118"/>
                  <a:gd name="T109" fmla="*/ 12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123">
                    <a:moveTo>
                      <a:pt x="118" y="120"/>
                    </a:moveTo>
                    <a:cubicBezTo>
                      <a:pt x="118" y="121"/>
                      <a:pt x="112" y="123"/>
                      <a:pt x="99" y="122"/>
                    </a:cubicBezTo>
                    <a:cubicBezTo>
                      <a:pt x="93" y="121"/>
                      <a:pt x="86" y="119"/>
                      <a:pt x="79" y="114"/>
                    </a:cubicBezTo>
                    <a:cubicBezTo>
                      <a:pt x="72" y="108"/>
                      <a:pt x="65" y="100"/>
                      <a:pt x="63" y="88"/>
                    </a:cubicBezTo>
                    <a:cubicBezTo>
                      <a:pt x="60" y="77"/>
                      <a:pt x="64" y="63"/>
                      <a:pt x="75" y="54"/>
                    </a:cubicBezTo>
                    <a:cubicBezTo>
                      <a:pt x="78" y="52"/>
                      <a:pt x="81" y="50"/>
                      <a:pt x="84" y="48"/>
                    </a:cubicBezTo>
                    <a:cubicBezTo>
                      <a:pt x="88" y="47"/>
                      <a:pt x="92" y="47"/>
                      <a:pt x="96" y="47"/>
                    </a:cubicBezTo>
                    <a:cubicBezTo>
                      <a:pt x="100" y="47"/>
                      <a:pt x="104" y="49"/>
                      <a:pt x="108" y="52"/>
                    </a:cubicBezTo>
                    <a:cubicBezTo>
                      <a:pt x="111" y="55"/>
                      <a:pt x="113" y="61"/>
                      <a:pt x="112" y="66"/>
                    </a:cubicBezTo>
                    <a:cubicBezTo>
                      <a:pt x="111" y="71"/>
                      <a:pt x="109" y="74"/>
                      <a:pt x="106" y="77"/>
                    </a:cubicBezTo>
                    <a:cubicBezTo>
                      <a:pt x="103" y="80"/>
                      <a:pt x="99" y="83"/>
                      <a:pt x="96" y="85"/>
                    </a:cubicBezTo>
                    <a:cubicBezTo>
                      <a:pt x="89" y="88"/>
                      <a:pt x="81" y="91"/>
                      <a:pt x="73" y="91"/>
                    </a:cubicBezTo>
                    <a:cubicBezTo>
                      <a:pt x="64" y="92"/>
                      <a:pt x="56" y="90"/>
                      <a:pt x="48" y="86"/>
                    </a:cubicBezTo>
                    <a:cubicBezTo>
                      <a:pt x="40" y="81"/>
                      <a:pt x="34" y="75"/>
                      <a:pt x="30" y="67"/>
                    </a:cubicBezTo>
                    <a:cubicBezTo>
                      <a:pt x="25" y="59"/>
                      <a:pt x="24" y="49"/>
                      <a:pt x="26" y="40"/>
                    </a:cubicBezTo>
                    <a:cubicBezTo>
                      <a:pt x="28" y="31"/>
                      <a:pt x="33" y="24"/>
                      <a:pt x="40" y="18"/>
                    </a:cubicBezTo>
                    <a:cubicBezTo>
                      <a:pt x="44" y="16"/>
                      <a:pt x="48" y="14"/>
                      <a:pt x="52" y="12"/>
                    </a:cubicBezTo>
                    <a:cubicBezTo>
                      <a:pt x="56" y="11"/>
                      <a:pt x="61" y="11"/>
                      <a:pt x="65" y="12"/>
                    </a:cubicBezTo>
                    <a:cubicBezTo>
                      <a:pt x="70" y="13"/>
                      <a:pt x="74" y="15"/>
                      <a:pt x="77" y="19"/>
                    </a:cubicBezTo>
                    <a:cubicBezTo>
                      <a:pt x="80" y="22"/>
                      <a:pt x="82" y="27"/>
                      <a:pt x="82" y="31"/>
                    </a:cubicBezTo>
                    <a:cubicBezTo>
                      <a:pt x="82" y="36"/>
                      <a:pt x="81" y="40"/>
                      <a:pt x="79" y="44"/>
                    </a:cubicBezTo>
                    <a:cubicBezTo>
                      <a:pt x="77" y="47"/>
                      <a:pt x="74" y="50"/>
                      <a:pt x="71" y="53"/>
                    </a:cubicBezTo>
                    <a:cubicBezTo>
                      <a:pt x="66" y="57"/>
                      <a:pt x="59" y="60"/>
                      <a:pt x="53" y="62"/>
                    </a:cubicBezTo>
                    <a:cubicBezTo>
                      <a:pt x="47" y="64"/>
                      <a:pt x="40" y="65"/>
                      <a:pt x="34" y="64"/>
                    </a:cubicBezTo>
                    <a:cubicBezTo>
                      <a:pt x="27" y="63"/>
                      <a:pt x="22" y="61"/>
                      <a:pt x="17" y="57"/>
                    </a:cubicBezTo>
                    <a:cubicBezTo>
                      <a:pt x="7" y="51"/>
                      <a:pt x="2" y="41"/>
                      <a:pt x="1" y="32"/>
                    </a:cubicBezTo>
                    <a:cubicBezTo>
                      <a:pt x="0" y="23"/>
                      <a:pt x="3" y="15"/>
                      <a:pt x="7" y="10"/>
                    </a:cubicBezTo>
                    <a:cubicBezTo>
                      <a:pt x="11" y="5"/>
                      <a:pt x="15" y="2"/>
                      <a:pt x="18" y="1"/>
                    </a:cubicBezTo>
                    <a:cubicBezTo>
                      <a:pt x="21" y="0"/>
                      <a:pt x="23" y="0"/>
                      <a:pt x="23" y="0"/>
                    </a:cubicBezTo>
                    <a:cubicBezTo>
                      <a:pt x="23" y="1"/>
                      <a:pt x="21" y="2"/>
                      <a:pt x="19" y="3"/>
                    </a:cubicBezTo>
                    <a:cubicBezTo>
                      <a:pt x="16" y="5"/>
                      <a:pt x="13" y="8"/>
                      <a:pt x="10" y="12"/>
                    </a:cubicBezTo>
                    <a:cubicBezTo>
                      <a:pt x="8" y="17"/>
                      <a:pt x="5" y="24"/>
                      <a:pt x="7" y="31"/>
                    </a:cubicBezTo>
                    <a:cubicBezTo>
                      <a:pt x="8" y="38"/>
                      <a:pt x="13" y="46"/>
                      <a:pt x="21" y="51"/>
                    </a:cubicBezTo>
                    <a:cubicBezTo>
                      <a:pt x="29" y="56"/>
                      <a:pt x="40" y="57"/>
                      <a:pt x="50" y="54"/>
                    </a:cubicBezTo>
                    <a:cubicBezTo>
                      <a:pt x="56" y="52"/>
                      <a:pt x="61" y="49"/>
                      <a:pt x="65" y="45"/>
                    </a:cubicBezTo>
                    <a:cubicBezTo>
                      <a:pt x="69" y="42"/>
                      <a:pt x="72" y="37"/>
                      <a:pt x="72" y="32"/>
                    </a:cubicBezTo>
                    <a:cubicBezTo>
                      <a:pt x="72" y="27"/>
                      <a:pt x="69" y="23"/>
                      <a:pt x="63" y="22"/>
                    </a:cubicBezTo>
                    <a:cubicBezTo>
                      <a:pt x="61" y="21"/>
                      <a:pt x="57" y="22"/>
                      <a:pt x="55" y="22"/>
                    </a:cubicBezTo>
                    <a:cubicBezTo>
                      <a:pt x="52" y="23"/>
                      <a:pt x="49" y="25"/>
                      <a:pt x="47" y="26"/>
                    </a:cubicBezTo>
                    <a:cubicBezTo>
                      <a:pt x="42" y="30"/>
                      <a:pt x="38" y="36"/>
                      <a:pt x="37" y="43"/>
                    </a:cubicBezTo>
                    <a:cubicBezTo>
                      <a:pt x="35" y="49"/>
                      <a:pt x="36" y="56"/>
                      <a:pt x="39" y="62"/>
                    </a:cubicBezTo>
                    <a:cubicBezTo>
                      <a:pt x="42" y="68"/>
                      <a:pt x="47" y="73"/>
                      <a:pt x="53" y="76"/>
                    </a:cubicBezTo>
                    <a:cubicBezTo>
                      <a:pt x="59" y="80"/>
                      <a:pt x="66" y="81"/>
                      <a:pt x="72" y="81"/>
                    </a:cubicBezTo>
                    <a:cubicBezTo>
                      <a:pt x="79" y="80"/>
                      <a:pt x="85" y="79"/>
                      <a:pt x="91" y="76"/>
                    </a:cubicBezTo>
                    <a:cubicBezTo>
                      <a:pt x="94" y="74"/>
                      <a:pt x="97" y="72"/>
                      <a:pt x="99" y="70"/>
                    </a:cubicBezTo>
                    <a:cubicBezTo>
                      <a:pt x="101" y="68"/>
                      <a:pt x="102" y="66"/>
                      <a:pt x="102" y="64"/>
                    </a:cubicBezTo>
                    <a:cubicBezTo>
                      <a:pt x="103" y="62"/>
                      <a:pt x="102" y="60"/>
                      <a:pt x="101" y="59"/>
                    </a:cubicBezTo>
                    <a:cubicBezTo>
                      <a:pt x="100" y="58"/>
                      <a:pt x="97" y="57"/>
                      <a:pt x="95" y="56"/>
                    </a:cubicBezTo>
                    <a:cubicBezTo>
                      <a:pt x="92" y="56"/>
                      <a:pt x="90" y="56"/>
                      <a:pt x="87" y="57"/>
                    </a:cubicBezTo>
                    <a:cubicBezTo>
                      <a:pt x="85" y="58"/>
                      <a:pt x="83" y="59"/>
                      <a:pt x="80" y="61"/>
                    </a:cubicBezTo>
                    <a:cubicBezTo>
                      <a:pt x="76" y="64"/>
                      <a:pt x="73" y="68"/>
                      <a:pt x="72" y="73"/>
                    </a:cubicBezTo>
                    <a:cubicBezTo>
                      <a:pt x="70" y="78"/>
                      <a:pt x="69" y="82"/>
                      <a:pt x="70" y="87"/>
                    </a:cubicBezTo>
                    <a:cubicBezTo>
                      <a:pt x="71" y="96"/>
                      <a:pt x="77" y="104"/>
                      <a:pt x="82" y="109"/>
                    </a:cubicBezTo>
                    <a:cubicBezTo>
                      <a:pt x="88" y="114"/>
                      <a:pt x="95" y="116"/>
                      <a:pt x="100" y="118"/>
                    </a:cubicBezTo>
                    <a:cubicBezTo>
                      <a:pt x="111" y="120"/>
                      <a:pt x="118" y="119"/>
                      <a:pt x="118" y="12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Rectangle 23">
                <a:extLst>
                  <a:ext uri="{FF2B5EF4-FFF2-40B4-BE49-F238E27FC236}">
                    <a16:creationId xmlns:a16="http://schemas.microsoft.com/office/drawing/2014/main" id="{0CE60BF0-65BB-48CF-BB94-5C6ACAD31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" y="194"/>
                <a:ext cx="684" cy="113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Rectangle 24">
                <a:extLst>
                  <a:ext uri="{FF2B5EF4-FFF2-40B4-BE49-F238E27FC236}">
                    <a16:creationId xmlns:a16="http://schemas.microsoft.com/office/drawing/2014/main" id="{C5734EFA-7CD6-467A-BD25-2A98C1941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" y="194"/>
                <a:ext cx="686" cy="1132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Rectangle 25">
                <a:extLst>
                  <a:ext uri="{FF2B5EF4-FFF2-40B4-BE49-F238E27FC236}">
                    <a16:creationId xmlns:a16="http://schemas.microsoft.com/office/drawing/2014/main" id="{406EEA52-89BC-403B-8593-294F2E184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5" y="218"/>
                <a:ext cx="627" cy="108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Rectangle 26">
                <a:extLst>
                  <a:ext uri="{FF2B5EF4-FFF2-40B4-BE49-F238E27FC236}">
                    <a16:creationId xmlns:a16="http://schemas.microsoft.com/office/drawing/2014/main" id="{ED14BBE2-C405-40E7-8EF0-E5A0F900AD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" y="358"/>
                <a:ext cx="385" cy="80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44B10BA4-AAFC-46A4-9F92-1BCDEF8D7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" y="581"/>
                <a:ext cx="389" cy="582"/>
              </a:xfrm>
              <a:custGeom>
                <a:avLst/>
                <a:gdLst>
                  <a:gd name="T0" fmla="*/ 1 w 164"/>
                  <a:gd name="T1" fmla="*/ 125 h 245"/>
                  <a:gd name="T2" fmla="*/ 60 w 164"/>
                  <a:gd name="T3" fmla="*/ 58 h 245"/>
                  <a:gd name="T4" fmla="*/ 105 w 164"/>
                  <a:gd name="T5" fmla="*/ 53 h 245"/>
                  <a:gd name="T6" fmla="*/ 163 w 164"/>
                  <a:gd name="T7" fmla="*/ 0 h 245"/>
                  <a:gd name="T8" fmla="*/ 164 w 164"/>
                  <a:gd name="T9" fmla="*/ 245 h 245"/>
                  <a:gd name="T10" fmla="*/ 1 w 164"/>
                  <a:gd name="T11" fmla="*/ 245 h 245"/>
                  <a:gd name="T12" fmla="*/ 1 w 164"/>
                  <a:gd name="T13" fmla="*/ 12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" h="245">
                    <a:moveTo>
                      <a:pt x="1" y="125"/>
                    </a:moveTo>
                    <a:cubicBezTo>
                      <a:pt x="0" y="94"/>
                      <a:pt x="29" y="63"/>
                      <a:pt x="60" y="58"/>
                    </a:cubicBezTo>
                    <a:cubicBezTo>
                      <a:pt x="75" y="56"/>
                      <a:pt x="91" y="59"/>
                      <a:pt x="105" y="53"/>
                    </a:cubicBezTo>
                    <a:cubicBezTo>
                      <a:pt x="130" y="43"/>
                      <a:pt x="138" y="10"/>
                      <a:pt x="163" y="0"/>
                    </a:cubicBezTo>
                    <a:cubicBezTo>
                      <a:pt x="164" y="245"/>
                      <a:pt x="164" y="245"/>
                      <a:pt x="164" y="245"/>
                    </a:cubicBezTo>
                    <a:cubicBezTo>
                      <a:pt x="1" y="245"/>
                      <a:pt x="1" y="245"/>
                      <a:pt x="1" y="245"/>
                    </a:cubicBezTo>
                    <a:lnTo>
                      <a:pt x="1" y="125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Rectangle 28">
                <a:extLst>
                  <a:ext uri="{FF2B5EF4-FFF2-40B4-BE49-F238E27FC236}">
                    <a16:creationId xmlns:a16="http://schemas.microsoft.com/office/drawing/2014/main" id="{F3AA1E2C-5C00-4865-B6C6-CD7E16D1A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" y="-141"/>
                <a:ext cx="2179" cy="218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29">
                <a:extLst>
                  <a:ext uri="{FF2B5EF4-FFF2-40B4-BE49-F238E27FC236}">
                    <a16:creationId xmlns:a16="http://schemas.microsoft.com/office/drawing/2014/main" id="{EED25964-C151-4581-81A1-89116A27C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" y="-141"/>
                <a:ext cx="2179" cy="2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6ECFB39C-39A9-42E4-982A-DFDEC06B5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0" y="-143"/>
                <a:ext cx="2184" cy="2184"/>
              </a:xfrm>
              <a:custGeom>
                <a:avLst/>
                <a:gdLst>
                  <a:gd name="T0" fmla="*/ 919 w 920"/>
                  <a:gd name="T1" fmla="*/ 919 h 920"/>
                  <a:gd name="T2" fmla="*/ 918 w 920"/>
                  <a:gd name="T3" fmla="*/ 1 h 920"/>
                  <a:gd name="T4" fmla="*/ 919 w 920"/>
                  <a:gd name="T5" fmla="*/ 2 h 920"/>
                  <a:gd name="T6" fmla="*/ 1 w 920"/>
                  <a:gd name="T7" fmla="*/ 2 h 920"/>
                  <a:gd name="T8" fmla="*/ 1 w 920"/>
                  <a:gd name="T9" fmla="*/ 2 h 920"/>
                  <a:gd name="T10" fmla="*/ 2 w 920"/>
                  <a:gd name="T11" fmla="*/ 1 h 920"/>
                  <a:gd name="T12" fmla="*/ 2 w 920"/>
                  <a:gd name="T13" fmla="*/ 919 h 920"/>
                  <a:gd name="T14" fmla="*/ 1 w 920"/>
                  <a:gd name="T15" fmla="*/ 918 h 920"/>
                  <a:gd name="T16" fmla="*/ 919 w 920"/>
                  <a:gd name="T17" fmla="*/ 919 h 920"/>
                  <a:gd name="T18" fmla="*/ 1 w 920"/>
                  <a:gd name="T19" fmla="*/ 920 h 920"/>
                  <a:gd name="T20" fmla="*/ 0 w 920"/>
                  <a:gd name="T21" fmla="*/ 920 h 920"/>
                  <a:gd name="T22" fmla="*/ 0 w 920"/>
                  <a:gd name="T23" fmla="*/ 919 h 920"/>
                  <a:gd name="T24" fmla="*/ 0 w 920"/>
                  <a:gd name="T25" fmla="*/ 1 h 920"/>
                  <a:gd name="T26" fmla="*/ 0 w 920"/>
                  <a:gd name="T27" fmla="*/ 0 h 920"/>
                  <a:gd name="T28" fmla="*/ 1 w 920"/>
                  <a:gd name="T29" fmla="*/ 0 h 920"/>
                  <a:gd name="T30" fmla="*/ 1 w 920"/>
                  <a:gd name="T31" fmla="*/ 0 h 920"/>
                  <a:gd name="T32" fmla="*/ 919 w 920"/>
                  <a:gd name="T33" fmla="*/ 0 h 920"/>
                  <a:gd name="T34" fmla="*/ 920 w 920"/>
                  <a:gd name="T35" fmla="*/ 0 h 920"/>
                  <a:gd name="T36" fmla="*/ 920 w 920"/>
                  <a:gd name="T37" fmla="*/ 1 h 920"/>
                  <a:gd name="T38" fmla="*/ 919 w 920"/>
                  <a:gd name="T39" fmla="*/ 919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20" h="920">
                    <a:moveTo>
                      <a:pt x="919" y="919"/>
                    </a:moveTo>
                    <a:cubicBezTo>
                      <a:pt x="919" y="911"/>
                      <a:pt x="919" y="551"/>
                      <a:pt x="918" y="1"/>
                    </a:cubicBezTo>
                    <a:cubicBezTo>
                      <a:pt x="919" y="2"/>
                      <a:pt x="919" y="2"/>
                      <a:pt x="919" y="2"/>
                    </a:cubicBezTo>
                    <a:cubicBezTo>
                      <a:pt x="652" y="2"/>
                      <a:pt x="337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337"/>
                      <a:pt x="2" y="652"/>
                      <a:pt x="2" y="919"/>
                    </a:cubicBezTo>
                    <a:cubicBezTo>
                      <a:pt x="1" y="918"/>
                      <a:pt x="1" y="918"/>
                      <a:pt x="1" y="918"/>
                    </a:cubicBezTo>
                    <a:cubicBezTo>
                      <a:pt x="551" y="919"/>
                      <a:pt x="911" y="919"/>
                      <a:pt x="919" y="919"/>
                    </a:cubicBezTo>
                    <a:cubicBezTo>
                      <a:pt x="911" y="919"/>
                      <a:pt x="551" y="919"/>
                      <a:pt x="1" y="920"/>
                    </a:cubicBezTo>
                    <a:cubicBezTo>
                      <a:pt x="0" y="920"/>
                      <a:pt x="0" y="920"/>
                      <a:pt x="0" y="920"/>
                    </a:cubicBezTo>
                    <a:cubicBezTo>
                      <a:pt x="0" y="919"/>
                      <a:pt x="0" y="919"/>
                      <a:pt x="0" y="919"/>
                    </a:cubicBezTo>
                    <a:cubicBezTo>
                      <a:pt x="0" y="652"/>
                      <a:pt x="0" y="337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337" y="0"/>
                      <a:pt x="652" y="0"/>
                      <a:pt x="919" y="0"/>
                    </a:cubicBezTo>
                    <a:cubicBezTo>
                      <a:pt x="920" y="0"/>
                      <a:pt x="920" y="0"/>
                      <a:pt x="920" y="0"/>
                    </a:cubicBezTo>
                    <a:cubicBezTo>
                      <a:pt x="920" y="1"/>
                      <a:pt x="920" y="1"/>
                      <a:pt x="920" y="1"/>
                    </a:cubicBezTo>
                    <a:cubicBezTo>
                      <a:pt x="920" y="551"/>
                      <a:pt x="919" y="911"/>
                      <a:pt x="919" y="91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562F993D-CF57-4AD2-B96F-7177CF7C18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9" y="-167"/>
                <a:ext cx="2265" cy="126"/>
              </a:xfrm>
              <a:prstGeom prst="rect">
                <a:avLst/>
              </a:prstGeom>
              <a:solidFill>
                <a:srgbClr val="444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Oval 32">
                <a:extLst>
                  <a:ext uri="{FF2B5EF4-FFF2-40B4-BE49-F238E27FC236}">
                    <a16:creationId xmlns:a16="http://schemas.microsoft.com/office/drawing/2014/main" id="{A445809A-F78C-46D7-B1D5-077E58B4E3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3375"/>
                <a:ext cx="445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23380B3D-F483-426E-AC27-A438FCB47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" y="2540"/>
                <a:ext cx="185" cy="73"/>
              </a:xfrm>
              <a:custGeom>
                <a:avLst/>
                <a:gdLst>
                  <a:gd name="T0" fmla="*/ 78 w 78"/>
                  <a:gd name="T1" fmla="*/ 19 h 31"/>
                  <a:gd name="T2" fmla="*/ 27 w 78"/>
                  <a:gd name="T3" fmla="*/ 1 h 31"/>
                  <a:gd name="T4" fmla="*/ 3 w 78"/>
                  <a:gd name="T5" fmla="*/ 5 h 31"/>
                  <a:gd name="T6" fmla="*/ 1 w 78"/>
                  <a:gd name="T7" fmla="*/ 10 h 31"/>
                  <a:gd name="T8" fmla="*/ 3 w 78"/>
                  <a:gd name="T9" fmla="*/ 13 h 31"/>
                  <a:gd name="T10" fmla="*/ 78 w 78"/>
                  <a:gd name="T1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8" h="31">
                    <a:moveTo>
                      <a:pt x="78" y="19"/>
                    </a:moveTo>
                    <a:cubicBezTo>
                      <a:pt x="63" y="9"/>
                      <a:pt x="45" y="3"/>
                      <a:pt x="27" y="1"/>
                    </a:cubicBezTo>
                    <a:cubicBezTo>
                      <a:pt x="19" y="0"/>
                      <a:pt x="10" y="0"/>
                      <a:pt x="3" y="5"/>
                    </a:cubicBezTo>
                    <a:cubicBezTo>
                      <a:pt x="2" y="6"/>
                      <a:pt x="0" y="8"/>
                      <a:pt x="1" y="10"/>
                    </a:cubicBezTo>
                    <a:cubicBezTo>
                      <a:pt x="1" y="11"/>
                      <a:pt x="2" y="12"/>
                      <a:pt x="3" y="13"/>
                    </a:cubicBezTo>
                    <a:cubicBezTo>
                      <a:pt x="24" y="29"/>
                      <a:pt x="55" y="31"/>
                      <a:pt x="78" y="1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C367255A-2A3C-41EC-A9FF-11A081B5ED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" y="2390"/>
                <a:ext cx="131" cy="190"/>
              </a:xfrm>
              <a:custGeom>
                <a:avLst/>
                <a:gdLst>
                  <a:gd name="T0" fmla="*/ 55 w 55"/>
                  <a:gd name="T1" fmla="*/ 80 h 80"/>
                  <a:gd name="T2" fmla="*/ 22 w 55"/>
                  <a:gd name="T3" fmla="*/ 51 h 80"/>
                  <a:gd name="T4" fmla="*/ 1 w 55"/>
                  <a:gd name="T5" fmla="*/ 13 h 80"/>
                  <a:gd name="T6" fmla="*/ 3 w 55"/>
                  <a:gd name="T7" fmla="*/ 0 h 80"/>
                  <a:gd name="T8" fmla="*/ 55 w 55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80">
                    <a:moveTo>
                      <a:pt x="55" y="80"/>
                    </a:moveTo>
                    <a:cubicBezTo>
                      <a:pt x="44" y="71"/>
                      <a:pt x="32" y="62"/>
                      <a:pt x="22" y="51"/>
                    </a:cubicBezTo>
                    <a:cubicBezTo>
                      <a:pt x="12" y="40"/>
                      <a:pt x="4" y="27"/>
                      <a:pt x="1" y="13"/>
                    </a:cubicBezTo>
                    <a:cubicBezTo>
                      <a:pt x="1" y="9"/>
                      <a:pt x="0" y="4"/>
                      <a:pt x="3" y="0"/>
                    </a:cubicBezTo>
                    <a:cubicBezTo>
                      <a:pt x="29" y="21"/>
                      <a:pt x="50" y="47"/>
                      <a:pt x="55" y="8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D1EB3699-BF05-4D8D-A568-1E66B5901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" y="2395"/>
                <a:ext cx="73" cy="194"/>
              </a:xfrm>
              <a:custGeom>
                <a:avLst/>
                <a:gdLst>
                  <a:gd name="T0" fmla="*/ 3 w 31"/>
                  <a:gd name="T1" fmla="*/ 79 h 82"/>
                  <a:gd name="T2" fmla="*/ 4 w 31"/>
                  <a:gd name="T3" fmla="*/ 36 h 82"/>
                  <a:gd name="T4" fmla="*/ 27 w 31"/>
                  <a:gd name="T5" fmla="*/ 0 h 82"/>
                  <a:gd name="T6" fmla="*/ 26 w 31"/>
                  <a:gd name="T7" fmla="*/ 34 h 82"/>
                  <a:gd name="T8" fmla="*/ 3 w 31"/>
                  <a:gd name="T9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82">
                    <a:moveTo>
                      <a:pt x="3" y="79"/>
                    </a:moveTo>
                    <a:cubicBezTo>
                      <a:pt x="1" y="65"/>
                      <a:pt x="0" y="50"/>
                      <a:pt x="4" y="36"/>
                    </a:cubicBezTo>
                    <a:cubicBezTo>
                      <a:pt x="7" y="22"/>
                      <a:pt x="15" y="8"/>
                      <a:pt x="27" y="0"/>
                    </a:cubicBezTo>
                    <a:cubicBezTo>
                      <a:pt x="31" y="11"/>
                      <a:pt x="29" y="23"/>
                      <a:pt x="26" y="34"/>
                    </a:cubicBezTo>
                    <a:cubicBezTo>
                      <a:pt x="21" y="51"/>
                      <a:pt x="13" y="68"/>
                      <a:pt x="3" y="8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43DF72A7-3590-436D-884E-C76029EDF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" y="2692"/>
                <a:ext cx="152" cy="144"/>
              </a:xfrm>
              <a:custGeom>
                <a:avLst/>
                <a:gdLst>
                  <a:gd name="T0" fmla="*/ 64 w 64"/>
                  <a:gd name="T1" fmla="*/ 0 h 61"/>
                  <a:gd name="T2" fmla="*/ 23 w 64"/>
                  <a:gd name="T3" fmla="*/ 21 h 61"/>
                  <a:gd name="T4" fmla="*/ 0 w 64"/>
                  <a:gd name="T5" fmla="*/ 61 h 61"/>
                  <a:gd name="T6" fmla="*/ 37 w 64"/>
                  <a:gd name="T7" fmla="*/ 37 h 61"/>
                  <a:gd name="T8" fmla="*/ 64 w 64"/>
                  <a:gd name="T9" fmla="*/ 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64" y="0"/>
                    </a:moveTo>
                    <a:cubicBezTo>
                      <a:pt x="48" y="2"/>
                      <a:pt x="35" y="11"/>
                      <a:pt x="23" y="21"/>
                    </a:cubicBezTo>
                    <a:cubicBezTo>
                      <a:pt x="11" y="32"/>
                      <a:pt x="3" y="46"/>
                      <a:pt x="0" y="61"/>
                    </a:cubicBezTo>
                    <a:cubicBezTo>
                      <a:pt x="15" y="60"/>
                      <a:pt x="28" y="50"/>
                      <a:pt x="37" y="37"/>
                    </a:cubicBezTo>
                    <a:cubicBezTo>
                      <a:pt x="47" y="25"/>
                      <a:pt x="53" y="12"/>
                      <a:pt x="64" y="1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9998A459-8098-43C2-9E3F-CACA76676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" y="2483"/>
                <a:ext cx="78" cy="228"/>
              </a:xfrm>
              <a:custGeom>
                <a:avLst/>
                <a:gdLst>
                  <a:gd name="T0" fmla="*/ 12 w 33"/>
                  <a:gd name="T1" fmla="*/ 96 h 96"/>
                  <a:gd name="T2" fmla="*/ 24 w 33"/>
                  <a:gd name="T3" fmla="*/ 0 h 96"/>
                  <a:gd name="T4" fmla="*/ 12 w 33"/>
                  <a:gd name="T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96">
                    <a:moveTo>
                      <a:pt x="12" y="96"/>
                    </a:moveTo>
                    <a:cubicBezTo>
                      <a:pt x="0" y="65"/>
                      <a:pt x="4" y="27"/>
                      <a:pt x="24" y="0"/>
                    </a:cubicBezTo>
                    <a:cubicBezTo>
                      <a:pt x="33" y="32"/>
                      <a:pt x="30" y="68"/>
                      <a:pt x="12" y="9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1C878D44-B90C-4DD2-8A50-8A72DCB8E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" y="2803"/>
                <a:ext cx="171" cy="114"/>
              </a:xfrm>
              <a:custGeom>
                <a:avLst/>
                <a:gdLst>
                  <a:gd name="T0" fmla="*/ 71 w 72"/>
                  <a:gd name="T1" fmla="*/ 1 h 48"/>
                  <a:gd name="T2" fmla="*/ 31 w 72"/>
                  <a:gd name="T3" fmla="*/ 11 h 48"/>
                  <a:gd name="T4" fmla="*/ 2 w 72"/>
                  <a:gd name="T5" fmla="*/ 42 h 48"/>
                  <a:gd name="T6" fmla="*/ 1 w 72"/>
                  <a:gd name="T7" fmla="*/ 47 h 48"/>
                  <a:gd name="T8" fmla="*/ 6 w 72"/>
                  <a:gd name="T9" fmla="*/ 48 h 48"/>
                  <a:gd name="T10" fmla="*/ 42 w 72"/>
                  <a:gd name="T11" fmla="*/ 30 h 48"/>
                  <a:gd name="T12" fmla="*/ 72 w 72"/>
                  <a:gd name="T13" fmla="*/ 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48">
                    <a:moveTo>
                      <a:pt x="71" y="1"/>
                    </a:moveTo>
                    <a:cubicBezTo>
                      <a:pt x="57" y="0"/>
                      <a:pt x="43" y="4"/>
                      <a:pt x="31" y="11"/>
                    </a:cubicBezTo>
                    <a:cubicBezTo>
                      <a:pt x="18" y="18"/>
                      <a:pt x="8" y="29"/>
                      <a:pt x="2" y="42"/>
                    </a:cubicBezTo>
                    <a:cubicBezTo>
                      <a:pt x="1" y="43"/>
                      <a:pt x="0" y="45"/>
                      <a:pt x="1" y="47"/>
                    </a:cubicBezTo>
                    <a:cubicBezTo>
                      <a:pt x="2" y="48"/>
                      <a:pt x="4" y="48"/>
                      <a:pt x="6" y="48"/>
                    </a:cubicBezTo>
                    <a:cubicBezTo>
                      <a:pt x="20" y="47"/>
                      <a:pt x="32" y="39"/>
                      <a:pt x="42" y="30"/>
                    </a:cubicBezTo>
                    <a:cubicBezTo>
                      <a:pt x="52" y="20"/>
                      <a:pt x="61" y="9"/>
                      <a:pt x="72" y="1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80C0939-35E9-4663-BF0D-EB36DA322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" y="2570"/>
                <a:ext cx="69" cy="231"/>
              </a:xfrm>
              <a:custGeom>
                <a:avLst/>
                <a:gdLst>
                  <a:gd name="T0" fmla="*/ 7 w 29"/>
                  <a:gd name="T1" fmla="*/ 97 h 97"/>
                  <a:gd name="T2" fmla="*/ 6 w 29"/>
                  <a:gd name="T3" fmla="*/ 25 h 97"/>
                  <a:gd name="T4" fmla="*/ 22 w 29"/>
                  <a:gd name="T5" fmla="*/ 1 h 97"/>
                  <a:gd name="T6" fmla="*/ 24 w 29"/>
                  <a:gd name="T7" fmla="*/ 1 h 97"/>
                  <a:gd name="T8" fmla="*/ 25 w 29"/>
                  <a:gd name="T9" fmla="*/ 2 h 97"/>
                  <a:gd name="T10" fmla="*/ 29 w 29"/>
                  <a:gd name="T11" fmla="*/ 23 h 97"/>
                  <a:gd name="T12" fmla="*/ 26 w 29"/>
                  <a:gd name="T13" fmla="*/ 44 h 97"/>
                  <a:gd name="T14" fmla="*/ 15 w 29"/>
                  <a:gd name="T15" fmla="*/ 82 h 97"/>
                  <a:gd name="T16" fmla="*/ 10 w 29"/>
                  <a:gd name="T17" fmla="*/ 90 h 97"/>
                  <a:gd name="T18" fmla="*/ 8 w 29"/>
                  <a:gd name="T19" fmla="*/ 9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" h="97">
                    <a:moveTo>
                      <a:pt x="7" y="97"/>
                    </a:moveTo>
                    <a:cubicBezTo>
                      <a:pt x="0" y="74"/>
                      <a:pt x="0" y="48"/>
                      <a:pt x="6" y="25"/>
                    </a:cubicBezTo>
                    <a:cubicBezTo>
                      <a:pt x="9" y="15"/>
                      <a:pt x="13" y="5"/>
                      <a:pt x="22" y="1"/>
                    </a:cubicBezTo>
                    <a:cubicBezTo>
                      <a:pt x="22" y="1"/>
                      <a:pt x="23" y="0"/>
                      <a:pt x="24" y="1"/>
                    </a:cubicBezTo>
                    <a:cubicBezTo>
                      <a:pt x="25" y="1"/>
                      <a:pt x="25" y="2"/>
                      <a:pt x="25" y="2"/>
                    </a:cubicBezTo>
                    <a:cubicBezTo>
                      <a:pt x="29" y="9"/>
                      <a:pt x="29" y="16"/>
                      <a:pt x="29" y="23"/>
                    </a:cubicBezTo>
                    <a:cubicBezTo>
                      <a:pt x="29" y="30"/>
                      <a:pt x="27" y="37"/>
                      <a:pt x="26" y="44"/>
                    </a:cubicBezTo>
                    <a:cubicBezTo>
                      <a:pt x="23" y="57"/>
                      <a:pt x="22" y="71"/>
                      <a:pt x="15" y="82"/>
                    </a:cubicBezTo>
                    <a:cubicBezTo>
                      <a:pt x="13" y="85"/>
                      <a:pt x="11" y="88"/>
                      <a:pt x="10" y="90"/>
                    </a:cubicBezTo>
                    <a:cubicBezTo>
                      <a:pt x="9" y="93"/>
                      <a:pt x="9" y="94"/>
                      <a:pt x="8" y="9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412FE144-E946-4D14-88A0-BD1EBA4F2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3" y="2642"/>
                <a:ext cx="74" cy="192"/>
              </a:xfrm>
              <a:custGeom>
                <a:avLst/>
                <a:gdLst>
                  <a:gd name="T0" fmla="*/ 6 w 31"/>
                  <a:gd name="T1" fmla="*/ 81 h 81"/>
                  <a:gd name="T2" fmla="*/ 23 w 31"/>
                  <a:gd name="T3" fmla="*/ 4 h 81"/>
                  <a:gd name="T4" fmla="*/ 28 w 31"/>
                  <a:gd name="T5" fmla="*/ 1 h 81"/>
                  <a:gd name="T6" fmla="*/ 31 w 31"/>
                  <a:gd name="T7" fmla="*/ 8 h 81"/>
                  <a:gd name="T8" fmla="*/ 6 w 31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81">
                    <a:moveTo>
                      <a:pt x="6" y="81"/>
                    </a:moveTo>
                    <a:cubicBezTo>
                      <a:pt x="0" y="55"/>
                      <a:pt x="7" y="24"/>
                      <a:pt x="23" y="4"/>
                    </a:cubicBezTo>
                    <a:cubicBezTo>
                      <a:pt x="24" y="2"/>
                      <a:pt x="26" y="0"/>
                      <a:pt x="28" y="1"/>
                    </a:cubicBezTo>
                    <a:cubicBezTo>
                      <a:pt x="30" y="1"/>
                      <a:pt x="31" y="5"/>
                      <a:pt x="31" y="8"/>
                    </a:cubicBezTo>
                    <a:cubicBezTo>
                      <a:pt x="30" y="34"/>
                      <a:pt x="21" y="59"/>
                      <a:pt x="6" y="81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26FC0373-4394-4494-B2A0-D27A7DC63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9" y="2779"/>
                <a:ext cx="216" cy="86"/>
              </a:xfrm>
              <a:custGeom>
                <a:avLst/>
                <a:gdLst>
                  <a:gd name="T0" fmla="*/ 0 w 91"/>
                  <a:gd name="T1" fmla="*/ 28 h 36"/>
                  <a:gd name="T2" fmla="*/ 91 w 91"/>
                  <a:gd name="T3" fmla="*/ 9 h 36"/>
                  <a:gd name="T4" fmla="*/ 42 w 91"/>
                  <a:gd name="T5" fmla="*/ 3 h 36"/>
                  <a:gd name="T6" fmla="*/ 0 w 91"/>
                  <a:gd name="T7" fmla="*/ 2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" h="36">
                    <a:moveTo>
                      <a:pt x="0" y="28"/>
                    </a:moveTo>
                    <a:cubicBezTo>
                      <a:pt x="30" y="36"/>
                      <a:pt x="66" y="28"/>
                      <a:pt x="91" y="9"/>
                    </a:cubicBezTo>
                    <a:cubicBezTo>
                      <a:pt x="76" y="2"/>
                      <a:pt x="58" y="0"/>
                      <a:pt x="42" y="3"/>
                    </a:cubicBezTo>
                    <a:cubicBezTo>
                      <a:pt x="25" y="7"/>
                      <a:pt x="10" y="15"/>
                      <a:pt x="0" y="28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90193FCC-6A88-492B-9A5F-F4BA32F85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" y="2692"/>
                <a:ext cx="199" cy="113"/>
              </a:xfrm>
              <a:custGeom>
                <a:avLst/>
                <a:gdLst>
                  <a:gd name="T0" fmla="*/ 0 w 84"/>
                  <a:gd name="T1" fmla="*/ 48 h 48"/>
                  <a:gd name="T2" fmla="*/ 84 w 84"/>
                  <a:gd name="T3" fmla="*/ 0 h 48"/>
                  <a:gd name="T4" fmla="*/ 57 w 84"/>
                  <a:gd name="T5" fmla="*/ 30 h 48"/>
                  <a:gd name="T6" fmla="*/ 17 w 84"/>
                  <a:gd name="T7" fmla="*/ 42 h 48"/>
                  <a:gd name="T8" fmla="*/ 0 w 84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48">
                    <a:moveTo>
                      <a:pt x="0" y="48"/>
                    </a:moveTo>
                    <a:cubicBezTo>
                      <a:pt x="18" y="20"/>
                      <a:pt x="51" y="2"/>
                      <a:pt x="84" y="0"/>
                    </a:cubicBezTo>
                    <a:cubicBezTo>
                      <a:pt x="80" y="13"/>
                      <a:pt x="69" y="24"/>
                      <a:pt x="57" y="30"/>
                    </a:cubicBezTo>
                    <a:cubicBezTo>
                      <a:pt x="44" y="36"/>
                      <a:pt x="30" y="39"/>
                      <a:pt x="17" y="42"/>
                    </a:cubicBezTo>
                    <a:cubicBezTo>
                      <a:pt x="11" y="43"/>
                      <a:pt x="4" y="44"/>
                      <a:pt x="0" y="48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DCFF3830-BC94-4D87-BBFB-2EB88E018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" y="2381"/>
                <a:ext cx="69" cy="235"/>
              </a:xfrm>
              <a:custGeom>
                <a:avLst/>
                <a:gdLst>
                  <a:gd name="T0" fmla="*/ 17 w 29"/>
                  <a:gd name="T1" fmla="*/ 97 h 99"/>
                  <a:gd name="T2" fmla="*/ 28 w 29"/>
                  <a:gd name="T3" fmla="*/ 48 h 99"/>
                  <a:gd name="T4" fmla="*/ 18 w 29"/>
                  <a:gd name="T5" fmla="*/ 0 h 99"/>
                  <a:gd name="T6" fmla="*/ 17 w 29"/>
                  <a:gd name="T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99">
                    <a:moveTo>
                      <a:pt x="17" y="97"/>
                    </a:moveTo>
                    <a:cubicBezTo>
                      <a:pt x="22" y="81"/>
                      <a:pt x="27" y="65"/>
                      <a:pt x="28" y="48"/>
                    </a:cubicBezTo>
                    <a:cubicBezTo>
                      <a:pt x="29" y="32"/>
                      <a:pt x="27" y="14"/>
                      <a:pt x="18" y="0"/>
                    </a:cubicBezTo>
                    <a:cubicBezTo>
                      <a:pt x="2" y="31"/>
                      <a:pt x="0" y="68"/>
                      <a:pt x="17" y="9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33A65754-F84F-4F4D-A5FD-5ABE771F9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0" y="2390"/>
                <a:ext cx="231" cy="159"/>
              </a:xfrm>
              <a:custGeom>
                <a:avLst/>
                <a:gdLst>
                  <a:gd name="T0" fmla="*/ 0 w 97"/>
                  <a:gd name="T1" fmla="*/ 66 h 67"/>
                  <a:gd name="T2" fmla="*/ 97 w 97"/>
                  <a:gd name="T3" fmla="*/ 0 h 67"/>
                  <a:gd name="T4" fmla="*/ 0 w 97"/>
                  <a:gd name="T5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7" h="67">
                    <a:moveTo>
                      <a:pt x="0" y="66"/>
                    </a:moveTo>
                    <a:cubicBezTo>
                      <a:pt x="19" y="31"/>
                      <a:pt x="58" y="4"/>
                      <a:pt x="97" y="0"/>
                    </a:cubicBezTo>
                    <a:cubicBezTo>
                      <a:pt x="82" y="38"/>
                      <a:pt x="41" y="67"/>
                      <a:pt x="0" y="6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A472664D-E8B3-4C01-B225-BF203FB4D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4" y="2542"/>
                <a:ext cx="261" cy="109"/>
              </a:xfrm>
              <a:custGeom>
                <a:avLst/>
                <a:gdLst>
                  <a:gd name="T0" fmla="*/ 0 w 110"/>
                  <a:gd name="T1" fmla="*/ 8 h 46"/>
                  <a:gd name="T2" fmla="*/ 78 w 110"/>
                  <a:gd name="T3" fmla="*/ 42 h 46"/>
                  <a:gd name="T4" fmla="*/ 96 w 110"/>
                  <a:gd name="T5" fmla="*/ 45 h 46"/>
                  <a:gd name="T6" fmla="*/ 109 w 110"/>
                  <a:gd name="T7" fmla="*/ 34 h 46"/>
                  <a:gd name="T8" fmla="*/ 104 w 110"/>
                  <a:gd name="T9" fmla="*/ 20 h 46"/>
                  <a:gd name="T10" fmla="*/ 92 w 110"/>
                  <a:gd name="T11" fmla="*/ 13 h 46"/>
                  <a:gd name="T12" fmla="*/ 2 w 110"/>
                  <a:gd name="T13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0" h="46">
                    <a:moveTo>
                      <a:pt x="0" y="8"/>
                    </a:moveTo>
                    <a:cubicBezTo>
                      <a:pt x="28" y="13"/>
                      <a:pt x="52" y="31"/>
                      <a:pt x="78" y="42"/>
                    </a:cubicBezTo>
                    <a:cubicBezTo>
                      <a:pt x="84" y="44"/>
                      <a:pt x="90" y="46"/>
                      <a:pt x="96" y="45"/>
                    </a:cubicBezTo>
                    <a:cubicBezTo>
                      <a:pt x="102" y="44"/>
                      <a:pt x="108" y="40"/>
                      <a:pt x="109" y="34"/>
                    </a:cubicBezTo>
                    <a:cubicBezTo>
                      <a:pt x="110" y="29"/>
                      <a:pt x="108" y="24"/>
                      <a:pt x="104" y="20"/>
                    </a:cubicBezTo>
                    <a:cubicBezTo>
                      <a:pt x="101" y="17"/>
                      <a:pt x="96" y="15"/>
                      <a:pt x="92" y="13"/>
                    </a:cubicBezTo>
                    <a:cubicBezTo>
                      <a:pt x="63" y="1"/>
                      <a:pt x="32" y="0"/>
                      <a:pt x="2" y="8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37BEF409-A61F-4225-9B2E-7C9148CBD7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2604"/>
                <a:ext cx="192" cy="102"/>
              </a:xfrm>
              <a:custGeom>
                <a:avLst/>
                <a:gdLst>
                  <a:gd name="T0" fmla="*/ 0 w 81"/>
                  <a:gd name="T1" fmla="*/ 2 h 43"/>
                  <a:gd name="T2" fmla="*/ 14 w 81"/>
                  <a:gd name="T3" fmla="*/ 12 h 43"/>
                  <a:gd name="T4" fmla="*/ 73 w 81"/>
                  <a:gd name="T5" fmla="*/ 42 h 43"/>
                  <a:gd name="T6" fmla="*/ 80 w 81"/>
                  <a:gd name="T7" fmla="*/ 41 h 43"/>
                  <a:gd name="T8" fmla="*/ 78 w 81"/>
                  <a:gd name="T9" fmla="*/ 35 h 43"/>
                  <a:gd name="T10" fmla="*/ 42 w 81"/>
                  <a:gd name="T11" fmla="*/ 11 h 43"/>
                  <a:gd name="T12" fmla="*/ 0 w 81"/>
                  <a:gd name="T13" fmla="*/ 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3">
                    <a:moveTo>
                      <a:pt x="0" y="2"/>
                    </a:moveTo>
                    <a:cubicBezTo>
                      <a:pt x="7" y="4"/>
                      <a:pt x="9" y="7"/>
                      <a:pt x="14" y="12"/>
                    </a:cubicBezTo>
                    <a:cubicBezTo>
                      <a:pt x="31" y="26"/>
                      <a:pt x="52" y="37"/>
                      <a:pt x="73" y="42"/>
                    </a:cubicBezTo>
                    <a:cubicBezTo>
                      <a:pt x="76" y="43"/>
                      <a:pt x="79" y="43"/>
                      <a:pt x="80" y="41"/>
                    </a:cubicBezTo>
                    <a:cubicBezTo>
                      <a:pt x="81" y="39"/>
                      <a:pt x="79" y="37"/>
                      <a:pt x="78" y="35"/>
                    </a:cubicBezTo>
                    <a:cubicBezTo>
                      <a:pt x="69" y="24"/>
                      <a:pt x="56" y="16"/>
                      <a:pt x="42" y="11"/>
                    </a:cubicBezTo>
                    <a:cubicBezTo>
                      <a:pt x="29" y="6"/>
                      <a:pt x="17" y="0"/>
                      <a:pt x="0" y="1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A05FE66A-A166-4B23-BCC3-944E47517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" y="2307"/>
                <a:ext cx="219" cy="95"/>
              </a:xfrm>
              <a:custGeom>
                <a:avLst/>
                <a:gdLst>
                  <a:gd name="T0" fmla="*/ 0 w 92"/>
                  <a:gd name="T1" fmla="*/ 8 h 40"/>
                  <a:gd name="T2" fmla="*/ 86 w 92"/>
                  <a:gd name="T3" fmla="*/ 37 h 40"/>
                  <a:gd name="T4" fmla="*/ 90 w 92"/>
                  <a:gd name="T5" fmla="*/ 36 h 40"/>
                  <a:gd name="T6" fmla="*/ 87 w 92"/>
                  <a:gd name="T7" fmla="*/ 28 h 40"/>
                  <a:gd name="T8" fmla="*/ 0 w 92"/>
                  <a:gd name="T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40">
                    <a:moveTo>
                      <a:pt x="0" y="8"/>
                    </a:moveTo>
                    <a:cubicBezTo>
                      <a:pt x="23" y="29"/>
                      <a:pt x="55" y="40"/>
                      <a:pt x="86" y="37"/>
                    </a:cubicBezTo>
                    <a:cubicBezTo>
                      <a:pt x="88" y="37"/>
                      <a:pt x="89" y="37"/>
                      <a:pt x="90" y="36"/>
                    </a:cubicBezTo>
                    <a:cubicBezTo>
                      <a:pt x="92" y="34"/>
                      <a:pt x="90" y="30"/>
                      <a:pt x="87" y="28"/>
                    </a:cubicBezTo>
                    <a:cubicBezTo>
                      <a:pt x="62" y="8"/>
                      <a:pt x="31" y="0"/>
                      <a:pt x="0" y="8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CA3AD16B-FC85-4B18-8AFB-3EA1C1A90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" y="2238"/>
                <a:ext cx="254" cy="86"/>
              </a:xfrm>
              <a:custGeom>
                <a:avLst/>
                <a:gdLst>
                  <a:gd name="T0" fmla="*/ 0 w 107"/>
                  <a:gd name="T1" fmla="*/ 29 h 36"/>
                  <a:gd name="T2" fmla="*/ 107 w 107"/>
                  <a:gd name="T3" fmla="*/ 11 h 36"/>
                  <a:gd name="T4" fmla="*/ 56 w 107"/>
                  <a:gd name="T5" fmla="*/ 34 h 36"/>
                  <a:gd name="T6" fmla="*/ 0 w 107"/>
                  <a:gd name="T7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7" h="36">
                    <a:moveTo>
                      <a:pt x="0" y="29"/>
                    </a:moveTo>
                    <a:cubicBezTo>
                      <a:pt x="30" y="6"/>
                      <a:pt x="71" y="0"/>
                      <a:pt x="107" y="11"/>
                    </a:cubicBezTo>
                    <a:cubicBezTo>
                      <a:pt x="94" y="25"/>
                      <a:pt x="75" y="32"/>
                      <a:pt x="56" y="34"/>
                    </a:cubicBezTo>
                    <a:cubicBezTo>
                      <a:pt x="37" y="36"/>
                      <a:pt x="18" y="34"/>
                      <a:pt x="0" y="2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FB6467A3-D839-4343-A646-38567D01F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" y="1994"/>
                <a:ext cx="43" cy="182"/>
              </a:xfrm>
              <a:custGeom>
                <a:avLst/>
                <a:gdLst>
                  <a:gd name="T0" fmla="*/ 18 w 18"/>
                  <a:gd name="T1" fmla="*/ 77 h 77"/>
                  <a:gd name="T2" fmla="*/ 15 w 18"/>
                  <a:gd name="T3" fmla="*/ 7 h 77"/>
                  <a:gd name="T4" fmla="*/ 13 w 18"/>
                  <a:gd name="T5" fmla="*/ 1 h 77"/>
                  <a:gd name="T6" fmla="*/ 7 w 18"/>
                  <a:gd name="T7" fmla="*/ 6 h 77"/>
                  <a:gd name="T8" fmla="*/ 18 w 18"/>
                  <a:gd name="T9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77">
                    <a:moveTo>
                      <a:pt x="18" y="77"/>
                    </a:moveTo>
                    <a:cubicBezTo>
                      <a:pt x="16" y="52"/>
                      <a:pt x="17" y="32"/>
                      <a:pt x="15" y="7"/>
                    </a:cubicBezTo>
                    <a:cubicBezTo>
                      <a:pt x="15" y="5"/>
                      <a:pt x="15" y="2"/>
                      <a:pt x="13" y="1"/>
                    </a:cubicBezTo>
                    <a:cubicBezTo>
                      <a:pt x="10" y="0"/>
                      <a:pt x="8" y="4"/>
                      <a:pt x="7" y="6"/>
                    </a:cubicBezTo>
                    <a:cubicBezTo>
                      <a:pt x="0" y="30"/>
                      <a:pt x="4" y="57"/>
                      <a:pt x="18" y="7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177C6325-BC87-4536-955A-A5B342242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7" y="1994"/>
                <a:ext cx="136" cy="189"/>
              </a:xfrm>
              <a:custGeom>
                <a:avLst/>
                <a:gdLst>
                  <a:gd name="T0" fmla="*/ 0 w 57"/>
                  <a:gd name="T1" fmla="*/ 80 h 80"/>
                  <a:gd name="T2" fmla="*/ 42 w 57"/>
                  <a:gd name="T3" fmla="*/ 39 h 80"/>
                  <a:gd name="T4" fmla="*/ 56 w 57"/>
                  <a:gd name="T5" fmla="*/ 1 h 80"/>
                  <a:gd name="T6" fmla="*/ 25 w 57"/>
                  <a:gd name="T7" fmla="*/ 16 h 80"/>
                  <a:gd name="T8" fmla="*/ 10 w 57"/>
                  <a:gd name="T9" fmla="*/ 47 h 80"/>
                  <a:gd name="T10" fmla="*/ 0 w 57"/>
                  <a:gd name="T1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80">
                    <a:moveTo>
                      <a:pt x="0" y="80"/>
                    </a:moveTo>
                    <a:cubicBezTo>
                      <a:pt x="17" y="69"/>
                      <a:pt x="30" y="56"/>
                      <a:pt x="42" y="39"/>
                    </a:cubicBezTo>
                    <a:cubicBezTo>
                      <a:pt x="50" y="28"/>
                      <a:pt x="57" y="14"/>
                      <a:pt x="56" y="1"/>
                    </a:cubicBezTo>
                    <a:cubicBezTo>
                      <a:pt x="44" y="0"/>
                      <a:pt x="33" y="7"/>
                      <a:pt x="25" y="16"/>
                    </a:cubicBezTo>
                    <a:cubicBezTo>
                      <a:pt x="18" y="24"/>
                      <a:pt x="13" y="35"/>
                      <a:pt x="10" y="47"/>
                    </a:cubicBezTo>
                    <a:cubicBezTo>
                      <a:pt x="7" y="58"/>
                      <a:pt x="4" y="69"/>
                      <a:pt x="0" y="8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726FB919-B889-41F9-8C60-4559B7930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5" y="2001"/>
                <a:ext cx="247" cy="156"/>
              </a:xfrm>
              <a:custGeom>
                <a:avLst/>
                <a:gdLst>
                  <a:gd name="T0" fmla="*/ 0 w 104"/>
                  <a:gd name="T1" fmla="*/ 66 h 66"/>
                  <a:gd name="T2" fmla="*/ 104 w 104"/>
                  <a:gd name="T3" fmla="*/ 5 h 66"/>
                  <a:gd name="T4" fmla="*/ 65 w 104"/>
                  <a:gd name="T5" fmla="*/ 8 h 66"/>
                  <a:gd name="T6" fmla="*/ 0 w 104"/>
                  <a:gd name="T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4" h="66">
                    <a:moveTo>
                      <a:pt x="0" y="66"/>
                    </a:moveTo>
                    <a:cubicBezTo>
                      <a:pt x="38" y="52"/>
                      <a:pt x="73" y="31"/>
                      <a:pt x="104" y="5"/>
                    </a:cubicBezTo>
                    <a:cubicBezTo>
                      <a:pt x="91" y="0"/>
                      <a:pt x="77" y="3"/>
                      <a:pt x="65" y="8"/>
                    </a:cubicBezTo>
                    <a:cubicBezTo>
                      <a:pt x="37" y="19"/>
                      <a:pt x="14" y="38"/>
                      <a:pt x="0" y="6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E8A4BA97-02BB-4620-A449-08D858FBA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6" y="2141"/>
                <a:ext cx="273" cy="83"/>
              </a:xfrm>
              <a:custGeom>
                <a:avLst/>
                <a:gdLst>
                  <a:gd name="T0" fmla="*/ 0 w 115"/>
                  <a:gd name="T1" fmla="*/ 32 h 35"/>
                  <a:gd name="T2" fmla="*/ 57 w 115"/>
                  <a:gd name="T3" fmla="*/ 32 h 35"/>
                  <a:gd name="T4" fmla="*/ 111 w 115"/>
                  <a:gd name="T5" fmla="*/ 14 h 35"/>
                  <a:gd name="T6" fmla="*/ 114 w 115"/>
                  <a:gd name="T7" fmla="*/ 12 h 35"/>
                  <a:gd name="T8" fmla="*/ 113 w 115"/>
                  <a:gd name="T9" fmla="*/ 7 h 35"/>
                  <a:gd name="T10" fmla="*/ 108 w 115"/>
                  <a:gd name="T11" fmla="*/ 5 h 35"/>
                  <a:gd name="T12" fmla="*/ 51 w 115"/>
                  <a:gd name="T13" fmla="*/ 8 h 35"/>
                  <a:gd name="T14" fmla="*/ 0 w 115"/>
                  <a:gd name="T15" fmla="*/ 3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5" h="35">
                    <a:moveTo>
                      <a:pt x="0" y="32"/>
                    </a:moveTo>
                    <a:cubicBezTo>
                      <a:pt x="19" y="34"/>
                      <a:pt x="38" y="35"/>
                      <a:pt x="57" y="32"/>
                    </a:cubicBezTo>
                    <a:cubicBezTo>
                      <a:pt x="76" y="29"/>
                      <a:pt x="93" y="22"/>
                      <a:pt x="111" y="14"/>
                    </a:cubicBezTo>
                    <a:cubicBezTo>
                      <a:pt x="112" y="14"/>
                      <a:pt x="114" y="13"/>
                      <a:pt x="114" y="12"/>
                    </a:cubicBezTo>
                    <a:cubicBezTo>
                      <a:pt x="115" y="10"/>
                      <a:pt x="114" y="8"/>
                      <a:pt x="113" y="7"/>
                    </a:cubicBezTo>
                    <a:cubicBezTo>
                      <a:pt x="112" y="6"/>
                      <a:pt x="110" y="5"/>
                      <a:pt x="108" y="5"/>
                    </a:cubicBezTo>
                    <a:cubicBezTo>
                      <a:pt x="90" y="0"/>
                      <a:pt x="69" y="2"/>
                      <a:pt x="51" y="8"/>
                    </a:cubicBezTo>
                    <a:cubicBezTo>
                      <a:pt x="32" y="15"/>
                      <a:pt x="17" y="22"/>
                      <a:pt x="0" y="3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B685532E-DDCA-4BC5-9F75-2D4EFB4DC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" y="2129"/>
                <a:ext cx="50" cy="202"/>
              </a:xfrm>
              <a:custGeom>
                <a:avLst/>
                <a:gdLst>
                  <a:gd name="T0" fmla="*/ 13 w 21"/>
                  <a:gd name="T1" fmla="*/ 84 h 85"/>
                  <a:gd name="T2" fmla="*/ 12 w 21"/>
                  <a:gd name="T3" fmla="*/ 0 h 85"/>
                  <a:gd name="T4" fmla="*/ 20 w 21"/>
                  <a:gd name="T5" fmla="*/ 42 h 85"/>
                  <a:gd name="T6" fmla="*/ 13 w 21"/>
                  <a:gd name="T7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85">
                    <a:moveTo>
                      <a:pt x="13" y="84"/>
                    </a:moveTo>
                    <a:cubicBezTo>
                      <a:pt x="0" y="58"/>
                      <a:pt x="1" y="27"/>
                      <a:pt x="12" y="0"/>
                    </a:cubicBezTo>
                    <a:cubicBezTo>
                      <a:pt x="20" y="12"/>
                      <a:pt x="21" y="27"/>
                      <a:pt x="20" y="42"/>
                    </a:cubicBezTo>
                    <a:cubicBezTo>
                      <a:pt x="18" y="56"/>
                      <a:pt x="14" y="71"/>
                      <a:pt x="13" y="8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751C987E-96D9-4A34-90D6-25B469330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" y="2264"/>
                <a:ext cx="211" cy="95"/>
              </a:xfrm>
              <a:custGeom>
                <a:avLst/>
                <a:gdLst>
                  <a:gd name="T0" fmla="*/ 87 w 89"/>
                  <a:gd name="T1" fmla="*/ 1 h 40"/>
                  <a:gd name="T2" fmla="*/ 0 w 89"/>
                  <a:gd name="T3" fmla="*/ 38 h 40"/>
                  <a:gd name="T4" fmla="*/ 48 w 89"/>
                  <a:gd name="T5" fmla="*/ 29 h 40"/>
                  <a:gd name="T6" fmla="*/ 89 w 89"/>
                  <a:gd name="T7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9" h="40">
                    <a:moveTo>
                      <a:pt x="87" y="1"/>
                    </a:moveTo>
                    <a:cubicBezTo>
                      <a:pt x="55" y="0"/>
                      <a:pt x="22" y="14"/>
                      <a:pt x="0" y="38"/>
                    </a:cubicBezTo>
                    <a:cubicBezTo>
                      <a:pt x="16" y="40"/>
                      <a:pt x="33" y="36"/>
                      <a:pt x="48" y="29"/>
                    </a:cubicBezTo>
                    <a:cubicBezTo>
                      <a:pt x="63" y="22"/>
                      <a:pt x="76" y="12"/>
                      <a:pt x="89" y="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021825DC-4B6E-465C-9E7B-29D99F9FE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" y="2231"/>
                <a:ext cx="195" cy="85"/>
              </a:xfrm>
              <a:custGeom>
                <a:avLst/>
                <a:gdLst>
                  <a:gd name="T0" fmla="*/ 82 w 82"/>
                  <a:gd name="T1" fmla="*/ 3 h 36"/>
                  <a:gd name="T2" fmla="*/ 36 w 82"/>
                  <a:gd name="T3" fmla="*/ 4 h 36"/>
                  <a:gd name="T4" fmla="*/ 0 w 82"/>
                  <a:gd name="T5" fmla="*/ 34 h 36"/>
                  <a:gd name="T6" fmla="*/ 44 w 82"/>
                  <a:gd name="T7" fmla="*/ 26 h 36"/>
                  <a:gd name="T8" fmla="*/ 82 w 82"/>
                  <a:gd name="T9" fmla="*/ 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36">
                    <a:moveTo>
                      <a:pt x="82" y="3"/>
                    </a:moveTo>
                    <a:cubicBezTo>
                      <a:pt x="66" y="2"/>
                      <a:pt x="51" y="0"/>
                      <a:pt x="36" y="4"/>
                    </a:cubicBezTo>
                    <a:cubicBezTo>
                      <a:pt x="21" y="9"/>
                      <a:pt x="7" y="20"/>
                      <a:pt x="0" y="34"/>
                    </a:cubicBezTo>
                    <a:cubicBezTo>
                      <a:pt x="15" y="36"/>
                      <a:pt x="30" y="32"/>
                      <a:pt x="44" y="26"/>
                    </a:cubicBezTo>
                    <a:cubicBezTo>
                      <a:pt x="58" y="20"/>
                      <a:pt x="70" y="12"/>
                      <a:pt x="82" y="3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3ED0614F-B25C-43B3-9B47-6042E590D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" y="2176"/>
                <a:ext cx="226" cy="69"/>
              </a:xfrm>
              <a:custGeom>
                <a:avLst/>
                <a:gdLst>
                  <a:gd name="T0" fmla="*/ 93 w 95"/>
                  <a:gd name="T1" fmla="*/ 27 h 29"/>
                  <a:gd name="T2" fmla="*/ 47 w 95"/>
                  <a:gd name="T3" fmla="*/ 4 h 29"/>
                  <a:gd name="T4" fmla="*/ 0 w 95"/>
                  <a:gd name="T5" fmla="*/ 15 h 29"/>
                  <a:gd name="T6" fmla="*/ 45 w 95"/>
                  <a:gd name="T7" fmla="*/ 24 h 29"/>
                  <a:gd name="T8" fmla="*/ 95 w 9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29">
                    <a:moveTo>
                      <a:pt x="93" y="27"/>
                    </a:moveTo>
                    <a:cubicBezTo>
                      <a:pt x="79" y="17"/>
                      <a:pt x="64" y="8"/>
                      <a:pt x="47" y="4"/>
                    </a:cubicBezTo>
                    <a:cubicBezTo>
                      <a:pt x="31" y="0"/>
                      <a:pt x="11" y="3"/>
                      <a:pt x="0" y="15"/>
                    </a:cubicBezTo>
                    <a:cubicBezTo>
                      <a:pt x="13" y="23"/>
                      <a:pt x="30" y="24"/>
                      <a:pt x="45" y="24"/>
                    </a:cubicBezTo>
                    <a:cubicBezTo>
                      <a:pt x="61" y="24"/>
                      <a:pt x="80" y="24"/>
                      <a:pt x="95" y="2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D215C754-129A-4816-B8BD-D123D130D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" y="2003"/>
                <a:ext cx="90" cy="237"/>
              </a:xfrm>
              <a:custGeom>
                <a:avLst/>
                <a:gdLst>
                  <a:gd name="T0" fmla="*/ 34 w 38"/>
                  <a:gd name="T1" fmla="*/ 100 h 100"/>
                  <a:gd name="T2" fmla="*/ 10 w 38"/>
                  <a:gd name="T3" fmla="*/ 0 h 100"/>
                  <a:gd name="T4" fmla="*/ 34 w 38"/>
                  <a:gd name="T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100">
                    <a:moveTo>
                      <a:pt x="34" y="100"/>
                    </a:moveTo>
                    <a:cubicBezTo>
                      <a:pt x="10" y="76"/>
                      <a:pt x="0" y="33"/>
                      <a:pt x="10" y="0"/>
                    </a:cubicBezTo>
                    <a:cubicBezTo>
                      <a:pt x="29" y="30"/>
                      <a:pt x="38" y="66"/>
                      <a:pt x="34" y="10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3CCF5B80-2D6E-466A-AE31-3ED39E6DB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1894"/>
                <a:ext cx="140" cy="187"/>
              </a:xfrm>
              <a:custGeom>
                <a:avLst/>
                <a:gdLst>
                  <a:gd name="T0" fmla="*/ 0 w 59"/>
                  <a:gd name="T1" fmla="*/ 78 h 79"/>
                  <a:gd name="T2" fmla="*/ 12 w 59"/>
                  <a:gd name="T3" fmla="*/ 46 h 79"/>
                  <a:gd name="T4" fmla="*/ 29 w 59"/>
                  <a:gd name="T5" fmla="*/ 15 h 79"/>
                  <a:gd name="T6" fmla="*/ 59 w 59"/>
                  <a:gd name="T7" fmla="*/ 0 h 79"/>
                  <a:gd name="T8" fmla="*/ 1 w 59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79">
                    <a:moveTo>
                      <a:pt x="0" y="78"/>
                    </a:moveTo>
                    <a:cubicBezTo>
                      <a:pt x="5" y="68"/>
                      <a:pt x="8" y="56"/>
                      <a:pt x="12" y="46"/>
                    </a:cubicBezTo>
                    <a:cubicBezTo>
                      <a:pt x="16" y="35"/>
                      <a:pt x="21" y="24"/>
                      <a:pt x="29" y="15"/>
                    </a:cubicBezTo>
                    <a:cubicBezTo>
                      <a:pt x="37" y="7"/>
                      <a:pt x="48" y="0"/>
                      <a:pt x="59" y="0"/>
                    </a:cubicBezTo>
                    <a:cubicBezTo>
                      <a:pt x="52" y="33"/>
                      <a:pt x="30" y="62"/>
                      <a:pt x="1" y="7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7BBFF21F-3487-40B3-BF2E-E26EB197B9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" y="2005"/>
                <a:ext cx="150" cy="110"/>
              </a:xfrm>
              <a:custGeom>
                <a:avLst/>
                <a:gdLst>
                  <a:gd name="T0" fmla="*/ 63 w 63"/>
                  <a:gd name="T1" fmla="*/ 46 h 46"/>
                  <a:gd name="T2" fmla="*/ 36 w 63"/>
                  <a:gd name="T3" fmla="*/ 13 h 46"/>
                  <a:gd name="T4" fmla="*/ 0 w 63"/>
                  <a:gd name="T5" fmla="*/ 3 h 46"/>
                  <a:gd name="T6" fmla="*/ 63 w 63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3" h="46">
                    <a:moveTo>
                      <a:pt x="63" y="46"/>
                    </a:moveTo>
                    <a:cubicBezTo>
                      <a:pt x="55" y="35"/>
                      <a:pt x="47" y="21"/>
                      <a:pt x="36" y="13"/>
                    </a:cubicBezTo>
                    <a:cubicBezTo>
                      <a:pt x="26" y="5"/>
                      <a:pt x="12" y="0"/>
                      <a:pt x="0" y="3"/>
                    </a:cubicBezTo>
                    <a:cubicBezTo>
                      <a:pt x="13" y="26"/>
                      <a:pt x="37" y="43"/>
                      <a:pt x="63" y="46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5303E237-8BAE-4F1E-AD8D-5FA8BB510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6" y="1896"/>
                <a:ext cx="62" cy="188"/>
              </a:xfrm>
              <a:custGeom>
                <a:avLst/>
                <a:gdLst>
                  <a:gd name="T0" fmla="*/ 14 w 26"/>
                  <a:gd name="T1" fmla="*/ 78 h 79"/>
                  <a:gd name="T2" fmla="*/ 2 w 26"/>
                  <a:gd name="T3" fmla="*/ 39 h 79"/>
                  <a:gd name="T4" fmla="*/ 9 w 26"/>
                  <a:gd name="T5" fmla="*/ 0 h 79"/>
                  <a:gd name="T6" fmla="*/ 15 w 26"/>
                  <a:gd name="T7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79">
                    <a:moveTo>
                      <a:pt x="14" y="78"/>
                    </a:moveTo>
                    <a:cubicBezTo>
                      <a:pt x="9" y="66"/>
                      <a:pt x="4" y="53"/>
                      <a:pt x="2" y="39"/>
                    </a:cubicBezTo>
                    <a:cubicBezTo>
                      <a:pt x="0" y="26"/>
                      <a:pt x="2" y="11"/>
                      <a:pt x="9" y="0"/>
                    </a:cubicBezTo>
                    <a:cubicBezTo>
                      <a:pt x="22" y="25"/>
                      <a:pt x="26" y="52"/>
                      <a:pt x="15" y="7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8C3A94E-D462-49B2-9B1E-52703FFBD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1768"/>
                <a:ext cx="173" cy="128"/>
              </a:xfrm>
              <a:custGeom>
                <a:avLst/>
                <a:gdLst>
                  <a:gd name="T0" fmla="*/ 0 w 73"/>
                  <a:gd name="T1" fmla="*/ 54 h 54"/>
                  <a:gd name="T2" fmla="*/ 56 w 73"/>
                  <a:gd name="T3" fmla="*/ 2 h 54"/>
                  <a:gd name="T4" fmla="*/ 65 w 73"/>
                  <a:gd name="T5" fmla="*/ 0 h 54"/>
                  <a:gd name="T6" fmla="*/ 73 w 73"/>
                  <a:gd name="T7" fmla="*/ 6 h 54"/>
                  <a:gd name="T8" fmla="*/ 67 w 73"/>
                  <a:gd name="T9" fmla="*/ 17 h 54"/>
                  <a:gd name="T10" fmla="*/ 0 w 73"/>
                  <a:gd name="T1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54">
                    <a:moveTo>
                      <a:pt x="0" y="54"/>
                    </a:moveTo>
                    <a:cubicBezTo>
                      <a:pt x="8" y="28"/>
                      <a:pt x="31" y="10"/>
                      <a:pt x="56" y="2"/>
                    </a:cubicBezTo>
                    <a:cubicBezTo>
                      <a:pt x="59" y="0"/>
                      <a:pt x="62" y="0"/>
                      <a:pt x="65" y="0"/>
                    </a:cubicBezTo>
                    <a:cubicBezTo>
                      <a:pt x="69" y="1"/>
                      <a:pt x="72" y="3"/>
                      <a:pt x="73" y="6"/>
                    </a:cubicBezTo>
                    <a:cubicBezTo>
                      <a:pt x="73" y="10"/>
                      <a:pt x="70" y="14"/>
                      <a:pt x="67" y="17"/>
                    </a:cubicBezTo>
                    <a:cubicBezTo>
                      <a:pt x="47" y="33"/>
                      <a:pt x="25" y="46"/>
                      <a:pt x="0" y="5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35D6E384-9D7D-4270-95DD-03379F48F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1647"/>
                <a:ext cx="95" cy="211"/>
              </a:xfrm>
              <a:custGeom>
                <a:avLst/>
                <a:gdLst>
                  <a:gd name="T0" fmla="*/ 1 w 40"/>
                  <a:gd name="T1" fmla="*/ 84 h 89"/>
                  <a:gd name="T2" fmla="*/ 8 w 40"/>
                  <a:gd name="T3" fmla="*/ 36 h 89"/>
                  <a:gd name="T4" fmla="*/ 38 w 40"/>
                  <a:gd name="T5" fmla="*/ 0 h 89"/>
                  <a:gd name="T6" fmla="*/ 25 w 40"/>
                  <a:gd name="T7" fmla="*/ 46 h 89"/>
                  <a:gd name="T8" fmla="*/ 0 w 40"/>
                  <a:gd name="T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89">
                    <a:moveTo>
                      <a:pt x="1" y="84"/>
                    </a:moveTo>
                    <a:cubicBezTo>
                      <a:pt x="2" y="68"/>
                      <a:pt x="3" y="51"/>
                      <a:pt x="8" y="36"/>
                    </a:cubicBezTo>
                    <a:cubicBezTo>
                      <a:pt x="13" y="21"/>
                      <a:pt x="23" y="6"/>
                      <a:pt x="38" y="0"/>
                    </a:cubicBezTo>
                    <a:cubicBezTo>
                      <a:pt x="40" y="16"/>
                      <a:pt x="33" y="32"/>
                      <a:pt x="25" y="46"/>
                    </a:cubicBezTo>
                    <a:cubicBezTo>
                      <a:pt x="16" y="60"/>
                      <a:pt x="5" y="74"/>
                      <a:pt x="0" y="89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1A5E8CDC-45C9-4E44-BFCB-83BE19E624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7" y="1664"/>
                <a:ext cx="116" cy="208"/>
              </a:xfrm>
              <a:custGeom>
                <a:avLst/>
                <a:gdLst>
                  <a:gd name="T0" fmla="*/ 49 w 49"/>
                  <a:gd name="T1" fmla="*/ 88 h 88"/>
                  <a:gd name="T2" fmla="*/ 31 w 49"/>
                  <a:gd name="T3" fmla="*/ 31 h 88"/>
                  <a:gd name="T4" fmla="*/ 5 w 49"/>
                  <a:gd name="T5" fmla="*/ 0 h 88"/>
                  <a:gd name="T6" fmla="*/ 6 w 49"/>
                  <a:gd name="T7" fmla="*/ 35 h 88"/>
                  <a:gd name="T8" fmla="*/ 27 w 49"/>
                  <a:gd name="T9" fmla="*/ 64 h 88"/>
                  <a:gd name="T10" fmla="*/ 49 w 49"/>
                  <a:gd name="T11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88">
                    <a:moveTo>
                      <a:pt x="49" y="88"/>
                    </a:moveTo>
                    <a:cubicBezTo>
                      <a:pt x="43" y="70"/>
                      <a:pt x="42" y="47"/>
                      <a:pt x="31" y="31"/>
                    </a:cubicBezTo>
                    <a:cubicBezTo>
                      <a:pt x="24" y="20"/>
                      <a:pt x="11" y="12"/>
                      <a:pt x="5" y="0"/>
                    </a:cubicBezTo>
                    <a:cubicBezTo>
                      <a:pt x="0" y="11"/>
                      <a:pt x="2" y="24"/>
                      <a:pt x="6" y="35"/>
                    </a:cubicBezTo>
                    <a:cubicBezTo>
                      <a:pt x="11" y="46"/>
                      <a:pt x="18" y="55"/>
                      <a:pt x="27" y="64"/>
                    </a:cubicBezTo>
                    <a:cubicBezTo>
                      <a:pt x="35" y="73"/>
                      <a:pt x="42" y="79"/>
                      <a:pt x="49" y="88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Oval 64">
                <a:extLst>
                  <a:ext uri="{FF2B5EF4-FFF2-40B4-BE49-F238E27FC236}">
                    <a16:creationId xmlns:a16="http://schemas.microsoft.com/office/drawing/2014/main" id="{C09F7444-2DAE-4FE2-AC59-47C4435DF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1" y="1858"/>
                <a:ext cx="4" cy="129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AFBE9B5F-844F-4BB6-84B4-ECD428399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2283"/>
                <a:ext cx="254" cy="133"/>
              </a:xfrm>
              <a:custGeom>
                <a:avLst/>
                <a:gdLst>
                  <a:gd name="T0" fmla="*/ 107 w 107"/>
                  <a:gd name="T1" fmla="*/ 0 h 56"/>
                  <a:gd name="T2" fmla="*/ 102 w 107"/>
                  <a:gd name="T3" fmla="*/ 2 h 56"/>
                  <a:gd name="T4" fmla="*/ 90 w 107"/>
                  <a:gd name="T5" fmla="*/ 6 h 56"/>
                  <a:gd name="T6" fmla="*/ 49 w 107"/>
                  <a:gd name="T7" fmla="*/ 22 h 56"/>
                  <a:gd name="T8" fmla="*/ 10 w 107"/>
                  <a:gd name="T9" fmla="*/ 41 h 56"/>
                  <a:gd name="T10" fmla="*/ 2 w 107"/>
                  <a:gd name="T11" fmla="*/ 52 h 56"/>
                  <a:gd name="T12" fmla="*/ 0 w 107"/>
                  <a:gd name="T13" fmla="*/ 56 h 56"/>
                  <a:gd name="T14" fmla="*/ 0 w 107"/>
                  <a:gd name="T15" fmla="*/ 55 h 56"/>
                  <a:gd name="T16" fmla="*/ 1 w 107"/>
                  <a:gd name="T17" fmla="*/ 52 h 56"/>
                  <a:gd name="T18" fmla="*/ 9 w 107"/>
                  <a:gd name="T19" fmla="*/ 40 h 56"/>
                  <a:gd name="T20" fmla="*/ 26 w 107"/>
                  <a:gd name="T21" fmla="*/ 30 h 56"/>
                  <a:gd name="T22" fmla="*/ 48 w 107"/>
                  <a:gd name="T23" fmla="*/ 20 h 56"/>
                  <a:gd name="T24" fmla="*/ 89 w 107"/>
                  <a:gd name="T25" fmla="*/ 5 h 56"/>
                  <a:gd name="T26" fmla="*/ 102 w 107"/>
                  <a:gd name="T27" fmla="*/ 2 h 56"/>
                  <a:gd name="T28" fmla="*/ 107 w 107"/>
                  <a:gd name="T2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" h="56">
                    <a:moveTo>
                      <a:pt x="107" y="0"/>
                    </a:moveTo>
                    <a:cubicBezTo>
                      <a:pt x="107" y="1"/>
                      <a:pt x="105" y="1"/>
                      <a:pt x="102" y="2"/>
                    </a:cubicBezTo>
                    <a:cubicBezTo>
                      <a:pt x="99" y="3"/>
                      <a:pt x="95" y="5"/>
                      <a:pt x="90" y="6"/>
                    </a:cubicBezTo>
                    <a:cubicBezTo>
                      <a:pt x="79" y="10"/>
                      <a:pt x="64" y="15"/>
                      <a:pt x="49" y="22"/>
                    </a:cubicBezTo>
                    <a:cubicBezTo>
                      <a:pt x="33" y="29"/>
                      <a:pt x="18" y="34"/>
                      <a:pt x="10" y="41"/>
                    </a:cubicBezTo>
                    <a:cubicBezTo>
                      <a:pt x="5" y="45"/>
                      <a:pt x="3" y="49"/>
                      <a:pt x="2" y="52"/>
                    </a:cubicBezTo>
                    <a:cubicBezTo>
                      <a:pt x="1" y="55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5"/>
                    </a:cubicBezTo>
                    <a:cubicBezTo>
                      <a:pt x="0" y="54"/>
                      <a:pt x="1" y="53"/>
                      <a:pt x="1" y="52"/>
                    </a:cubicBezTo>
                    <a:cubicBezTo>
                      <a:pt x="2" y="48"/>
                      <a:pt x="4" y="44"/>
                      <a:pt x="9" y="40"/>
                    </a:cubicBezTo>
                    <a:cubicBezTo>
                      <a:pt x="13" y="37"/>
                      <a:pt x="19" y="33"/>
                      <a:pt x="26" y="30"/>
                    </a:cubicBezTo>
                    <a:cubicBezTo>
                      <a:pt x="32" y="27"/>
                      <a:pt x="40" y="23"/>
                      <a:pt x="48" y="20"/>
                    </a:cubicBezTo>
                    <a:cubicBezTo>
                      <a:pt x="64" y="14"/>
                      <a:pt x="79" y="9"/>
                      <a:pt x="89" y="5"/>
                    </a:cubicBezTo>
                    <a:cubicBezTo>
                      <a:pt x="95" y="4"/>
                      <a:pt x="99" y="2"/>
                      <a:pt x="102" y="2"/>
                    </a:cubicBezTo>
                    <a:cubicBezTo>
                      <a:pt x="105" y="1"/>
                      <a:pt x="107" y="0"/>
                      <a:pt x="10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F155076D-B5F9-485B-A5B3-BF85B019D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" y="2081"/>
                <a:ext cx="318" cy="302"/>
              </a:xfrm>
              <a:custGeom>
                <a:avLst/>
                <a:gdLst>
                  <a:gd name="T0" fmla="*/ 134 w 134"/>
                  <a:gd name="T1" fmla="*/ 0 h 127"/>
                  <a:gd name="T2" fmla="*/ 133 w 134"/>
                  <a:gd name="T3" fmla="*/ 1 h 127"/>
                  <a:gd name="T4" fmla="*/ 129 w 134"/>
                  <a:gd name="T5" fmla="*/ 5 h 127"/>
                  <a:gd name="T6" fmla="*/ 114 w 134"/>
                  <a:gd name="T7" fmla="*/ 18 h 127"/>
                  <a:gd name="T8" fmla="*/ 65 w 134"/>
                  <a:gd name="T9" fmla="*/ 61 h 127"/>
                  <a:gd name="T10" fmla="*/ 19 w 134"/>
                  <a:gd name="T11" fmla="*/ 106 h 127"/>
                  <a:gd name="T12" fmla="*/ 5 w 134"/>
                  <a:gd name="T13" fmla="*/ 121 h 127"/>
                  <a:gd name="T14" fmla="*/ 2 w 134"/>
                  <a:gd name="T15" fmla="*/ 125 h 127"/>
                  <a:gd name="T16" fmla="*/ 1 w 134"/>
                  <a:gd name="T17" fmla="*/ 126 h 127"/>
                  <a:gd name="T18" fmla="*/ 2 w 134"/>
                  <a:gd name="T19" fmla="*/ 125 h 127"/>
                  <a:gd name="T20" fmla="*/ 5 w 134"/>
                  <a:gd name="T21" fmla="*/ 121 h 127"/>
                  <a:gd name="T22" fmla="*/ 18 w 134"/>
                  <a:gd name="T23" fmla="*/ 106 h 127"/>
                  <a:gd name="T24" fmla="*/ 64 w 134"/>
                  <a:gd name="T25" fmla="*/ 60 h 127"/>
                  <a:gd name="T26" fmla="*/ 113 w 134"/>
                  <a:gd name="T27" fmla="*/ 17 h 127"/>
                  <a:gd name="T28" fmla="*/ 128 w 134"/>
                  <a:gd name="T29" fmla="*/ 4 h 127"/>
                  <a:gd name="T30" fmla="*/ 132 w 134"/>
                  <a:gd name="T31" fmla="*/ 1 h 127"/>
                  <a:gd name="T32" fmla="*/ 134 w 134"/>
                  <a:gd name="T33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27">
                    <a:moveTo>
                      <a:pt x="134" y="0"/>
                    </a:moveTo>
                    <a:cubicBezTo>
                      <a:pt x="134" y="0"/>
                      <a:pt x="134" y="0"/>
                      <a:pt x="133" y="1"/>
                    </a:cubicBezTo>
                    <a:cubicBezTo>
                      <a:pt x="132" y="2"/>
                      <a:pt x="130" y="3"/>
                      <a:pt x="129" y="5"/>
                    </a:cubicBezTo>
                    <a:cubicBezTo>
                      <a:pt x="125" y="8"/>
                      <a:pt x="120" y="12"/>
                      <a:pt x="114" y="18"/>
                    </a:cubicBezTo>
                    <a:cubicBezTo>
                      <a:pt x="101" y="29"/>
                      <a:pt x="84" y="44"/>
                      <a:pt x="65" y="61"/>
                    </a:cubicBezTo>
                    <a:cubicBezTo>
                      <a:pt x="46" y="78"/>
                      <a:pt x="30" y="94"/>
                      <a:pt x="19" y="106"/>
                    </a:cubicBezTo>
                    <a:cubicBezTo>
                      <a:pt x="13" y="113"/>
                      <a:pt x="8" y="118"/>
                      <a:pt x="5" y="121"/>
                    </a:cubicBezTo>
                    <a:cubicBezTo>
                      <a:pt x="4" y="123"/>
                      <a:pt x="3" y="124"/>
                      <a:pt x="2" y="125"/>
                    </a:cubicBezTo>
                    <a:cubicBezTo>
                      <a:pt x="1" y="126"/>
                      <a:pt x="1" y="127"/>
                      <a:pt x="1" y="126"/>
                    </a:cubicBezTo>
                    <a:cubicBezTo>
                      <a:pt x="0" y="126"/>
                      <a:pt x="1" y="126"/>
                      <a:pt x="2" y="125"/>
                    </a:cubicBezTo>
                    <a:cubicBezTo>
                      <a:pt x="2" y="124"/>
                      <a:pt x="3" y="122"/>
                      <a:pt x="5" y="121"/>
                    </a:cubicBezTo>
                    <a:cubicBezTo>
                      <a:pt x="8" y="117"/>
                      <a:pt x="12" y="112"/>
                      <a:pt x="18" y="106"/>
                    </a:cubicBezTo>
                    <a:cubicBezTo>
                      <a:pt x="29" y="93"/>
                      <a:pt x="45" y="77"/>
                      <a:pt x="64" y="60"/>
                    </a:cubicBezTo>
                    <a:cubicBezTo>
                      <a:pt x="83" y="43"/>
                      <a:pt x="101" y="28"/>
                      <a:pt x="113" y="17"/>
                    </a:cubicBezTo>
                    <a:cubicBezTo>
                      <a:pt x="119" y="12"/>
                      <a:pt x="125" y="7"/>
                      <a:pt x="128" y="4"/>
                    </a:cubicBezTo>
                    <a:cubicBezTo>
                      <a:pt x="130" y="3"/>
                      <a:pt x="131" y="2"/>
                      <a:pt x="132" y="1"/>
                    </a:cubicBezTo>
                    <a:cubicBezTo>
                      <a:pt x="133" y="0"/>
                      <a:pt x="134" y="0"/>
                      <a:pt x="1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899BE2C5-9C2C-4D05-A475-6A9A4CAF1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6" y="2167"/>
                <a:ext cx="36" cy="102"/>
              </a:xfrm>
              <a:custGeom>
                <a:avLst/>
                <a:gdLst>
                  <a:gd name="T0" fmla="*/ 1 w 15"/>
                  <a:gd name="T1" fmla="*/ 42 h 43"/>
                  <a:gd name="T2" fmla="*/ 8 w 15"/>
                  <a:gd name="T3" fmla="*/ 21 h 43"/>
                  <a:gd name="T4" fmla="*/ 15 w 15"/>
                  <a:gd name="T5" fmla="*/ 0 h 43"/>
                  <a:gd name="T6" fmla="*/ 10 w 15"/>
                  <a:gd name="T7" fmla="*/ 22 h 43"/>
                  <a:gd name="T8" fmla="*/ 4 w 15"/>
                  <a:gd name="T9" fmla="*/ 37 h 43"/>
                  <a:gd name="T10" fmla="*/ 1 w 15"/>
                  <a:gd name="T11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3">
                    <a:moveTo>
                      <a:pt x="1" y="42"/>
                    </a:moveTo>
                    <a:cubicBezTo>
                      <a:pt x="0" y="42"/>
                      <a:pt x="4" y="33"/>
                      <a:pt x="8" y="21"/>
                    </a:cubicBezTo>
                    <a:cubicBezTo>
                      <a:pt x="12" y="10"/>
                      <a:pt x="14" y="0"/>
                      <a:pt x="15" y="0"/>
                    </a:cubicBezTo>
                    <a:cubicBezTo>
                      <a:pt x="15" y="0"/>
                      <a:pt x="14" y="10"/>
                      <a:pt x="10" y="22"/>
                    </a:cubicBezTo>
                    <a:cubicBezTo>
                      <a:pt x="8" y="28"/>
                      <a:pt x="6" y="33"/>
                      <a:pt x="4" y="37"/>
                    </a:cubicBezTo>
                    <a:cubicBezTo>
                      <a:pt x="2" y="40"/>
                      <a:pt x="1" y="43"/>
                      <a:pt x="1" y="4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CF62D7C2-8EDC-4D65-9FF5-B9DCA3076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2231"/>
                <a:ext cx="166" cy="211"/>
              </a:xfrm>
              <a:custGeom>
                <a:avLst/>
                <a:gdLst>
                  <a:gd name="T0" fmla="*/ 70 w 70"/>
                  <a:gd name="T1" fmla="*/ 89 h 89"/>
                  <a:gd name="T2" fmla="*/ 67 w 70"/>
                  <a:gd name="T3" fmla="*/ 86 h 89"/>
                  <a:gd name="T4" fmla="*/ 60 w 70"/>
                  <a:gd name="T5" fmla="*/ 76 h 89"/>
                  <a:gd name="T6" fmla="*/ 35 w 70"/>
                  <a:gd name="T7" fmla="*/ 45 h 89"/>
                  <a:gd name="T8" fmla="*/ 10 w 70"/>
                  <a:gd name="T9" fmla="*/ 13 h 89"/>
                  <a:gd name="T10" fmla="*/ 2 w 70"/>
                  <a:gd name="T11" fmla="*/ 4 h 89"/>
                  <a:gd name="T12" fmla="*/ 0 w 70"/>
                  <a:gd name="T13" fmla="*/ 0 h 89"/>
                  <a:gd name="T14" fmla="*/ 3 w 70"/>
                  <a:gd name="T15" fmla="*/ 3 h 89"/>
                  <a:gd name="T16" fmla="*/ 11 w 70"/>
                  <a:gd name="T17" fmla="*/ 13 h 89"/>
                  <a:gd name="T18" fmla="*/ 37 w 70"/>
                  <a:gd name="T19" fmla="*/ 44 h 89"/>
                  <a:gd name="T20" fmla="*/ 61 w 70"/>
                  <a:gd name="T21" fmla="*/ 76 h 89"/>
                  <a:gd name="T22" fmla="*/ 68 w 70"/>
                  <a:gd name="T23" fmla="*/ 86 h 89"/>
                  <a:gd name="T24" fmla="*/ 70 w 70"/>
                  <a:gd name="T25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89">
                    <a:moveTo>
                      <a:pt x="70" y="89"/>
                    </a:moveTo>
                    <a:cubicBezTo>
                      <a:pt x="70" y="89"/>
                      <a:pt x="69" y="88"/>
                      <a:pt x="67" y="86"/>
                    </a:cubicBezTo>
                    <a:cubicBezTo>
                      <a:pt x="65" y="83"/>
                      <a:pt x="63" y="80"/>
                      <a:pt x="60" y="76"/>
                    </a:cubicBezTo>
                    <a:cubicBezTo>
                      <a:pt x="54" y="68"/>
                      <a:pt x="45" y="57"/>
                      <a:pt x="35" y="45"/>
                    </a:cubicBezTo>
                    <a:cubicBezTo>
                      <a:pt x="25" y="32"/>
                      <a:pt x="16" y="21"/>
                      <a:pt x="10" y="13"/>
                    </a:cubicBezTo>
                    <a:cubicBezTo>
                      <a:pt x="7" y="10"/>
                      <a:pt x="4" y="6"/>
                      <a:pt x="2" y="4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8" y="9"/>
                      <a:pt x="11" y="13"/>
                    </a:cubicBezTo>
                    <a:cubicBezTo>
                      <a:pt x="18" y="20"/>
                      <a:pt x="27" y="31"/>
                      <a:pt x="37" y="44"/>
                    </a:cubicBezTo>
                    <a:cubicBezTo>
                      <a:pt x="46" y="56"/>
                      <a:pt x="55" y="67"/>
                      <a:pt x="61" y="76"/>
                    </a:cubicBezTo>
                    <a:cubicBezTo>
                      <a:pt x="64" y="80"/>
                      <a:pt x="66" y="83"/>
                      <a:pt x="68" y="86"/>
                    </a:cubicBezTo>
                    <a:cubicBezTo>
                      <a:pt x="70" y="88"/>
                      <a:pt x="70" y="89"/>
                      <a:pt x="70" y="8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4D82C2E-C9E5-4FC4-A96C-6165CA28A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0" y="2283"/>
                <a:ext cx="28" cy="90"/>
              </a:xfrm>
              <a:custGeom>
                <a:avLst/>
                <a:gdLst>
                  <a:gd name="T0" fmla="*/ 12 w 12"/>
                  <a:gd name="T1" fmla="*/ 37 h 38"/>
                  <a:gd name="T2" fmla="*/ 2 w 12"/>
                  <a:gd name="T3" fmla="*/ 19 h 38"/>
                  <a:gd name="T4" fmla="*/ 0 w 12"/>
                  <a:gd name="T5" fmla="*/ 0 h 38"/>
                  <a:gd name="T6" fmla="*/ 1 w 12"/>
                  <a:gd name="T7" fmla="*/ 1 h 38"/>
                  <a:gd name="T8" fmla="*/ 0 w 12"/>
                  <a:gd name="T9" fmla="*/ 3 h 38"/>
                  <a:gd name="T10" fmla="*/ 0 w 12"/>
                  <a:gd name="T11" fmla="*/ 0 h 38"/>
                  <a:gd name="T12" fmla="*/ 1 w 12"/>
                  <a:gd name="T13" fmla="*/ 0 h 38"/>
                  <a:gd name="T14" fmla="*/ 4 w 12"/>
                  <a:gd name="T15" fmla="*/ 18 h 38"/>
                  <a:gd name="T16" fmla="*/ 12 w 12"/>
                  <a:gd name="T17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8">
                    <a:moveTo>
                      <a:pt x="12" y="37"/>
                    </a:moveTo>
                    <a:cubicBezTo>
                      <a:pt x="12" y="38"/>
                      <a:pt x="5" y="30"/>
                      <a:pt x="2" y="19"/>
                    </a:cubicBezTo>
                    <a:cubicBezTo>
                      <a:pt x="0" y="11"/>
                      <a:pt x="0" y="4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2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4"/>
                      <a:pt x="2" y="11"/>
                      <a:pt x="4" y="18"/>
                    </a:cubicBezTo>
                    <a:cubicBezTo>
                      <a:pt x="7" y="29"/>
                      <a:pt x="12" y="37"/>
                      <a:pt x="12" y="3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3CBFDD96-3BA0-4683-84D4-12831BFBD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" y="2262"/>
                <a:ext cx="126" cy="21"/>
              </a:xfrm>
              <a:custGeom>
                <a:avLst/>
                <a:gdLst>
                  <a:gd name="T0" fmla="*/ 53 w 53"/>
                  <a:gd name="T1" fmla="*/ 8 h 9"/>
                  <a:gd name="T2" fmla="*/ 46 w 53"/>
                  <a:gd name="T3" fmla="*/ 4 h 9"/>
                  <a:gd name="T4" fmla="*/ 27 w 53"/>
                  <a:gd name="T5" fmla="*/ 3 h 9"/>
                  <a:gd name="T6" fmla="*/ 8 w 53"/>
                  <a:gd name="T7" fmla="*/ 6 h 9"/>
                  <a:gd name="T8" fmla="*/ 0 w 53"/>
                  <a:gd name="T9" fmla="*/ 8 h 9"/>
                  <a:gd name="T10" fmla="*/ 7 w 53"/>
                  <a:gd name="T11" fmla="*/ 5 h 9"/>
                  <a:gd name="T12" fmla="*/ 27 w 53"/>
                  <a:gd name="T13" fmla="*/ 1 h 9"/>
                  <a:gd name="T14" fmla="*/ 46 w 53"/>
                  <a:gd name="T15" fmla="*/ 3 h 9"/>
                  <a:gd name="T16" fmla="*/ 53 w 53"/>
                  <a:gd name="T1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9">
                    <a:moveTo>
                      <a:pt x="53" y="8"/>
                    </a:moveTo>
                    <a:cubicBezTo>
                      <a:pt x="53" y="9"/>
                      <a:pt x="51" y="6"/>
                      <a:pt x="46" y="4"/>
                    </a:cubicBezTo>
                    <a:cubicBezTo>
                      <a:pt x="41" y="3"/>
                      <a:pt x="35" y="2"/>
                      <a:pt x="27" y="3"/>
                    </a:cubicBezTo>
                    <a:cubicBezTo>
                      <a:pt x="19" y="3"/>
                      <a:pt x="13" y="5"/>
                      <a:pt x="8" y="6"/>
                    </a:cubicBezTo>
                    <a:cubicBezTo>
                      <a:pt x="3" y="7"/>
                      <a:pt x="0" y="8"/>
                      <a:pt x="0" y="8"/>
                    </a:cubicBezTo>
                    <a:cubicBezTo>
                      <a:pt x="0" y="8"/>
                      <a:pt x="3" y="6"/>
                      <a:pt x="7" y="5"/>
                    </a:cubicBezTo>
                    <a:cubicBezTo>
                      <a:pt x="12" y="3"/>
                      <a:pt x="19" y="2"/>
                      <a:pt x="27" y="1"/>
                    </a:cubicBezTo>
                    <a:cubicBezTo>
                      <a:pt x="34" y="0"/>
                      <a:pt x="42" y="1"/>
                      <a:pt x="46" y="3"/>
                    </a:cubicBezTo>
                    <a:cubicBezTo>
                      <a:pt x="51" y="5"/>
                      <a:pt x="53" y="8"/>
                      <a:pt x="53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BD28C3A8-CA71-4403-9225-D3F4F19C9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" y="2231"/>
                <a:ext cx="178" cy="28"/>
              </a:xfrm>
              <a:custGeom>
                <a:avLst/>
                <a:gdLst>
                  <a:gd name="T0" fmla="*/ 75 w 75"/>
                  <a:gd name="T1" fmla="*/ 12 h 12"/>
                  <a:gd name="T2" fmla="*/ 64 w 75"/>
                  <a:gd name="T3" fmla="*/ 8 h 12"/>
                  <a:gd name="T4" fmla="*/ 38 w 75"/>
                  <a:gd name="T5" fmla="*/ 3 h 12"/>
                  <a:gd name="T6" fmla="*/ 11 w 75"/>
                  <a:gd name="T7" fmla="*/ 4 h 12"/>
                  <a:gd name="T8" fmla="*/ 0 w 75"/>
                  <a:gd name="T9" fmla="*/ 6 h 12"/>
                  <a:gd name="T10" fmla="*/ 3 w 75"/>
                  <a:gd name="T11" fmla="*/ 5 h 12"/>
                  <a:gd name="T12" fmla="*/ 11 w 75"/>
                  <a:gd name="T13" fmla="*/ 3 h 12"/>
                  <a:gd name="T14" fmla="*/ 38 w 75"/>
                  <a:gd name="T15" fmla="*/ 1 h 12"/>
                  <a:gd name="T16" fmla="*/ 65 w 75"/>
                  <a:gd name="T17" fmla="*/ 7 h 12"/>
                  <a:gd name="T18" fmla="*/ 72 w 75"/>
                  <a:gd name="T19" fmla="*/ 11 h 12"/>
                  <a:gd name="T20" fmla="*/ 75 w 75"/>
                  <a:gd name="T2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5" h="12">
                    <a:moveTo>
                      <a:pt x="75" y="12"/>
                    </a:moveTo>
                    <a:cubicBezTo>
                      <a:pt x="75" y="12"/>
                      <a:pt x="71" y="11"/>
                      <a:pt x="64" y="8"/>
                    </a:cubicBezTo>
                    <a:cubicBezTo>
                      <a:pt x="58" y="6"/>
                      <a:pt x="48" y="4"/>
                      <a:pt x="38" y="3"/>
                    </a:cubicBezTo>
                    <a:cubicBezTo>
                      <a:pt x="28" y="2"/>
                      <a:pt x="18" y="3"/>
                      <a:pt x="11" y="4"/>
                    </a:cubicBezTo>
                    <a:cubicBezTo>
                      <a:pt x="5" y="5"/>
                      <a:pt x="0" y="7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5" y="5"/>
                      <a:pt x="8" y="4"/>
                      <a:pt x="11" y="3"/>
                    </a:cubicBezTo>
                    <a:cubicBezTo>
                      <a:pt x="18" y="1"/>
                      <a:pt x="28" y="0"/>
                      <a:pt x="38" y="1"/>
                    </a:cubicBezTo>
                    <a:cubicBezTo>
                      <a:pt x="49" y="2"/>
                      <a:pt x="58" y="5"/>
                      <a:pt x="65" y="7"/>
                    </a:cubicBezTo>
                    <a:cubicBezTo>
                      <a:pt x="68" y="8"/>
                      <a:pt x="70" y="10"/>
                      <a:pt x="72" y="11"/>
                    </a:cubicBezTo>
                    <a:cubicBezTo>
                      <a:pt x="74" y="11"/>
                      <a:pt x="75" y="12"/>
                      <a:pt x="75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72">
                <a:extLst>
                  <a:ext uri="{FF2B5EF4-FFF2-40B4-BE49-F238E27FC236}">
                    <a16:creationId xmlns:a16="http://schemas.microsoft.com/office/drawing/2014/main" id="{639D360C-8683-46BE-A1F4-1F4294C06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2041"/>
                <a:ext cx="35" cy="126"/>
              </a:xfrm>
              <a:custGeom>
                <a:avLst/>
                <a:gdLst>
                  <a:gd name="T0" fmla="*/ 14 w 15"/>
                  <a:gd name="T1" fmla="*/ 53 h 53"/>
                  <a:gd name="T2" fmla="*/ 7 w 15"/>
                  <a:gd name="T3" fmla="*/ 27 h 53"/>
                  <a:gd name="T4" fmla="*/ 1 w 15"/>
                  <a:gd name="T5" fmla="*/ 0 h 53"/>
                  <a:gd name="T6" fmla="*/ 8 w 15"/>
                  <a:gd name="T7" fmla="*/ 26 h 53"/>
                  <a:gd name="T8" fmla="*/ 14 w 15"/>
                  <a:gd name="T9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53">
                    <a:moveTo>
                      <a:pt x="14" y="53"/>
                    </a:moveTo>
                    <a:cubicBezTo>
                      <a:pt x="14" y="53"/>
                      <a:pt x="10" y="41"/>
                      <a:pt x="7" y="27"/>
                    </a:cubicBezTo>
                    <a:cubicBezTo>
                      <a:pt x="3" y="12"/>
                      <a:pt x="0" y="0"/>
                      <a:pt x="1" y="0"/>
                    </a:cubicBezTo>
                    <a:cubicBezTo>
                      <a:pt x="1" y="0"/>
                      <a:pt x="4" y="11"/>
                      <a:pt x="8" y="26"/>
                    </a:cubicBezTo>
                    <a:cubicBezTo>
                      <a:pt x="12" y="41"/>
                      <a:pt x="15" y="53"/>
                      <a:pt x="14" y="5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73">
                <a:extLst>
                  <a:ext uri="{FF2B5EF4-FFF2-40B4-BE49-F238E27FC236}">
                    <a16:creationId xmlns:a16="http://schemas.microsoft.com/office/drawing/2014/main" id="{21315926-1E58-4DA3-888E-E0F6C373AC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098"/>
                <a:ext cx="52" cy="69"/>
              </a:xfrm>
              <a:custGeom>
                <a:avLst/>
                <a:gdLst>
                  <a:gd name="T0" fmla="*/ 22 w 22"/>
                  <a:gd name="T1" fmla="*/ 29 h 29"/>
                  <a:gd name="T2" fmla="*/ 13 w 22"/>
                  <a:gd name="T3" fmla="*/ 13 h 29"/>
                  <a:gd name="T4" fmla="*/ 1 w 22"/>
                  <a:gd name="T5" fmla="*/ 0 h 29"/>
                  <a:gd name="T6" fmla="*/ 6 w 22"/>
                  <a:gd name="T7" fmla="*/ 3 h 29"/>
                  <a:gd name="T8" fmla="*/ 15 w 22"/>
                  <a:gd name="T9" fmla="*/ 12 h 29"/>
                  <a:gd name="T10" fmla="*/ 22 w 22"/>
                  <a:gd name="T1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9">
                    <a:moveTo>
                      <a:pt x="22" y="29"/>
                    </a:moveTo>
                    <a:cubicBezTo>
                      <a:pt x="21" y="29"/>
                      <a:pt x="19" y="21"/>
                      <a:pt x="13" y="13"/>
                    </a:cubicBezTo>
                    <a:cubicBezTo>
                      <a:pt x="8" y="5"/>
                      <a:pt x="0" y="1"/>
                      <a:pt x="1" y="0"/>
                    </a:cubicBezTo>
                    <a:cubicBezTo>
                      <a:pt x="1" y="0"/>
                      <a:pt x="3" y="1"/>
                      <a:pt x="6" y="3"/>
                    </a:cubicBezTo>
                    <a:cubicBezTo>
                      <a:pt x="8" y="5"/>
                      <a:pt x="12" y="8"/>
                      <a:pt x="15" y="12"/>
                    </a:cubicBezTo>
                    <a:cubicBezTo>
                      <a:pt x="21" y="21"/>
                      <a:pt x="22" y="29"/>
                      <a:pt x="22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74">
                <a:extLst>
                  <a:ext uri="{FF2B5EF4-FFF2-40B4-BE49-F238E27FC236}">
                    <a16:creationId xmlns:a16="http://schemas.microsoft.com/office/drawing/2014/main" id="{128B56E2-F64A-4481-94EE-4E9B80F45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7" y="2575"/>
                <a:ext cx="266" cy="423"/>
              </a:xfrm>
              <a:custGeom>
                <a:avLst/>
                <a:gdLst>
                  <a:gd name="T0" fmla="*/ 112 w 112"/>
                  <a:gd name="T1" fmla="*/ 178 h 178"/>
                  <a:gd name="T2" fmla="*/ 110 w 112"/>
                  <a:gd name="T3" fmla="*/ 170 h 178"/>
                  <a:gd name="T4" fmla="*/ 102 w 112"/>
                  <a:gd name="T5" fmla="*/ 149 h 178"/>
                  <a:gd name="T6" fmla="*/ 59 w 112"/>
                  <a:gd name="T7" fmla="*/ 88 h 178"/>
                  <a:gd name="T8" fmla="*/ 32 w 112"/>
                  <a:gd name="T9" fmla="*/ 56 h 178"/>
                  <a:gd name="T10" fmla="*/ 13 w 112"/>
                  <a:gd name="T11" fmla="*/ 29 h 178"/>
                  <a:gd name="T12" fmla="*/ 3 w 112"/>
                  <a:gd name="T13" fmla="*/ 8 h 178"/>
                  <a:gd name="T14" fmla="*/ 1 w 112"/>
                  <a:gd name="T15" fmla="*/ 2 h 178"/>
                  <a:gd name="T16" fmla="*/ 0 w 112"/>
                  <a:gd name="T17" fmla="*/ 0 h 178"/>
                  <a:gd name="T18" fmla="*/ 3 w 112"/>
                  <a:gd name="T19" fmla="*/ 8 h 178"/>
                  <a:gd name="T20" fmla="*/ 14 w 112"/>
                  <a:gd name="T21" fmla="*/ 28 h 178"/>
                  <a:gd name="T22" fmla="*/ 33 w 112"/>
                  <a:gd name="T23" fmla="*/ 55 h 178"/>
                  <a:gd name="T24" fmla="*/ 60 w 112"/>
                  <a:gd name="T25" fmla="*/ 87 h 178"/>
                  <a:gd name="T26" fmla="*/ 103 w 112"/>
                  <a:gd name="T27" fmla="*/ 148 h 178"/>
                  <a:gd name="T28" fmla="*/ 111 w 112"/>
                  <a:gd name="T29" fmla="*/ 170 h 178"/>
                  <a:gd name="T30" fmla="*/ 112 w 112"/>
                  <a:gd name="T31" fmla="*/ 176 h 178"/>
                  <a:gd name="T32" fmla="*/ 112 w 112"/>
                  <a:gd name="T33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178">
                    <a:moveTo>
                      <a:pt x="112" y="178"/>
                    </a:moveTo>
                    <a:cubicBezTo>
                      <a:pt x="112" y="178"/>
                      <a:pt x="112" y="175"/>
                      <a:pt x="110" y="170"/>
                    </a:cubicBezTo>
                    <a:cubicBezTo>
                      <a:pt x="109" y="165"/>
                      <a:pt x="106" y="157"/>
                      <a:pt x="102" y="149"/>
                    </a:cubicBezTo>
                    <a:cubicBezTo>
                      <a:pt x="94" y="132"/>
                      <a:pt x="78" y="110"/>
                      <a:pt x="59" y="88"/>
                    </a:cubicBezTo>
                    <a:cubicBezTo>
                      <a:pt x="49" y="77"/>
                      <a:pt x="40" y="66"/>
                      <a:pt x="32" y="56"/>
                    </a:cubicBezTo>
                    <a:cubicBezTo>
                      <a:pt x="24" y="46"/>
                      <a:pt x="17" y="37"/>
                      <a:pt x="13" y="29"/>
                    </a:cubicBezTo>
                    <a:cubicBezTo>
                      <a:pt x="8" y="20"/>
                      <a:pt x="5" y="13"/>
                      <a:pt x="3" y="8"/>
                    </a:cubicBezTo>
                    <a:cubicBezTo>
                      <a:pt x="2" y="5"/>
                      <a:pt x="1" y="3"/>
                      <a:pt x="1" y="2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1" y="0"/>
                      <a:pt x="1" y="3"/>
                      <a:pt x="3" y="8"/>
                    </a:cubicBezTo>
                    <a:cubicBezTo>
                      <a:pt x="6" y="13"/>
                      <a:pt x="9" y="20"/>
                      <a:pt x="14" y="28"/>
                    </a:cubicBezTo>
                    <a:cubicBezTo>
                      <a:pt x="19" y="36"/>
                      <a:pt x="25" y="46"/>
                      <a:pt x="33" y="55"/>
                    </a:cubicBezTo>
                    <a:cubicBezTo>
                      <a:pt x="41" y="65"/>
                      <a:pt x="51" y="76"/>
                      <a:pt x="60" y="87"/>
                    </a:cubicBezTo>
                    <a:cubicBezTo>
                      <a:pt x="80" y="109"/>
                      <a:pt x="95" y="131"/>
                      <a:pt x="103" y="148"/>
                    </a:cubicBezTo>
                    <a:cubicBezTo>
                      <a:pt x="107" y="157"/>
                      <a:pt x="110" y="165"/>
                      <a:pt x="111" y="170"/>
                    </a:cubicBezTo>
                    <a:cubicBezTo>
                      <a:pt x="112" y="172"/>
                      <a:pt x="112" y="175"/>
                      <a:pt x="112" y="176"/>
                    </a:cubicBezTo>
                    <a:cubicBezTo>
                      <a:pt x="112" y="177"/>
                      <a:pt x="112" y="178"/>
                      <a:pt x="112" y="17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75">
                <a:extLst>
                  <a:ext uri="{FF2B5EF4-FFF2-40B4-BE49-F238E27FC236}">
                    <a16:creationId xmlns:a16="http://schemas.microsoft.com/office/drawing/2014/main" id="{B8E16431-D8CE-4321-9273-5873AE7C7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2739"/>
                <a:ext cx="230" cy="259"/>
              </a:xfrm>
              <a:custGeom>
                <a:avLst/>
                <a:gdLst>
                  <a:gd name="T0" fmla="*/ 97 w 97"/>
                  <a:gd name="T1" fmla="*/ 0 h 109"/>
                  <a:gd name="T2" fmla="*/ 92 w 97"/>
                  <a:gd name="T3" fmla="*/ 3 h 109"/>
                  <a:gd name="T4" fmla="*/ 79 w 97"/>
                  <a:gd name="T5" fmla="*/ 12 h 109"/>
                  <a:gd name="T6" fmla="*/ 61 w 97"/>
                  <a:gd name="T7" fmla="*/ 27 h 109"/>
                  <a:gd name="T8" fmla="*/ 43 w 97"/>
                  <a:gd name="T9" fmla="*/ 49 h 109"/>
                  <a:gd name="T10" fmla="*/ 11 w 97"/>
                  <a:gd name="T11" fmla="*/ 90 h 109"/>
                  <a:gd name="T12" fmla="*/ 3 w 97"/>
                  <a:gd name="T13" fmla="*/ 104 h 109"/>
                  <a:gd name="T14" fmla="*/ 0 w 97"/>
                  <a:gd name="T15" fmla="*/ 109 h 109"/>
                  <a:gd name="T16" fmla="*/ 1 w 97"/>
                  <a:gd name="T17" fmla="*/ 108 h 109"/>
                  <a:gd name="T18" fmla="*/ 2 w 97"/>
                  <a:gd name="T19" fmla="*/ 104 h 109"/>
                  <a:gd name="T20" fmla="*/ 10 w 97"/>
                  <a:gd name="T21" fmla="*/ 90 h 109"/>
                  <a:gd name="T22" fmla="*/ 41 w 97"/>
                  <a:gd name="T23" fmla="*/ 48 h 109"/>
                  <a:gd name="T24" fmla="*/ 60 w 97"/>
                  <a:gd name="T25" fmla="*/ 26 h 109"/>
                  <a:gd name="T26" fmla="*/ 78 w 97"/>
                  <a:gd name="T27" fmla="*/ 11 h 109"/>
                  <a:gd name="T28" fmla="*/ 91 w 97"/>
                  <a:gd name="T29" fmla="*/ 2 h 109"/>
                  <a:gd name="T30" fmla="*/ 95 w 97"/>
                  <a:gd name="T31" fmla="*/ 1 h 109"/>
                  <a:gd name="T32" fmla="*/ 97 w 97"/>
                  <a:gd name="T3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7" h="109">
                    <a:moveTo>
                      <a:pt x="97" y="0"/>
                    </a:moveTo>
                    <a:cubicBezTo>
                      <a:pt x="97" y="0"/>
                      <a:pt x="95" y="1"/>
                      <a:pt x="92" y="3"/>
                    </a:cubicBezTo>
                    <a:cubicBezTo>
                      <a:pt x="88" y="5"/>
                      <a:pt x="84" y="8"/>
                      <a:pt x="79" y="12"/>
                    </a:cubicBezTo>
                    <a:cubicBezTo>
                      <a:pt x="73" y="16"/>
                      <a:pt x="67" y="21"/>
                      <a:pt x="61" y="27"/>
                    </a:cubicBezTo>
                    <a:cubicBezTo>
                      <a:pt x="55" y="34"/>
                      <a:pt x="49" y="41"/>
                      <a:pt x="43" y="49"/>
                    </a:cubicBezTo>
                    <a:cubicBezTo>
                      <a:pt x="30" y="65"/>
                      <a:pt x="18" y="79"/>
                      <a:pt x="11" y="90"/>
                    </a:cubicBezTo>
                    <a:cubicBezTo>
                      <a:pt x="7" y="96"/>
                      <a:pt x="5" y="101"/>
                      <a:pt x="3" y="104"/>
                    </a:cubicBezTo>
                    <a:cubicBezTo>
                      <a:pt x="1" y="107"/>
                      <a:pt x="0" y="109"/>
                      <a:pt x="0" y="109"/>
                    </a:cubicBezTo>
                    <a:cubicBezTo>
                      <a:pt x="0" y="109"/>
                      <a:pt x="0" y="109"/>
                      <a:pt x="1" y="108"/>
                    </a:cubicBezTo>
                    <a:cubicBezTo>
                      <a:pt x="1" y="107"/>
                      <a:pt x="2" y="105"/>
                      <a:pt x="2" y="104"/>
                    </a:cubicBezTo>
                    <a:cubicBezTo>
                      <a:pt x="4" y="100"/>
                      <a:pt x="6" y="95"/>
                      <a:pt x="10" y="90"/>
                    </a:cubicBezTo>
                    <a:cubicBezTo>
                      <a:pt x="17" y="78"/>
                      <a:pt x="29" y="64"/>
                      <a:pt x="41" y="48"/>
                    </a:cubicBezTo>
                    <a:cubicBezTo>
                      <a:pt x="48" y="40"/>
                      <a:pt x="54" y="33"/>
                      <a:pt x="60" y="26"/>
                    </a:cubicBezTo>
                    <a:cubicBezTo>
                      <a:pt x="66" y="20"/>
                      <a:pt x="72" y="15"/>
                      <a:pt x="78" y="11"/>
                    </a:cubicBezTo>
                    <a:cubicBezTo>
                      <a:pt x="83" y="7"/>
                      <a:pt x="88" y="4"/>
                      <a:pt x="91" y="2"/>
                    </a:cubicBezTo>
                    <a:cubicBezTo>
                      <a:pt x="93" y="2"/>
                      <a:pt x="94" y="1"/>
                      <a:pt x="95" y="1"/>
                    </a:cubicBezTo>
                    <a:cubicBezTo>
                      <a:pt x="96" y="0"/>
                      <a:pt x="97" y="0"/>
                      <a:pt x="9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76">
                <a:extLst>
                  <a:ext uri="{FF2B5EF4-FFF2-40B4-BE49-F238E27FC236}">
                    <a16:creationId xmlns:a16="http://schemas.microsoft.com/office/drawing/2014/main" id="{00B29DA1-D2D8-4806-BB65-933C66960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9" y="2822"/>
                <a:ext cx="159" cy="62"/>
              </a:xfrm>
              <a:custGeom>
                <a:avLst/>
                <a:gdLst>
                  <a:gd name="T0" fmla="*/ 67 w 67"/>
                  <a:gd name="T1" fmla="*/ 1 h 26"/>
                  <a:gd name="T2" fmla="*/ 56 w 67"/>
                  <a:gd name="T3" fmla="*/ 2 h 26"/>
                  <a:gd name="T4" fmla="*/ 31 w 67"/>
                  <a:gd name="T5" fmla="*/ 7 h 26"/>
                  <a:gd name="T6" fmla="*/ 8 w 67"/>
                  <a:gd name="T7" fmla="*/ 19 h 26"/>
                  <a:gd name="T8" fmla="*/ 0 w 67"/>
                  <a:gd name="T9" fmla="*/ 26 h 26"/>
                  <a:gd name="T10" fmla="*/ 2 w 67"/>
                  <a:gd name="T11" fmla="*/ 24 h 26"/>
                  <a:gd name="T12" fmla="*/ 7 w 67"/>
                  <a:gd name="T13" fmla="*/ 18 h 26"/>
                  <a:gd name="T14" fmla="*/ 30 w 67"/>
                  <a:gd name="T15" fmla="*/ 5 h 26"/>
                  <a:gd name="T16" fmla="*/ 56 w 67"/>
                  <a:gd name="T17" fmla="*/ 1 h 26"/>
                  <a:gd name="T18" fmla="*/ 67 w 67"/>
                  <a:gd name="T19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26">
                    <a:moveTo>
                      <a:pt x="67" y="1"/>
                    </a:moveTo>
                    <a:cubicBezTo>
                      <a:pt x="67" y="1"/>
                      <a:pt x="63" y="1"/>
                      <a:pt x="56" y="2"/>
                    </a:cubicBezTo>
                    <a:cubicBezTo>
                      <a:pt x="49" y="3"/>
                      <a:pt x="40" y="4"/>
                      <a:pt x="31" y="7"/>
                    </a:cubicBezTo>
                    <a:cubicBezTo>
                      <a:pt x="21" y="10"/>
                      <a:pt x="13" y="15"/>
                      <a:pt x="8" y="19"/>
                    </a:cubicBezTo>
                    <a:cubicBezTo>
                      <a:pt x="3" y="23"/>
                      <a:pt x="0" y="26"/>
                      <a:pt x="0" y="26"/>
                    </a:cubicBezTo>
                    <a:cubicBezTo>
                      <a:pt x="0" y="26"/>
                      <a:pt x="0" y="25"/>
                      <a:pt x="2" y="24"/>
                    </a:cubicBezTo>
                    <a:cubicBezTo>
                      <a:pt x="3" y="22"/>
                      <a:pt x="5" y="20"/>
                      <a:pt x="7" y="18"/>
                    </a:cubicBezTo>
                    <a:cubicBezTo>
                      <a:pt x="12" y="14"/>
                      <a:pt x="20" y="9"/>
                      <a:pt x="30" y="5"/>
                    </a:cubicBezTo>
                    <a:cubicBezTo>
                      <a:pt x="40" y="2"/>
                      <a:pt x="49" y="1"/>
                      <a:pt x="56" y="1"/>
                    </a:cubicBezTo>
                    <a:cubicBezTo>
                      <a:pt x="62" y="0"/>
                      <a:pt x="67" y="0"/>
                      <a:pt x="6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77">
                <a:extLst>
                  <a:ext uri="{FF2B5EF4-FFF2-40B4-BE49-F238E27FC236}">
                    <a16:creationId xmlns:a16="http://schemas.microsoft.com/office/drawing/2014/main" id="{6337B0C5-7301-4642-B276-2EE953DE9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2789"/>
                <a:ext cx="31" cy="85"/>
              </a:xfrm>
              <a:custGeom>
                <a:avLst/>
                <a:gdLst>
                  <a:gd name="T0" fmla="*/ 0 w 13"/>
                  <a:gd name="T1" fmla="*/ 36 h 36"/>
                  <a:gd name="T2" fmla="*/ 8 w 13"/>
                  <a:gd name="T3" fmla="*/ 19 h 36"/>
                  <a:gd name="T4" fmla="*/ 13 w 13"/>
                  <a:gd name="T5" fmla="*/ 0 h 36"/>
                  <a:gd name="T6" fmla="*/ 13 w 13"/>
                  <a:gd name="T7" fmla="*/ 6 h 36"/>
                  <a:gd name="T8" fmla="*/ 10 w 13"/>
                  <a:gd name="T9" fmla="*/ 19 h 36"/>
                  <a:gd name="T10" fmla="*/ 4 w 13"/>
                  <a:gd name="T11" fmla="*/ 32 h 36"/>
                  <a:gd name="T12" fmla="*/ 0 w 13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36">
                    <a:moveTo>
                      <a:pt x="0" y="36"/>
                    </a:moveTo>
                    <a:cubicBezTo>
                      <a:pt x="0" y="36"/>
                      <a:pt x="4" y="29"/>
                      <a:pt x="8" y="19"/>
                    </a:cubicBezTo>
                    <a:cubicBezTo>
                      <a:pt x="12" y="9"/>
                      <a:pt x="12" y="0"/>
                      <a:pt x="13" y="0"/>
                    </a:cubicBezTo>
                    <a:cubicBezTo>
                      <a:pt x="13" y="0"/>
                      <a:pt x="13" y="2"/>
                      <a:pt x="13" y="6"/>
                    </a:cubicBezTo>
                    <a:cubicBezTo>
                      <a:pt x="12" y="9"/>
                      <a:pt x="12" y="14"/>
                      <a:pt x="10" y="19"/>
                    </a:cubicBezTo>
                    <a:cubicBezTo>
                      <a:pt x="8" y="24"/>
                      <a:pt x="5" y="29"/>
                      <a:pt x="4" y="32"/>
                    </a:cubicBezTo>
                    <a:cubicBezTo>
                      <a:pt x="2" y="35"/>
                      <a:pt x="0" y="36"/>
                      <a:pt x="0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78">
                <a:extLst>
                  <a:ext uri="{FF2B5EF4-FFF2-40B4-BE49-F238E27FC236}">
                    <a16:creationId xmlns:a16="http://schemas.microsoft.com/office/drawing/2014/main" id="{C9785591-BC8C-45F5-A9CB-428E54E45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" y="2513"/>
                <a:ext cx="304" cy="314"/>
              </a:xfrm>
              <a:custGeom>
                <a:avLst/>
                <a:gdLst>
                  <a:gd name="T0" fmla="*/ 128 w 128"/>
                  <a:gd name="T1" fmla="*/ 0 h 132"/>
                  <a:gd name="T2" fmla="*/ 126 w 128"/>
                  <a:gd name="T3" fmla="*/ 1 h 132"/>
                  <a:gd name="T4" fmla="*/ 121 w 128"/>
                  <a:gd name="T5" fmla="*/ 4 h 132"/>
                  <a:gd name="T6" fmla="*/ 113 w 128"/>
                  <a:gd name="T7" fmla="*/ 7 h 132"/>
                  <a:gd name="T8" fmla="*/ 103 w 128"/>
                  <a:gd name="T9" fmla="*/ 13 h 132"/>
                  <a:gd name="T10" fmla="*/ 97 w 128"/>
                  <a:gd name="T11" fmla="*/ 16 h 132"/>
                  <a:gd name="T12" fmla="*/ 91 w 128"/>
                  <a:gd name="T13" fmla="*/ 20 h 132"/>
                  <a:gd name="T14" fmla="*/ 78 w 128"/>
                  <a:gd name="T15" fmla="*/ 29 h 132"/>
                  <a:gd name="T16" fmla="*/ 50 w 128"/>
                  <a:gd name="T17" fmla="*/ 53 h 132"/>
                  <a:gd name="T18" fmla="*/ 27 w 128"/>
                  <a:gd name="T19" fmla="*/ 81 h 132"/>
                  <a:gd name="T20" fmla="*/ 19 w 128"/>
                  <a:gd name="T21" fmla="*/ 95 h 132"/>
                  <a:gd name="T22" fmla="*/ 15 w 128"/>
                  <a:gd name="T23" fmla="*/ 101 h 132"/>
                  <a:gd name="T24" fmla="*/ 12 w 128"/>
                  <a:gd name="T25" fmla="*/ 107 h 132"/>
                  <a:gd name="T26" fmla="*/ 7 w 128"/>
                  <a:gd name="T27" fmla="*/ 118 h 132"/>
                  <a:gd name="T28" fmla="*/ 3 w 128"/>
                  <a:gd name="T29" fmla="*/ 126 h 132"/>
                  <a:gd name="T30" fmla="*/ 1 w 128"/>
                  <a:gd name="T31" fmla="*/ 131 h 132"/>
                  <a:gd name="T32" fmla="*/ 0 w 128"/>
                  <a:gd name="T33" fmla="*/ 132 h 132"/>
                  <a:gd name="T34" fmla="*/ 1 w 128"/>
                  <a:gd name="T35" fmla="*/ 131 h 132"/>
                  <a:gd name="T36" fmla="*/ 3 w 128"/>
                  <a:gd name="T37" fmla="*/ 125 h 132"/>
                  <a:gd name="T38" fmla="*/ 6 w 128"/>
                  <a:gd name="T39" fmla="*/ 117 h 132"/>
                  <a:gd name="T40" fmla="*/ 11 w 128"/>
                  <a:gd name="T41" fmla="*/ 107 h 132"/>
                  <a:gd name="T42" fmla="*/ 14 w 128"/>
                  <a:gd name="T43" fmla="*/ 101 h 132"/>
                  <a:gd name="T44" fmla="*/ 17 w 128"/>
                  <a:gd name="T45" fmla="*/ 94 h 132"/>
                  <a:gd name="T46" fmla="*/ 26 w 128"/>
                  <a:gd name="T47" fmla="*/ 81 h 132"/>
                  <a:gd name="T48" fmla="*/ 49 w 128"/>
                  <a:gd name="T49" fmla="*/ 52 h 132"/>
                  <a:gd name="T50" fmla="*/ 77 w 128"/>
                  <a:gd name="T51" fmla="*/ 28 h 132"/>
                  <a:gd name="T52" fmla="*/ 90 w 128"/>
                  <a:gd name="T53" fmla="*/ 19 h 132"/>
                  <a:gd name="T54" fmla="*/ 97 w 128"/>
                  <a:gd name="T55" fmla="*/ 15 h 132"/>
                  <a:gd name="T56" fmla="*/ 103 w 128"/>
                  <a:gd name="T57" fmla="*/ 12 h 132"/>
                  <a:gd name="T58" fmla="*/ 113 w 128"/>
                  <a:gd name="T59" fmla="*/ 6 h 132"/>
                  <a:gd name="T60" fmla="*/ 121 w 128"/>
                  <a:gd name="T61" fmla="*/ 3 h 132"/>
                  <a:gd name="T62" fmla="*/ 126 w 128"/>
                  <a:gd name="T63" fmla="*/ 1 h 132"/>
                  <a:gd name="T64" fmla="*/ 128 w 128"/>
                  <a:gd name="T6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8" h="132">
                    <a:moveTo>
                      <a:pt x="128" y="0"/>
                    </a:moveTo>
                    <a:cubicBezTo>
                      <a:pt x="128" y="0"/>
                      <a:pt x="127" y="1"/>
                      <a:pt x="126" y="1"/>
                    </a:cubicBezTo>
                    <a:cubicBezTo>
                      <a:pt x="125" y="2"/>
                      <a:pt x="123" y="3"/>
                      <a:pt x="121" y="4"/>
                    </a:cubicBezTo>
                    <a:cubicBezTo>
                      <a:pt x="119" y="4"/>
                      <a:pt x="116" y="6"/>
                      <a:pt x="113" y="7"/>
                    </a:cubicBezTo>
                    <a:cubicBezTo>
                      <a:pt x="110" y="9"/>
                      <a:pt x="107" y="10"/>
                      <a:pt x="103" y="13"/>
                    </a:cubicBezTo>
                    <a:cubicBezTo>
                      <a:pt x="101" y="14"/>
                      <a:pt x="99" y="15"/>
                      <a:pt x="97" y="16"/>
                    </a:cubicBezTo>
                    <a:cubicBezTo>
                      <a:pt x="95" y="17"/>
                      <a:pt x="93" y="18"/>
                      <a:pt x="91" y="20"/>
                    </a:cubicBezTo>
                    <a:cubicBezTo>
                      <a:pt x="87" y="22"/>
                      <a:pt x="83" y="26"/>
                      <a:pt x="78" y="29"/>
                    </a:cubicBezTo>
                    <a:cubicBezTo>
                      <a:pt x="69" y="36"/>
                      <a:pt x="60" y="44"/>
                      <a:pt x="50" y="53"/>
                    </a:cubicBezTo>
                    <a:cubicBezTo>
                      <a:pt x="41" y="63"/>
                      <a:pt x="34" y="72"/>
                      <a:pt x="27" y="81"/>
                    </a:cubicBezTo>
                    <a:cubicBezTo>
                      <a:pt x="24" y="86"/>
                      <a:pt x="21" y="91"/>
                      <a:pt x="19" y="95"/>
                    </a:cubicBezTo>
                    <a:cubicBezTo>
                      <a:pt x="17" y="97"/>
                      <a:pt x="16" y="99"/>
                      <a:pt x="15" y="101"/>
                    </a:cubicBezTo>
                    <a:cubicBezTo>
                      <a:pt x="14" y="103"/>
                      <a:pt x="13" y="105"/>
                      <a:pt x="12" y="107"/>
                    </a:cubicBezTo>
                    <a:cubicBezTo>
                      <a:pt x="10" y="111"/>
                      <a:pt x="8" y="115"/>
                      <a:pt x="7" y="118"/>
                    </a:cubicBezTo>
                    <a:cubicBezTo>
                      <a:pt x="5" y="121"/>
                      <a:pt x="4" y="123"/>
                      <a:pt x="3" y="126"/>
                    </a:cubicBezTo>
                    <a:cubicBezTo>
                      <a:pt x="2" y="128"/>
                      <a:pt x="2" y="129"/>
                      <a:pt x="1" y="131"/>
                    </a:cubicBezTo>
                    <a:cubicBezTo>
                      <a:pt x="1" y="132"/>
                      <a:pt x="0" y="132"/>
                      <a:pt x="0" y="132"/>
                    </a:cubicBezTo>
                    <a:cubicBezTo>
                      <a:pt x="0" y="132"/>
                      <a:pt x="0" y="132"/>
                      <a:pt x="1" y="131"/>
                    </a:cubicBezTo>
                    <a:cubicBezTo>
                      <a:pt x="1" y="129"/>
                      <a:pt x="2" y="127"/>
                      <a:pt x="3" y="125"/>
                    </a:cubicBezTo>
                    <a:cubicBezTo>
                      <a:pt x="3" y="123"/>
                      <a:pt x="4" y="120"/>
                      <a:pt x="6" y="117"/>
                    </a:cubicBezTo>
                    <a:cubicBezTo>
                      <a:pt x="7" y="114"/>
                      <a:pt x="9" y="110"/>
                      <a:pt x="11" y="107"/>
                    </a:cubicBezTo>
                    <a:cubicBezTo>
                      <a:pt x="12" y="105"/>
                      <a:pt x="13" y="103"/>
                      <a:pt x="14" y="101"/>
                    </a:cubicBezTo>
                    <a:cubicBezTo>
                      <a:pt x="15" y="99"/>
                      <a:pt x="16" y="96"/>
                      <a:pt x="17" y="94"/>
                    </a:cubicBezTo>
                    <a:cubicBezTo>
                      <a:pt x="20" y="90"/>
                      <a:pt x="23" y="85"/>
                      <a:pt x="26" y="81"/>
                    </a:cubicBezTo>
                    <a:cubicBezTo>
                      <a:pt x="32" y="71"/>
                      <a:pt x="40" y="61"/>
                      <a:pt x="49" y="52"/>
                    </a:cubicBezTo>
                    <a:cubicBezTo>
                      <a:pt x="58" y="43"/>
                      <a:pt x="68" y="34"/>
                      <a:pt x="77" y="28"/>
                    </a:cubicBezTo>
                    <a:cubicBezTo>
                      <a:pt x="82" y="24"/>
                      <a:pt x="86" y="21"/>
                      <a:pt x="90" y="19"/>
                    </a:cubicBezTo>
                    <a:cubicBezTo>
                      <a:pt x="93" y="17"/>
                      <a:pt x="95" y="16"/>
                      <a:pt x="97" y="15"/>
                    </a:cubicBezTo>
                    <a:cubicBezTo>
                      <a:pt x="99" y="14"/>
                      <a:pt x="101" y="13"/>
                      <a:pt x="103" y="12"/>
                    </a:cubicBezTo>
                    <a:cubicBezTo>
                      <a:pt x="106" y="9"/>
                      <a:pt x="110" y="8"/>
                      <a:pt x="113" y="6"/>
                    </a:cubicBezTo>
                    <a:cubicBezTo>
                      <a:pt x="116" y="5"/>
                      <a:pt x="119" y="4"/>
                      <a:pt x="121" y="3"/>
                    </a:cubicBezTo>
                    <a:cubicBezTo>
                      <a:pt x="123" y="2"/>
                      <a:pt x="125" y="1"/>
                      <a:pt x="126" y="1"/>
                    </a:cubicBezTo>
                    <a:cubicBezTo>
                      <a:pt x="127" y="1"/>
                      <a:pt x="128" y="0"/>
                      <a:pt x="128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79">
                <a:extLst>
                  <a:ext uri="{FF2B5EF4-FFF2-40B4-BE49-F238E27FC236}">
                    <a16:creationId xmlns:a16="http://schemas.microsoft.com/office/drawing/2014/main" id="{414D294B-3A56-4465-BD6A-113F5B84F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4" y="2606"/>
                <a:ext cx="109" cy="31"/>
              </a:xfrm>
              <a:custGeom>
                <a:avLst/>
                <a:gdLst>
                  <a:gd name="T0" fmla="*/ 1 w 46"/>
                  <a:gd name="T1" fmla="*/ 12 h 13"/>
                  <a:gd name="T2" fmla="*/ 5 w 46"/>
                  <a:gd name="T3" fmla="*/ 6 h 13"/>
                  <a:gd name="T4" fmla="*/ 22 w 46"/>
                  <a:gd name="T5" fmla="*/ 0 h 13"/>
                  <a:gd name="T6" fmla="*/ 40 w 46"/>
                  <a:gd name="T7" fmla="*/ 3 h 13"/>
                  <a:gd name="T8" fmla="*/ 46 w 46"/>
                  <a:gd name="T9" fmla="*/ 6 h 13"/>
                  <a:gd name="T10" fmla="*/ 39 w 46"/>
                  <a:gd name="T11" fmla="*/ 4 h 13"/>
                  <a:gd name="T12" fmla="*/ 22 w 46"/>
                  <a:gd name="T13" fmla="*/ 2 h 13"/>
                  <a:gd name="T14" fmla="*/ 6 w 46"/>
                  <a:gd name="T15" fmla="*/ 7 h 13"/>
                  <a:gd name="T16" fmla="*/ 1 w 46"/>
                  <a:gd name="T17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3">
                    <a:moveTo>
                      <a:pt x="1" y="12"/>
                    </a:moveTo>
                    <a:cubicBezTo>
                      <a:pt x="0" y="12"/>
                      <a:pt x="1" y="9"/>
                      <a:pt x="5" y="6"/>
                    </a:cubicBezTo>
                    <a:cubicBezTo>
                      <a:pt x="8" y="3"/>
                      <a:pt x="14" y="0"/>
                      <a:pt x="22" y="0"/>
                    </a:cubicBezTo>
                    <a:cubicBezTo>
                      <a:pt x="29" y="0"/>
                      <a:pt x="35" y="2"/>
                      <a:pt x="40" y="3"/>
                    </a:cubicBezTo>
                    <a:cubicBezTo>
                      <a:pt x="44" y="5"/>
                      <a:pt x="46" y="6"/>
                      <a:pt x="46" y="6"/>
                    </a:cubicBezTo>
                    <a:cubicBezTo>
                      <a:pt x="46" y="7"/>
                      <a:pt x="43" y="6"/>
                      <a:pt x="39" y="4"/>
                    </a:cubicBezTo>
                    <a:cubicBezTo>
                      <a:pt x="35" y="3"/>
                      <a:pt x="29" y="1"/>
                      <a:pt x="22" y="2"/>
                    </a:cubicBezTo>
                    <a:cubicBezTo>
                      <a:pt x="15" y="2"/>
                      <a:pt x="9" y="4"/>
                      <a:pt x="6" y="7"/>
                    </a:cubicBezTo>
                    <a:cubicBezTo>
                      <a:pt x="2" y="10"/>
                      <a:pt x="1" y="13"/>
                      <a:pt x="1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80">
                <a:extLst>
                  <a:ext uri="{FF2B5EF4-FFF2-40B4-BE49-F238E27FC236}">
                    <a16:creationId xmlns:a16="http://schemas.microsoft.com/office/drawing/2014/main" id="{6E1BEA0C-3092-4E58-8E9E-D1C133299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" y="2587"/>
                <a:ext cx="17" cy="76"/>
              </a:xfrm>
              <a:custGeom>
                <a:avLst/>
                <a:gdLst>
                  <a:gd name="T0" fmla="*/ 0 w 7"/>
                  <a:gd name="T1" fmla="*/ 32 h 32"/>
                  <a:gd name="T2" fmla="*/ 5 w 7"/>
                  <a:gd name="T3" fmla="*/ 17 h 32"/>
                  <a:gd name="T4" fmla="*/ 4 w 7"/>
                  <a:gd name="T5" fmla="*/ 0 h 32"/>
                  <a:gd name="T6" fmla="*/ 6 w 7"/>
                  <a:gd name="T7" fmla="*/ 5 h 32"/>
                  <a:gd name="T8" fmla="*/ 7 w 7"/>
                  <a:gd name="T9" fmla="*/ 17 h 32"/>
                  <a:gd name="T10" fmla="*/ 3 w 7"/>
                  <a:gd name="T11" fmla="*/ 28 h 32"/>
                  <a:gd name="T12" fmla="*/ 0 w 7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32">
                    <a:moveTo>
                      <a:pt x="0" y="32"/>
                    </a:moveTo>
                    <a:cubicBezTo>
                      <a:pt x="0" y="32"/>
                      <a:pt x="4" y="26"/>
                      <a:pt x="5" y="17"/>
                    </a:cubicBezTo>
                    <a:cubicBezTo>
                      <a:pt x="6" y="8"/>
                      <a:pt x="3" y="0"/>
                      <a:pt x="4" y="0"/>
                    </a:cubicBezTo>
                    <a:cubicBezTo>
                      <a:pt x="4" y="0"/>
                      <a:pt x="5" y="2"/>
                      <a:pt x="6" y="5"/>
                    </a:cubicBezTo>
                    <a:cubicBezTo>
                      <a:pt x="7" y="8"/>
                      <a:pt x="7" y="12"/>
                      <a:pt x="7" y="17"/>
                    </a:cubicBezTo>
                    <a:cubicBezTo>
                      <a:pt x="6" y="22"/>
                      <a:pt x="5" y="26"/>
                      <a:pt x="3" y="28"/>
                    </a:cubicBezTo>
                    <a:cubicBezTo>
                      <a:pt x="2" y="31"/>
                      <a:pt x="0" y="32"/>
                      <a:pt x="0" y="3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81">
                <a:extLst>
                  <a:ext uri="{FF2B5EF4-FFF2-40B4-BE49-F238E27FC236}">
                    <a16:creationId xmlns:a16="http://schemas.microsoft.com/office/drawing/2014/main" id="{1D82E876-A669-47C8-B569-88B2F8A03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" y="3041"/>
                <a:ext cx="398" cy="337"/>
              </a:xfrm>
              <a:custGeom>
                <a:avLst/>
                <a:gdLst>
                  <a:gd name="T0" fmla="*/ 0 w 168"/>
                  <a:gd name="T1" fmla="*/ 0 h 142"/>
                  <a:gd name="T2" fmla="*/ 38 w 168"/>
                  <a:gd name="T3" fmla="*/ 142 h 142"/>
                  <a:gd name="T4" fmla="*/ 132 w 168"/>
                  <a:gd name="T5" fmla="*/ 142 h 142"/>
                  <a:gd name="T6" fmla="*/ 168 w 168"/>
                  <a:gd name="T7" fmla="*/ 0 h 142"/>
                  <a:gd name="T8" fmla="*/ 0 w 168"/>
                  <a:gd name="T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42">
                    <a:moveTo>
                      <a:pt x="0" y="0"/>
                    </a:moveTo>
                    <a:cubicBezTo>
                      <a:pt x="3" y="46"/>
                      <a:pt x="17" y="94"/>
                      <a:pt x="38" y="142"/>
                    </a:cubicBezTo>
                    <a:cubicBezTo>
                      <a:pt x="132" y="142"/>
                      <a:pt x="132" y="142"/>
                      <a:pt x="132" y="142"/>
                    </a:cubicBezTo>
                    <a:cubicBezTo>
                      <a:pt x="153" y="94"/>
                      <a:pt x="166" y="47"/>
                      <a:pt x="16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Oval 82">
                <a:extLst>
                  <a:ext uri="{FF2B5EF4-FFF2-40B4-BE49-F238E27FC236}">
                    <a16:creationId xmlns:a16="http://schemas.microsoft.com/office/drawing/2014/main" id="{B2FCACC1-EADD-4064-8044-BB16B3FC6B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9" y="3216"/>
                <a:ext cx="328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Oval 83">
                <a:extLst>
                  <a:ext uri="{FF2B5EF4-FFF2-40B4-BE49-F238E27FC236}">
                    <a16:creationId xmlns:a16="http://schemas.microsoft.com/office/drawing/2014/main" id="{6F35B0C2-5374-4550-A6C2-69B45D4C3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3" y="3257"/>
                <a:ext cx="30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84">
                <a:extLst>
                  <a:ext uri="{FF2B5EF4-FFF2-40B4-BE49-F238E27FC236}">
                    <a16:creationId xmlns:a16="http://schemas.microsoft.com/office/drawing/2014/main" id="{8DDB42CB-5049-448E-9DF2-DC89F3BA5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8" y="258"/>
                <a:ext cx="404" cy="351"/>
              </a:xfrm>
              <a:custGeom>
                <a:avLst/>
                <a:gdLst>
                  <a:gd name="T0" fmla="*/ 13 w 170"/>
                  <a:gd name="T1" fmla="*/ 20 h 148"/>
                  <a:gd name="T2" fmla="*/ 52 w 170"/>
                  <a:gd name="T3" fmla="*/ 22 h 148"/>
                  <a:gd name="T4" fmla="*/ 73 w 170"/>
                  <a:gd name="T5" fmla="*/ 9 h 148"/>
                  <a:gd name="T6" fmla="*/ 109 w 170"/>
                  <a:gd name="T7" fmla="*/ 5 h 148"/>
                  <a:gd name="T8" fmla="*/ 130 w 170"/>
                  <a:gd name="T9" fmla="*/ 27 h 148"/>
                  <a:gd name="T10" fmla="*/ 163 w 170"/>
                  <a:gd name="T11" fmla="*/ 43 h 148"/>
                  <a:gd name="T12" fmla="*/ 167 w 170"/>
                  <a:gd name="T13" fmla="*/ 81 h 148"/>
                  <a:gd name="T14" fmla="*/ 143 w 170"/>
                  <a:gd name="T15" fmla="*/ 144 h 148"/>
                  <a:gd name="T16" fmla="*/ 138 w 170"/>
                  <a:gd name="T17" fmla="*/ 147 h 148"/>
                  <a:gd name="T18" fmla="*/ 136 w 170"/>
                  <a:gd name="T19" fmla="*/ 144 h 148"/>
                  <a:gd name="T20" fmla="*/ 134 w 170"/>
                  <a:gd name="T21" fmla="*/ 108 h 148"/>
                  <a:gd name="T22" fmla="*/ 129 w 170"/>
                  <a:gd name="T23" fmla="*/ 73 h 148"/>
                  <a:gd name="T24" fmla="*/ 103 w 170"/>
                  <a:gd name="T25" fmla="*/ 51 h 148"/>
                  <a:gd name="T26" fmla="*/ 78 w 170"/>
                  <a:gd name="T27" fmla="*/ 58 h 148"/>
                  <a:gd name="T28" fmla="*/ 57 w 170"/>
                  <a:gd name="T29" fmla="*/ 75 h 148"/>
                  <a:gd name="T30" fmla="*/ 34 w 170"/>
                  <a:gd name="T31" fmla="*/ 86 h 148"/>
                  <a:gd name="T32" fmla="*/ 11 w 170"/>
                  <a:gd name="T33" fmla="*/ 76 h 148"/>
                  <a:gd name="T34" fmla="*/ 18 w 170"/>
                  <a:gd name="T35" fmla="*/ 54 h 148"/>
                  <a:gd name="T36" fmla="*/ 2 w 170"/>
                  <a:gd name="T37" fmla="*/ 39 h 148"/>
                  <a:gd name="T38" fmla="*/ 13 w 170"/>
                  <a:gd name="T39" fmla="*/ 2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0" h="148">
                    <a:moveTo>
                      <a:pt x="13" y="20"/>
                    </a:moveTo>
                    <a:cubicBezTo>
                      <a:pt x="25" y="15"/>
                      <a:pt x="39" y="26"/>
                      <a:pt x="52" y="22"/>
                    </a:cubicBezTo>
                    <a:cubicBezTo>
                      <a:pt x="60" y="20"/>
                      <a:pt x="66" y="13"/>
                      <a:pt x="73" y="9"/>
                    </a:cubicBezTo>
                    <a:cubicBezTo>
                      <a:pt x="83" y="2"/>
                      <a:pt x="98" y="0"/>
                      <a:pt x="109" y="5"/>
                    </a:cubicBezTo>
                    <a:cubicBezTo>
                      <a:pt x="120" y="10"/>
                      <a:pt x="128" y="15"/>
                      <a:pt x="130" y="27"/>
                    </a:cubicBezTo>
                    <a:cubicBezTo>
                      <a:pt x="140" y="21"/>
                      <a:pt x="157" y="32"/>
                      <a:pt x="163" y="43"/>
                    </a:cubicBezTo>
                    <a:cubicBezTo>
                      <a:pt x="170" y="55"/>
                      <a:pt x="169" y="68"/>
                      <a:pt x="167" y="81"/>
                    </a:cubicBezTo>
                    <a:cubicBezTo>
                      <a:pt x="163" y="103"/>
                      <a:pt x="155" y="125"/>
                      <a:pt x="143" y="144"/>
                    </a:cubicBezTo>
                    <a:cubicBezTo>
                      <a:pt x="142" y="146"/>
                      <a:pt x="140" y="148"/>
                      <a:pt x="138" y="147"/>
                    </a:cubicBezTo>
                    <a:cubicBezTo>
                      <a:pt x="137" y="147"/>
                      <a:pt x="136" y="145"/>
                      <a:pt x="136" y="144"/>
                    </a:cubicBezTo>
                    <a:cubicBezTo>
                      <a:pt x="133" y="132"/>
                      <a:pt x="134" y="120"/>
                      <a:pt x="134" y="108"/>
                    </a:cubicBezTo>
                    <a:cubicBezTo>
                      <a:pt x="134" y="96"/>
                      <a:pt x="134" y="84"/>
                      <a:pt x="129" y="73"/>
                    </a:cubicBezTo>
                    <a:cubicBezTo>
                      <a:pt x="124" y="62"/>
                      <a:pt x="115" y="52"/>
                      <a:pt x="103" y="51"/>
                    </a:cubicBezTo>
                    <a:cubicBezTo>
                      <a:pt x="94" y="50"/>
                      <a:pt x="85" y="53"/>
                      <a:pt x="78" y="58"/>
                    </a:cubicBezTo>
                    <a:cubicBezTo>
                      <a:pt x="71" y="63"/>
                      <a:pt x="64" y="69"/>
                      <a:pt x="57" y="75"/>
                    </a:cubicBezTo>
                    <a:cubicBezTo>
                      <a:pt x="50" y="80"/>
                      <a:pt x="43" y="85"/>
                      <a:pt x="34" y="86"/>
                    </a:cubicBezTo>
                    <a:cubicBezTo>
                      <a:pt x="25" y="87"/>
                      <a:pt x="15" y="83"/>
                      <a:pt x="11" y="76"/>
                    </a:cubicBezTo>
                    <a:cubicBezTo>
                      <a:pt x="7" y="68"/>
                      <a:pt x="10" y="56"/>
                      <a:pt x="18" y="54"/>
                    </a:cubicBezTo>
                    <a:cubicBezTo>
                      <a:pt x="10" y="54"/>
                      <a:pt x="3" y="47"/>
                      <a:pt x="2" y="39"/>
                    </a:cubicBezTo>
                    <a:cubicBezTo>
                      <a:pt x="0" y="32"/>
                      <a:pt x="5" y="23"/>
                      <a:pt x="13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85">
                <a:extLst>
                  <a:ext uri="{FF2B5EF4-FFF2-40B4-BE49-F238E27FC236}">
                    <a16:creationId xmlns:a16="http://schemas.microsoft.com/office/drawing/2014/main" id="{139396FD-AB6A-488D-8555-8201E7A25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" y="303"/>
                <a:ext cx="287" cy="577"/>
              </a:xfrm>
              <a:custGeom>
                <a:avLst/>
                <a:gdLst>
                  <a:gd name="T0" fmla="*/ 119 w 121"/>
                  <a:gd name="T1" fmla="*/ 67 h 243"/>
                  <a:gd name="T2" fmla="*/ 116 w 121"/>
                  <a:gd name="T3" fmla="*/ 201 h 243"/>
                  <a:gd name="T4" fmla="*/ 70 w 121"/>
                  <a:gd name="T5" fmla="*/ 241 h 243"/>
                  <a:gd name="T6" fmla="*/ 36 w 121"/>
                  <a:gd name="T7" fmla="*/ 199 h 243"/>
                  <a:gd name="T8" fmla="*/ 36 w 121"/>
                  <a:gd name="T9" fmla="*/ 179 h 243"/>
                  <a:gd name="T10" fmla="*/ 1 w 121"/>
                  <a:gd name="T11" fmla="*/ 141 h 243"/>
                  <a:gd name="T12" fmla="*/ 2 w 121"/>
                  <a:gd name="T13" fmla="*/ 61 h 243"/>
                  <a:gd name="T14" fmla="*/ 63 w 121"/>
                  <a:gd name="T15" fmla="*/ 0 h 243"/>
                  <a:gd name="T16" fmla="*/ 66 w 121"/>
                  <a:gd name="T17" fmla="*/ 0 h 243"/>
                  <a:gd name="T18" fmla="*/ 119 w 121"/>
                  <a:gd name="T19" fmla="*/ 67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1" h="243">
                    <a:moveTo>
                      <a:pt x="119" y="67"/>
                    </a:moveTo>
                    <a:cubicBezTo>
                      <a:pt x="116" y="201"/>
                      <a:pt x="116" y="201"/>
                      <a:pt x="116" y="201"/>
                    </a:cubicBezTo>
                    <a:cubicBezTo>
                      <a:pt x="115" y="223"/>
                      <a:pt x="93" y="243"/>
                      <a:pt x="70" y="241"/>
                    </a:cubicBezTo>
                    <a:cubicBezTo>
                      <a:pt x="49" y="240"/>
                      <a:pt x="36" y="220"/>
                      <a:pt x="36" y="199"/>
                    </a:cubicBezTo>
                    <a:cubicBezTo>
                      <a:pt x="36" y="189"/>
                      <a:pt x="37" y="180"/>
                      <a:pt x="36" y="179"/>
                    </a:cubicBezTo>
                    <a:cubicBezTo>
                      <a:pt x="36" y="179"/>
                      <a:pt x="2" y="175"/>
                      <a:pt x="1" y="141"/>
                    </a:cubicBezTo>
                    <a:cubicBezTo>
                      <a:pt x="0" y="125"/>
                      <a:pt x="1" y="91"/>
                      <a:pt x="2" y="61"/>
                    </a:cubicBezTo>
                    <a:cubicBezTo>
                      <a:pt x="4" y="28"/>
                      <a:pt x="30" y="2"/>
                      <a:pt x="63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102" y="1"/>
                      <a:pt x="121" y="31"/>
                      <a:pt x="119" y="67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86">
                <a:extLst>
                  <a:ext uri="{FF2B5EF4-FFF2-40B4-BE49-F238E27FC236}">
                    <a16:creationId xmlns:a16="http://schemas.microsoft.com/office/drawing/2014/main" id="{B882684B-E7A0-4E63-BDFF-38CBE08C6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695"/>
                <a:ext cx="104" cy="57"/>
              </a:xfrm>
              <a:custGeom>
                <a:avLst/>
                <a:gdLst>
                  <a:gd name="T0" fmla="*/ 0 w 44"/>
                  <a:gd name="T1" fmla="*/ 14 h 24"/>
                  <a:gd name="T2" fmla="*/ 44 w 44"/>
                  <a:gd name="T3" fmla="*/ 0 h 24"/>
                  <a:gd name="T4" fmla="*/ 1 w 44"/>
                  <a:gd name="T5" fmla="*/ 23 h 24"/>
                  <a:gd name="T6" fmla="*/ 0 w 44"/>
                  <a:gd name="T7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4">
                    <a:moveTo>
                      <a:pt x="0" y="14"/>
                    </a:moveTo>
                    <a:cubicBezTo>
                      <a:pt x="0" y="14"/>
                      <a:pt x="22" y="15"/>
                      <a:pt x="44" y="0"/>
                    </a:cubicBezTo>
                    <a:cubicBezTo>
                      <a:pt x="44" y="0"/>
                      <a:pt x="35" y="24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87">
                <a:extLst>
                  <a:ext uri="{FF2B5EF4-FFF2-40B4-BE49-F238E27FC236}">
                    <a16:creationId xmlns:a16="http://schemas.microsoft.com/office/drawing/2014/main" id="{BBB31C80-7418-447B-93BA-9F25AB33B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" y="495"/>
                <a:ext cx="24" cy="24"/>
              </a:xfrm>
              <a:custGeom>
                <a:avLst/>
                <a:gdLst>
                  <a:gd name="T0" fmla="*/ 0 w 10"/>
                  <a:gd name="T1" fmla="*/ 5 h 10"/>
                  <a:gd name="T2" fmla="*/ 5 w 10"/>
                  <a:gd name="T3" fmla="*/ 10 h 10"/>
                  <a:gd name="T4" fmla="*/ 10 w 10"/>
                  <a:gd name="T5" fmla="*/ 5 h 10"/>
                  <a:gd name="T6" fmla="*/ 5 w 10"/>
                  <a:gd name="T7" fmla="*/ 0 h 10"/>
                  <a:gd name="T8" fmla="*/ 0 w 10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5"/>
                    </a:moveTo>
                    <a:cubicBezTo>
                      <a:pt x="0" y="8"/>
                      <a:pt x="3" y="10"/>
                      <a:pt x="5" y="10"/>
                    </a:cubicBezTo>
                    <a:cubicBezTo>
                      <a:pt x="8" y="10"/>
                      <a:pt x="10" y="8"/>
                      <a:pt x="10" y="5"/>
                    </a:cubicBezTo>
                    <a:cubicBezTo>
                      <a:pt x="10" y="3"/>
                      <a:pt x="8" y="1"/>
                      <a:pt x="5" y="0"/>
                    </a:cubicBezTo>
                    <a:cubicBezTo>
                      <a:pt x="3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88">
                <a:extLst>
                  <a:ext uri="{FF2B5EF4-FFF2-40B4-BE49-F238E27FC236}">
                    <a16:creationId xmlns:a16="http://schemas.microsoft.com/office/drawing/2014/main" id="{1A6E28D1-F01C-4D05-8CB2-94FB987D7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3" y="472"/>
                <a:ext cx="45" cy="16"/>
              </a:xfrm>
              <a:custGeom>
                <a:avLst/>
                <a:gdLst>
                  <a:gd name="T0" fmla="*/ 0 w 19"/>
                  <a:gd name="T1" fmla="*/ 6 h 7"/>
                  <a:gd name="T2" fmla="*/ 10 w 19"/>
                  <a:gd name="T3" fmla="*/ 4 h 7"/>
                  <a:gd name="T4" fmla="*/ 19 w 19"/>
                  <a:gd name="T5" fmla="*/ 5 h 7"/>
                  <a:gd name="T6" fmla="*/ 17 w 19"/>
                  <a:gd name="T7" fmla="*/ 3 h 7"/>
                  <a:gd name="T8" fmla="*/ 9 w 19"/>
                  <a:gd name="T9" fmla="*/ 1 h 7"/>
                  <a:gd name="T10" fmla="*/ 2 w 19"/>
                  <a:gd name="T11" fmla="*/ 3 h 7"/>
                  <a:gd name="T12" fmla="*/ 0 w 19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7">
                    <a:moveTo>
                      <a:pt x="0" y="6"/>
                    </a:moveTo>
                    <a:cubicBezTo>
                      <a:pt x="1" y="7"/>
                      <a:pt x="4" y="4"/>
                      <a:pt x="10" y="4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19" y="5"/>
                      <a:pt x="19" y="4"/>
                      <a:pt x="17" y="3"/>
                    </a:cubicBezTo>
                    <a:cubicBezTo>
                      <a:pt x="15" y="2"/>
                      <a:pt x="13" y="0"/>
                      <a:pt x="9" y="1"/>
                    </a:cubicBezTo>
                    <a:cubicBezTo>
                      <a:pt x="6" y="1"/>
                      <a:pt x="3" y="2"/>
                      <a:pt x="2" y="3"/>
                    </a:cubicBezTo>
                    <a:cubicBezTo>
                      <a:pt x="0" y="5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89">
                <a:extLst>
                  <a:ext uri="{FF2B5EF4-FFF2-40B4-BE49-F238E27FC236}">
                    <a16:creationId xmlns:a16="http://schemas.microsoft.com/office/drawing/2014/main" id="{CD7A2613-C5DB-4C7B-8CAC-563928521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4" y="495"/>
                <a:ext cx="23" cy="24"/>
              </a:xfrm>
              <a:custGeom>
                <a:avLst/>
                <a:gdLst>
                  <a:gd name="T0" fmla="*/ 0 w 10"/>
                  <a:gd name="T1" fmla="*/ 5 h 10"/>
                  <a:gd name="T2" fmla="*/ 5 w 10"/>
                  <a:gd name="T3" fmla="*/ 10 h 10"/>
                  <a:gd name="T4" fmla="*/ 10 w 10"/>
                  <a:gd name="T5" fmla="*/ 5 h 10"/>
                  <a:gd name="T6" fmla="*/ 5 w 10"/>
                  <a:gd name="T7" fmla="*/ 0 h 10"/>
                  <a:gd name="T8" fmla="*/ 0 w 10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5"/>
                    </a:moveTo>
                    <a:cubicBezTo>
                      <a:pt x="0" y="8"/>
                      <a:pt x="2" y="10"/>
                      <a:pt x="5" y="10"/>
                    </a:cubicBezTo>
                    <a:cubicBezTo>
                      <a:pt x="8" y="10"/>
                      <a:pt x="10" y="8"/>
                      <a:pt x="10" y="5"/>
                    </a:cubicBezTo>
                    <a:cubicBezTo>
                      <a:pt x="10" y="3"/>
                      <a:pt x="8" y="1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90">
                <a:extLst>
                  <a:ext uri="{FF2B5EF4-FFF2-40B4-BE49-F238E27FC236}">
                    <a16:creationId xmlns:a16="http://schemas.microsoft.com/office/drawing/2014/main" id="{FDF2B915-F5EE-4220-8DA4-A31BCC458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472"/>
                <a:ext cx="47" cy="14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4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2"/>
                      <a:pt x="19" y="5"/>
                      <a:pt x="19" y="4"/>
                    </a:cubicBezTo>
                    <a:cubicBezTo>
                      <a:pt x="20" y="4"/>
                      <a:pt x="19" y="3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91">
                <a:extLst>
                  <a:ext uri="{FF2B5EF4-FFF2-40B4-BE49-F238E27FC236}">
                    <a16:creationId xmlns:a16="http://schemas.microsoft.com/office/drawing/2014/main" id="{9FE6A7D0-B3C7-4F9E-8EC4-B0BB51A88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0" y="474"/>
                <a:ext cx="36" cy="105"/>
              </a:xfrm>
              <a:custGeom>
                <a:avLst/>
                <a:gdLst>
                  <a:gd name="T0" fmla="*/ 14 w 15"/>
                  <a:gd name="T1" fmla="*/ 43 h 44"/>
                  <a:gd name="T2" fmla="*/ 5 w 15"/>
                  <a:gd name="T3" fmla="*/ 42 h 44"/>
                  <a:gd name="T4" fmla="*/ 3 w 15"/>
                  <a:gd name="T5" fmla="*/ 41 h 44"/>
                  <a:gd name="T6" fmla="*/ 3 w 15"/>
                  <a:gd name="T7" fmla="*/ 37 h 44"/>
                  <a:gd name="T8" fmla="*/ 7 w 15"/>
                  <a:gd name="T9" fmla="*/ 27 h 44"/>
                  <a:gd name="T10" fmla="*/ 15 w 15"/>
                  <a:gd name="T11" fmla="*/ 0 h 44"/>
                  <a:gd name="T12" fmla="*/ 5 w 15"/>
                  <a:gd name="T13" fmla="*/ 26 h 44"/>
                  <a:gd name="T14" fmla="*/ 1 w 15"/>
                  <a:gd name="T15" fmla="*/ 36 h 44"/>
                  <a:gd name="T16" fmla="*/ 1 w 15"/>
                  <a:gd name="T17" fmla="*/ 42 h 44"/>
                  <a:gd name="T18" fmla="*/ 3 w 15"/>
                  <a:gd name="T19" fmla="*/ 43 h 44"/>
                  <a:gd name="T20" fmla="*/ 5 w 15"/>
                  <a:gd name="T21" fmla="*/ 44 h 44"/>
                  <a:gd name="T22" fmla="*/ 14 w 15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44">
                    <a:moveTo>
                      <a:pt x="14" y="43"/>
                    </a:moveTo>
                    <a:cubicBezTo>
                      <a:pt x="14" y="43"/>
                      <a:pt x="11" y="43"/>
                      <a:pt x="5" y="42"/>
                    </a:cubicBezTo>
                    <a:cubicBezTo>
                      <a:pt x="4" y="42"/>
                      <a:pt x="3" y="42"/>
                      <a:pt x="3" y="41"/>
                    </a:cubicBezTo>
                    <a:cubicBezTo>
                      <a:pt x="2" y="40"/>
                      <a:pt x="3" y="39"/>
                      <a:pt x="3" y="37"/>
                    </a:cubicBezTo>
                    <a:cubicBezTo>
                      <a:pt x="4" y="34"/>
                      <a:pt x="6" y="30"/>
                      <a:pt x="7" y="27"/>
                    </a:cubicBezTo>
                    <a:cubicBezTo>
                      <a:pt x="12" y="12"/>
                      <a:pt x="15" y="0"/>
                      <a:pt x="15" y="0"/>
                    </a:cubicBezTo>
                    <a:cubicBezTo>
                      <a:pt x="14" y="0"/>
                      <a:pt x="10" y="11"/>
                      <a:pt x="5" y="26"/>
                    </a:cubicBezTo>
                    <a:cubicBezTo>
                      <a:pt x="4" y="30"/>
                      <a:pt x="2" y="33"/>
                      <a:pt x="1" y="36"/>
                    </a:cubicBezTo>
                    <a:cubicBezTo>
                      <a:pt x="1" y="38"/>
                      <a:pt x="0" y="40"/>
                      <a:pt x="1" y="42"/>
                    </a:cubicBezTo>
                    <a:cubicBezTo>
                      <a:pt x="1" y="43"/>
                      <a:pt x="2" y="43"/>
                      <a:pt x="3" y="43"/>
                    </a:cubicBezTo>
                    <a:cubicBezTo>
                      <a:pt x="4" y="44"/>
                      <a:pt x="5" y="44"/>
                      <a:pt x="5" y="44"/>
                    </a:cubicBezTo>
                    <a:cubicBezTo>
                      <a:pt x="11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92">
                <a:extLst>
                  <a:ext uri="{FF2B5EF4-FFF2-40B4-BE49-F238E27FC236}">
                    <a16:creationId xmlns:a16="http://schemas.microsoft.com/office/drawing/2014/main" id="{E4247B0C-3D59-4D24-A8D4-00E58D39F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9" y="424"/>
                <a:ext cx="57" cy="19"/>
              </a:xfrm>
              <a:custGeom>
                <a:avLst/>
                <a:gdLst>
                  <a:gd name="T0" fmla="*/ 0 w 24"/>
                  <a:gd name="T1" fmla="*/ 5 h 8"/>
                  <a:gd name="T2" fmla="*/ 12 w 24"/>
                  <a:gd name="T3" fmla="*/ 6 h 8"/>
                  <a:gd name="T4" fmla="*/ 24 w 24"/>
                  <a:gd name="T5" fmla="*/ 6 h 8"/>
                  <a:gd name="T6" fmla="*/ 21 w 24"/>
                  <a:gd name="T7" fmla="*/ 3 h 8"/>
                  <a:gd name="T8" fmla="*/ 12 w 24"/>
                  <a:gd name="T9" fmla="*/ 1 h 8"/>
                  <a:gd name="T10" fmla="*/ 3 w 24"/>
                  <a:gd name="T11" fmla="*/ 2 h 8"/>
                  <a:gd name="T12" fmla="*/ 0 w 24"/>
                  <a:gd name="T1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5"/>
                    </a:moveTo>
                    <a:cubicBezTo>
                      <a:pt x="1" y="6"/>
                      <a:pt x="6" y="5"/>
                      <a:pt x="12" y="6"/>
                    </a:cubicBezTo>
                    <a:cubicBezTo>
                      <a:pt x="18" y="6"/>
                      <a:pt x="23" y="8"/>
                      <a:pt x="24" y="6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1"/>
                    </a:cubicBezTo>
                    <a:cubicBezTo>
                      <a:pt x="9" y="0"/>
                      <a:pt x="5" y="1"/>
                      <a:pt x="3" y="2"/>
                    </a:cubicBezTo>
                    <a:cubicBezTo>
                      <a:pt x="1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93">
                <a:extLst>
                  <a:ext uri="{FF2B5EF4-FFF2-40B4-BE49-F238E27FC236}">
                    <a16:creationId xmlns:a16="http://schemas.microsoft.com/office/drawing/2014/main" id="{22658555-A2AB-4FCD-B72D-3C89F371A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436"/>
                <a:ext cx="43" cy="17"/>
              </a:xfrm>
              <a:custGeom>
                <a:avLst/>
                <a:gdLst>
                  <a:gd name="T0" fmla="*/ 1 w 18"/>
                  <a:gd name="T1" fmla="*/ 6 h 7"/>
                  <a:gd name="T2" fmla="*/ 9 w 18"/>
                  <a:gd name="T3" fmla="*/ 5 h 7"/>
                  <a:gd name="T4" fmla="*/ 18 w 18"/>
                  <a:gd name="T5" fmla="*/ 5 h 7"/>
                  <a:gd name="T6" fmla="*/ 16 w 18"/>
                  <a:gd name="T7" fmla="*/ 2 h 7"/>
                  <a:gd name="T8" fmla="*/ 9 w 18"/>
                  <a:gd name="T9" fmla="*/ 0 h 7"/>
                  <a:gd name="T10" fmla="*/ 2 w 18"/>
                  <a:gd name="T11" fmla="*/ 3 h 7"/>
                  <a:gd name="T12" fmla="*/ 1 w 18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7">
                    <a:moveTo>
                      <a:pt x="1" y="6"/>
                    </a:moveTo>
                    <a:cubicBezTo>
                      <a:pt x="2" y="7"/>
                      <a:pt x="5" y="6"/>
                      <a:pt x="9" y="5"/>
                    </a:cubicBezTo>
                    <a:cubicBezTo>
                      <a:pt x="14" y="5"/>
                      <a:pt x="17" y="6"/>
                      <a:pt x="18" y="5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1"/>
                      <a:pt x="12" y="0"/>
                      <a:pt x="9" y="0"/>
                    </a:cubicBezTo>
                    <a:cubicBezTo>
                      <a:pt x="6" y="0"/>
                      <a:pt x="4" y="2"/>
                      <a:pt x="2" y="3"/>
                    </a:cubicBezTo>
                    <a:cubicBezTo>
                      <a:pt x="1" y="4"/>
                      <a:pt x="0" y="5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94">
                <a:extLst>
                  <a:ext uri="{FF2B5EF4-FFF2-40B4-BE49-F238E27FC236}">
                    <a16:creationId xmlns:a16="http://schemas.microsoft.com/office/drawing/2014/main" id="{13276F31-AD65-4D51-8B33-BC9874430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" y="503"/>
                <a:ext cx="55" cy="109"/>
              </a:xfrm>
              <a:custGeom>
                <a:avLst/>
                <a:gdLst>
                  <a:gd name="T0" fmla="*/ 0 w 23"/>
                  <a:gd name="T1" fmla="*/ 8 h 46"/>
                  <a:gd name="T2" fmla="*/ 23 w 23"/>
                  <a:gd name="T3" fmla="*/ 23 h 46"/>
                  <a:gd name="T4" fmla="*/ 0 w 23"/>
                  <a:gd name="T5" fmla="*/ 41 h 46"/>
                  <a:gd name="T6" fmla="*/ 0 w 23"/>
                  <a:gd name="T7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46">
                    <a:moveTo>
                      <a:pt x="0" y="8"/>
                    </a:moveTo>
                    <a:cubicBezTo>
                      <a:pt x="1" y="8"/>
                      <a:pt x="23" y="0"/>
                      <a:pt x="23" y="23"/>
                    </a:cubicBezTo>
                    <a:cubicBezTo>
                      <a:pt x="23" y="46"/>
                      <a:pt x="0" y="42"/>
                      <a:pt x="0" y="41"/>
                    </a:cubicBezTo>
                    <a:cubicBezTo>
                      <a:pt x="0" y="40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95">
                <a:extLst>
                  <a:ext uri="{FF2B5EF4-FFF2-40B4-BE49-F238E27FC236}">
                    <a16:creationId xmlns:a16="http://schemas.microsoft.com/office/drawing/2014/main" id="{656FB50B-B34B-4106-B4A5-C7F6DC91B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536"/>
                <a:ext cx="23" cy="47"/>
              </a:xfrm>
              <a:custGeom>
                <a:avLst/>
                <a:gdLst>
                  <a:gd name="T0" fmla="*/ 0 w 10"/>
                  <a:gd name="T1" fmla="*/ 18 h 20"/>
                  <a:gd name="T2" fmla="*/ 1 w 10"/>
                  <a:gd name="T3" fmla="*/ 19 h 20"/>
                  <a:gd name="T4" fmla="*/ 4 w 10"/>
                  <a:gd name="T5" fmla="*/ 19 h 20"/>
                  <a:gd name="T6" fmla="*/ 9 w 10"/>
                  <a:gd name="T7" fmla="*/ 10 h 20"/>
                  <a:gd name="T8" fmla="*/ 8 w 10"/>
                  <a:gd name="T9" fmla="*/ 4 h 20"/>
                  <a:gd name="T10" fmla="*/ 5 w 10"/>
                  <a:gd name="T11" fmla="*/ 1 h 20"/>
                  <a:gd name="T12" fmla="*/ 2 w 10"/>
                  <a:gd name="T13" fmla="*/ 2 h 20"/>
                  <a:gd name="T14" fmla="*/ 2 w 10"/>
                  <a:gd name="T15" fmla="*/ 3 h 20"/>
                  <a:gd name="T16" fmla="*/ 2 w 10"/>
                  <a:gd name="T17" fmla="*/ 2 h 20"/>
                  <a:gd name="T18" fmla="*/ 2 w 10"/>
                  <a:gd name="T19" fmla="*/ 1 h 20"/>
                  <a:gd name="T20" fmla="*/ 5 w 10"/>
                  <a:gd name="T21" fmla="*/ 0 h 20"/>
                  <a:gd name="T22" fmla="*/ 9 w 10"/>
                  <a:gd name="T23" fmla="*/ 3 h 20"/>
                  <a:gd name="T24" fmla="*/ 10 w 10"/>
                  <a:gd name="T25" fmla="*/ 10 h 20"/>
                  <a:gd name="T26" fmla="*/ 4 w 10"/>
                  <a:gd name="T27" fmla="*/ 20 h 20"/>
                  <a:gd name="T28" fmla="*/ 1 w 10"/>
                  <a:gd name="T29" fmla="*/ 19 h 20"/>
                  <a:gd name="T30" fmla="*/ 0 w 10"/>
                  <a:gd name="T31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20">
                    <a:moveTo>
                      <a:pt x="0" y="18"/>
                    </a:moveTo>
                    <a:cubicBezTo>
                      <a:pt x="0" y="18"/>
                      <a:pt x="0" y="19"/>
                      <a:pt x="1" y="19"/>
                    </a:cubicBezTo>
                    <a:cubicBezTo>
                      <a:pt x="2" y="19"/>
                      <a:pt x="3" y="19"/>
                      <a:pt x="4" y="19"/>
                    </a:cubicBezTo>
                    <a:cubicBezTo>
                      <a:pt x="7" y="18"/>
                      <a:pt x="9" y="14"/>
                      <a:pt x="9" y="10"/>
                    </a:cubicBezTo>
                    <a:cubicBezTo>
                      <a:pt x="9" y="8"/>
                      <a:pt x="8" y="6"/>
                      <a:pt x="8" y="4"/>
                    </a:cubicBezTo>
                    <a:cubicBezTo>
                      <a:pt x="7" y="2"/>
                      <a:pt x="6" y="1"/>
                      <a:pt x="5" y="1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1" y="3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10" y="5"/>
                      <a:pt x="10" y="8"/>
                      <a:pt x="10" y="10"/>
                    </a:cubicBezTo>
                    <a:cubicBezTo>
                      <a:pt x="10" y="15"/>
                      <a:pt x="8" y="19"/>
                      <a:pt x="4" y="20"/>
                    </a:cubicBezTo>
                    <a:cubicBezTo>
                      <a:pt x="3" y="20"/>
                      <a:pt x="2" y="20"/>
                      <a:pt x="1" y="19"/>
                    </a:cubicBezTo>
                    <a:cubicBezTo>
                      <a:pt x="0" y="19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96">
                <a:extLst>
                  <a:ext uri="{FF2B5EF4-FFF2-40B4-BE49-F238E27FC236}">
                    <a16:creationId xmlns:a16="http://schemas.microsoft.com/office/drawing/2014/main" id="{7DD0AD08-6D66-4362-8AAC-23B98AB9F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7" y="289"/>
                <a:ext cx="307" cy="249"/>
              </a:xfrm>
              <a:custGeom>
                <a:avLst/>
                <a:gdLst>
                  <a:gd name="T0" fmla="*/ 0 w 129"/>
                  <a:gd name="T1" fmla="*/ 60 h 105"/>
                  <a:gd name="T2" fmla="*/ 43 w 129"/>
                  <a:gd name="T3" fmla="*/ 49 h 105"/>
                  <a:gd name="T4" fmla="*/ 67 w 129"/>
                  <a:gd name="T5" fmla="*/ 27 h 105"/>
                  <a:gd name="T6" fmla="*/ 88 w 129"/>
                  <a:gd name="T7" fmla="*/ 29 h 105"/>
                  <a:gd name="T8" fmla="*/ 105 w 129"/>
                  <a:gd name="T9" fmla="*/ 44 h 105"/>
                  <a:gd name="T10" fmla="*/ 109 w 129"/>
                  <a:gd name="T11" fmla="*/ 98 h 105"/>
                  <a:gd name="T12" fmla="*/ 112 w 129"/>
                  <a:gd name="T13" fmla="*/ 103 h 105"/>
                  <a:gd name="T14" fmla="*/ 121 w 129"/>
                  <a:gd name="T15" fmla="*/ 101 h 105"/>
                  <a:gd name="T16" fmla="*/ 127 w 129"/>
                  <a:gd name="T17" fmla="*/ 85 h 105"/>
                  <a:gd name="T18" fmla="*/ 125 w 129"/>
                  <a:gd name="T19" fmla="*/ 48 h 105"/>
                  <a:gd name="T20" fmla="*/ 106 w 129"/>
                  <a:gd name="T21" fmla="*/ 16 h 105"/>
                  <a:gd name="T22" fmla="*/ 62 w 129"/>
                  <a:gd name="T23" fmla="*/ 1 h 105"/>
                  <a:gd name="T24" fmla="*/ 19 w 129"/>
                  <a:gd name="T25" fmla="*/ 18 h 105"/>
                  <a:gd name="T26" fmla="*/ 6 w 129"/>
                  <a:gd name="T27" fmla="*/ 3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9" h="105">
                    <a:moveTo>
                      <a:pt x="0" y="60"/>
                    </a:moveTo>
                    <a:cubicBezTo>
                      <a:pt x="15" y="63"/>
                      <a:pt x="32" y="59"/>
                      <a:pt x="43" y="49"/>
                    </a:cubicBezTo>
                    <a:cubicBezTo>
                      <a:pt x="51" y="41"/>
                      <a:pt x="57" y="31"/>
                      <a:pt x="67" y="27"/>
                    </a:cubicBezTo>
                    <a:cubicBezTo>
                      <a:pt x="74" y="25"/>
                      <a:pt x="82" y="26"/>
                      <a:pt x="88" y="29"/>
                    </a:cubicBezTo>
                    <a:cubicBezTo>
                      <a:pt x="95" y="33"/>
                      <a:pt x="100" y="38"/>
                      <a:pt x="105" y="44"/>
                    </a:cubicBezTo>
                    <a:cubicBezTo>
                      <a:pt x="99" y="61"/>
                      <a:pt x="104" y="80"/>
                      <a:pt x="109" y="98"/>
                    </a:cubicBezTo>
                    <a:cubicBezTo>
                      <a:pt x="110" y="100"/>
                      <a:pt x="110" y="102"/>
                      <a:pt x="112" y="103"/>
                    </a:cubicBezTo>
                    <a:cubicBezTo>
                      <a:pt x="115" y="105"/>
                      <a:pt x="119" y="103"/>
                      <a:pt x="121" y="101"/>
                    </a:cubicBezTo>
                    <a:cubicBezTo>
                      <a:pt x="125" y="96"/>
                      <a:pt x="126" y="91"/>
                      <a:pt x="127" y="85"/>
                    </a:cubicBezTo>
                    <a:cubicBezTo>
                      <a:pt x="129" y="73"/>
                      <a:pt x="128" y="60"/>
                      <a:pt x="125" y="48"/>
                    </a:cubicBezTo>
                    <a:cubicBezTo>
                      <a:pt x="122" y="36"/>
                      <a:pt x="116" y="24"/>
                      <a:pt x="106" y="16"/>
                    </a:cubicBezTo>
                    <a:cubicBezTo>
                      <a:pt x="94" y="5"/>
                      <a:pt x="78" y="0"/>
                      <a:pt x="62" y="1"/>
                    </a:cubicBezTo>
                    <a:cubicBezTo>
                      <a:pt x="47" y="2"/>
                      <a:pt x="32" y="8"/>
                      <a:pt x="19" y="18"/>
                    </a:cubicBezTo>
                    <a:cubicBezTo>
                      <a:pt x="14" y="23"/>
                      <a:pt x="8" y="28"/>
                      <a:pt x="6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97">
                <a:extLst>
                  <a:ext uri="{FF2B5EF4-FFF2-40B4-BE49-F238E27FC236}">
                    <a16:creationId xmlns:a16="http://schemas.microsoft.com/office/drawing/2014/main" id="{01B3A3F2-0B57-44A0-9678-3B4637C35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294"/>
                <a:ext cx="294" cy="73"/>
              </a:xfrm>
              <a:custGeom>
                <a:avLst/>
                <a:gdLst>
                  <a:gd name="T0" fmla="*/ 0 w 124"/>
                  <a:gd name="T1" fmla="*/ 14 h 31"/>
                  <a:gd name="T2" fmla="*/ 0 w 124"/>
                  <a:gd name="T3" fmla="*/ 16 h 31"/>
                  <a:gd name="T4" fmla="*/ 4 w 124"/>
                  <a:gd name="T5" fmla="*/ 20 h 31"/>
                  <a:gd name="T6" fmla="*/ 13 w 124"/>
                  <a:gd name="T7" fmla="*/ 23 h 31"/>
                  <a:gd name="T8" fmla="*/ 18 w 124"/>
                  <a:gd name="T9" fmla="*/ 22 h 31"/>
                  <a:gd name="T10" fmla="*/ 24 w 124"/>
                  <a:gd name="T11" fmla="*/ 19 h 31"/>
                  <a:gd name="T12" fmla="*/ 27 w 124"/>
                  <a:gd name="T13" fmla="*/ 13 h 31"/>
                  <a:gd name="T14" fmla="*/ 22 w 124"/>
                  <a:gd name="T15" fmla="*/ 7 h 31"/>
                  <a:gd name="T16" fmla="*/ 17 w 124"/>
                  <a:gd name="T17" fmla="*/ 7 h 31"/>
                  <a:gd name="T18" fmla="*/ 13 w 124"/>
                  <a:gd name="T19" fmla="*/ 9 h 31"/>
                  <a:gd name="T20" fmla="*/ 10 w 124"/>
                  <a:gd name="T21" fmla="*/ 17 h 31"/>
                  <a:gd name="T22" fmla="*/ 14 w 124"/>
                  <a:gd name="T23" fmla="*/ 25 h 31"/>
                  <a:gd name="T24" fmla="*/ 23 w 124"/>
                  <a:gd name="T25" fmla="*/ 30 h 31"/>
                  <a:gd name="T26" fmla="*/ 43 w 124"/>
                  <a:gd name="T27" fmla="*/ 27 h 31"/>
                  <a:gd name="T28" fmla="*/ 59 w 124"/>
                  <a:gd name="T29" fmla="*/ 16 h 31"/>
                  <a:gd name="T30" fmla="*/ 74 w 124"/>
                  <a:gd name="T31" fmla="*/ 5 h 31"/>
                  <a:gd name="T32" fmla="*/ 90 w 124"/>
                  <a:gd name="T33" fmla="*/ 1 h 31"/>
                  <a:gd name="T34" fmla="*/ 104 w 124"/>
                  <a:gd name="T35" fmla="*/ 4 h 31"/>
                  <a:gd name="T36" fmla="*/ 120 w 124"/>
                  <a:gd name="T37" fmla="*/ 17 h 31"/>
                  <a:gd name="T38" fmla="*/ 123 w 124"/>
                  <a:gd name="T39" fmla="*/ 22 h 31"/>
                  <a:gd name="T40" fmla="*/ 124 w 124"/>
                  <a:gd name="T41" fmla="*/ 24 h 31"/>
                  <a:gd name="T42" fmla="*/ 124 w 124"/>
                  <a:gd name="T43" fmla="*/ 23 h 31"/>
                  <a:gd name="T44" fmla="*/ 123 w 124"/>
                  <a:gd name="T45" fmla="*/ 22 h 31"/>
                  <a:gd name="T46" fmla="*/ 120 w 124"/>
                  <a:gd name="T47" fmla="*/ 17 h 31"/>
                  <a:gd name="T48" fmla="*/ 105 w 124"/>
                  <a:gd name="T49" fmla="*/ 3 h 31"/>
                  <a:gd name="T50" fmla="*/ 90 w 124"/>
                  <a:gd name="T51" fmla="*/ 0 h 31"/>
                  <a:gd name="T52" fmla="*/ 74 w 124"/>
                  <a:gd name="T53" fmla="*/ 4 h 31"/>
                  <a:gd name="T54" fmla="*/ 59 w 124"/>
                  <a:gd name="T55" fmla="*/ 15 h 31"/>
                  <a:gd name="T56" fmla="*/ 42 w 124"/>
                  <a:gd name="T57" fmla="*/ 26 h 31"/>
                  <a:gd name="T58" fmla="*/ 23 w 124"/>
                  <a:gd name="T59" fmla="*/ 29 h 31"/>
                  <a:gd name="T60" fmla="*/ 15 w 124"/>
                  <a:gd name="T61" fmla="*/ 24 h 31"/>
                  <a:gd name="T62" fmla="*/ 11 w 124"/>
                  <a:gd name="T63" fmla="*/ 17 h 31"/>
                  <a:gd name="T64" fmla="*/ 14 w 124"/>
                  <a:gd name="T65" fmla="*/ 9 h 31"/>
                  <a:gd name="T66" fmla="*/ 21 w 124"/>
                  <a:gd name="T67" fmla="*/ 8 h 31"/>
                  <a:gd name="T68" fmla="*/ 26 w 124"/>
                  <a:gd name="T69" fmla="*/ 13 h 31"/>
                  <a:gd name="T70" fmla="*/ 23 w 124"/>
                  <a:gd name="T71" fmla="*/ 19 h 31"/>
                  <a:gd name="T72" fmla="*/ 18 w 124"/>
                  <a:gd name="T73" fmla="*/ 22 h 31"/>
                  <a:gd name="T74" fmla="*/ 13 w 124"/>
                  <a:gd name="T75" fmla="*/ 22 h 31"/>
                  <a:gd name="T76" fmla="*/ 4 w 124"/>
                  <a:gd name="T77" fmla="*/ 20 h 31"/>
                  <a:gd name="T78" fmla="*/ 1 w 124"/>
                  <a:gd name="T79" fmla="*/ 16 h 31"/>
                  <a:gd name="T80" fmla="*/ 0 w 124"/>
                  <a:gd name="T81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4" h="31">
                    <a:moveTo>
                      <a:pt x="0" y="14"/>
                    </a:moveTo>
                    <a:cubicBezTo>
                      <a:pt x="0" y="14"/>
                      <a:pt x="0" y="14"/>
                      <a:pt x="0" y="16"/>
                    </a:cubicBezTo>
                    <a:cubicBezTo>
                      <a:pt x="1" y="17"/>
                      <a:pt x="2" y="19"/>
                      <a:pt x="4" y="20"/>
                    </a:cubicBezTo>
                    <a:cubicBezTo>
                      <a:pt x="6" y="22"/>
                      <a:pt x="9" y="23"/>
                      <a:pt x="13" y="23"/>
                    </a:cubicBezTo>
                    <a:cubicBezTo>
                      <a:pt x="14" y="23"/>
                      <a:pt x="16" y="23"/>
                      <a:pt x="18" y="22"/>
                    </a:cubicBezTo>
                    <a:cubicBezTo>
                      <a:pt x="20" y="22"/>
                      <a:pt x="22" y="21"/>
                      <a:pt x="24" y="19"/>
                    </a:cubicBezTo>
                    <a:cubicBezTo>
                      <a:pt x="26" y="18"/>
                      <a:pt x="27" y="15"/>
                      <a:pt x="27" y="13"/>
                    </a:cubicBezTo>
                    <a:cubicBezTo>
                      <a:pt x="26" y="10"/>
                      <a:pt x="24" y="8"/>
                      <a:pt x="22" y="7"/>
                    </a:cubicBezTo>
                    <a:cubicBezTo>
                      <a:pt x="20" y="7"/>
                      <a:pt x="19" y="6"/>
                      <a:pt x="17" y="7"/>
                    </a:cubicBezTo>
                    <a:cubicBezTo>
                      <a:pt x="16" y="7"/>
                      <a:pt x="15" y="8"/>
                      <a:pt x="13" y="9"/>
                    </a:cubicBezTo>
                    <a:cubicBezTo>
                      <a:pt x="11" y="11"/>
                      <a:pt x="10" y="14"/>
                      <a:pt x="10" y="17"/>
                    </a:cubicBezTo>
                    <a:cubicBezTo>
                      <a:pt x="10" y="20"/>
                      <a:pt x="12" y="23"/>
                      <a:pt x="14" y="25"/>
                    </a:cubicBezTo>
                    <a:cubicBezTo>
                      <a:pt x="17" y="27"/>
                      <a:pt x="20" y="29"/>
                      <a:pt x="23" y="30"/>
                    </a:cubicBezTo>
                    <a:cubicBezTo>
                      <a:pt x="29" y="31"/>
                      <a:pt x="36" y="30"/>
                      <a:pt x="43" y="27"/>
                    </a:cubicBezTo>
                    <a:cubicBezTo>
                      <a:pt x="49" y="24"/>
                      <a:pt x="54" y="20"/>
                      <a:pt x="59" y="16"/>
                    </a:cubicBezTo>
                    <a:cubicBezTo>
                      <a:pt x="64" y="12"/>
                      <a:pt x="69" y="8"/>
                      <a:pt x="74" y="5"/>
                    </a:cubicBezTo>
                    <a:cubicBezTo>
                      <a:pt x="80" y="3"/>
                      <a:pt x="85" y="1"/>
                      <a:pt x="90" y="1"/>
                    </a:cubicBezTo>
                    <a:cubicBezTo>
                      <a:pt x="95" y="1"/>
                      <a:pt x="100" y="2"/>
                      <a:pt x="104" y="4"/>
                    </a:cubicBezTo>
                    <a:cubicBezTo>
                      <a:pt x="112" y="8"/>
                      <a:pt x="117" y="13"/>
                      <a:pt x="120" y="17"/>
                    </a:cubicBezTo>
                    <a:cubicBezTo>
                      <a:pt x="122" y="19"/>
                      <a:pt x="123" y="21"/>
                      <a:pt x="123" y="22"/>
                    </a:cubicBezTo>
                    <a:cubicBezTo>
                      <a:pt x="124" y="23"/>
                      <a:pt x="124" y="24"/>
                      <a:pt x="124" y="24"/>
                    </a:cubicBezTo>
                    <a:cubicBezTo>
                      <a:pt x="124" y="23"/>
                      <a:pt x="124" y="23"/>
                      <a:pt x="124" y="23"/>
                    </a:cubicBezTo>
                    <a:cubicBezTo>
                      <a:pt x="124" y="23"/>
                      <a:pt x="124" y="23"/>
                      <a:pt x="123" y="22"/>
                    </a:cubicBezTo>
                    <a:cubicBezTo>
                      <a:pt x="123" y="21"/>
                      <a:pt x="122" y="19"/>
                      <a:pt x="120" y="17"/>
                    </a:cubicBezTo>
                    <a:cubicBezTo>
                      <a:pt x="118" y="13"/>
                      <a:pt x="113" y="7"/>
                      <a:pt x="105" y="3"/>
                    </a:cubicBezTo>
                    <a:cubicBezTo>
                      <a:pt x="100" y="1"/>
                      <a:pt x="96" y="0"/>
                      <a:pt x="90" y="0"/>
                    </a:cubicBezTo>
                    <a:cubicBezTo>
                      <a:pt x="85" y="0"/>
                      <a:pt x="79" y="2"/>
                      <a:pt x="74" y="4"/>
                    </a:cubicBezTo>
                    <a:cubicBezTo>
                      <a:pt x="69" y="7"/>
                      <a:pt x="64" y="11"/>
                      <a:pt x="59" y="15"/>
                    </a:cubicBezTo>
                    <a:cubicBezTo>
                      <a:pt x="54" y="19"/>
                      <a:pt x="48" y="23"/>
                      <a:pt x="42" y="26"/>
                    </a:cubicBezTo>
                    <a:cubicBezTo>
                      <a:pt x="36" y="29"/>
                      <a:pt x="29" y="30"/>
                      <a:pt x="23" y="29"/>
                    </a:cubicBezTo>
                    <a:cubicBezTo>
                      <a:pt x="20" y="28"/>
                      <a:pt x="17" y="26"/>
                      <a:pt x="15" y="24"/>
                    </a:cubicBezTo>
                    <a:cubicBezTo>
                      <a:pt x="13" y="22"/>
                      <a:pt x="12" y="20"/>
                      <a:pt x="11" y="17"/>
                    </a:cubicBezTo>
                    <a:cubicBezTo>
                      <a:pt x="11" y="14"/>
                      <a:pt x="12" y="11"/>
                      <a:pt x="14" y="9"/>
                    </a:cubicBezTo>
                    <a:cubicBezTo>
                      <a:pt x="16" y="8"/>
                      <a:pt x="19" y="7"/>
                      <a:pt x="21" y="8"/>
                    </a:cubicBezTo>
                    <a:cubicBezTo>
                      <a:pt x="24" y="9"/>
                      <a:pt x="26" y="11"/>
                      <a:pt x="26" y="13"/>
                    </a:cubicBezTo>
                    <a:cubicBezTo>
                      <a:pt x="26" y="15"/>
                      <a:pt x="25" y="17"/>
                      <a:pt x="23" y="19"/>
                    </a:cubicBezTo>
                    <a:cubicBezTo>
                      <a:pt x="22" y="20"/>
                      <a:pt x="20" y="21"/>
                      <a:pt x="18" y="22"/>
                    </a:cubicBezTo>
                    <a:cubicBezTo>
                      <a:pt x="16" y="22"/>
                      <a:pt x="14" y="22"/>
                      <a:pt x="13" y="22"/>
                    </a:cubicBezTo>
                    <a:cubicBezTo>
                      <a:pt x="9" y="22"/>
                      <a:pt x="6" y="21"/>
                      <a:pt x="4" y="20"/>
                    </a:cubicBezTo>
                    <a:cubicBezTo>
                      <a:pt x="2" y="19"/>
                      <a:pt x="1" y="17"/>
                      <a:pt x="1" y="16"/>
                    </a:cubicBezTo>
                    <a:cubicBezTo>
                      <a:pt x="0" y="14"/>
                      <a:pt x="0" y="14"/>
                      <a:pt x="0" y="14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98">
                <a:extLst>
                  <a:ext uri="{FF2B5EF4-FFF2-40B4-BE49-F238E27FC236}">
                    <a16:creationId xmlns:a16="http://schemas.microsoft.com/office/drawing/2014/main" id="{B259CD42-7FF3-4FEF-9B6A-95C6C6AA7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353"/>
                <a:ext cx="86" cy="64"/>
              </a:xfrm>
              <a:custGeom>
                <a:avLst/>
                <a:gdLst>
                  <a:gd name="T0" fmla="*/ 36 w 36"/>
                  <a:gd name="T1" fmla="*/ 23 h 27"/>
                  <a:gd name="T2" fmla="*/ 29 w 36"/>
                  <a:gd name="T3" fmla="*/ 25 h 27"/>
                  <a:gd name="T4" fmla="*/ 22 w 36"/>
                  <a:gd name="T5" fmla="*/ 25 h 27"/>
                  <a:gd name="T6" fmla="*/ 13 w 36"/>
                  <a:gd name="T7" fmla="*/ 21 h 27"/>
                  <a:gd name="T8" fmla="*/ 2 w 36"/>
                  <a:gd name="T9" fmla="*/ 8 h 27"/>
                  <a:gd name="T10" fmla="*/ 0 w 36"/>
                  <a:gd name="T11" fmla="*/ 0 h 27"/>
                  <a:gd name="T12" fmla="*/ 0 w 36"/>
                  <a:gd name="T13" fmla="*/ 2 h 27"/>
                  <a:gd name="T14" fmla="*/ 1 w 36"/>
                  <a:gd name="T15" fmla="*/ 8 h 27"/>
                  <a:gd name="T16" fmla="*/ 12 w 36"/>
                  <a:gd name="T17" fmla="*/ 22 h 27"/>
                  <a:gd name="T18" fmla="*/ 21 w 36"/>
                  <a:gd name="T19" fmla="*/ 26 h 27"/>
                  <a:gd name="T20" fmla="*/ 29 w 36"/>
                  <a:gd name="T21" fmla="*/ 26 h 27"/>
                  <a:gd name="T22" fmla="*/ 35 w 36"/>
                  <a:gd name="T23" fmla="*/ 24 h 27"/>
                  <a:gd name="T24" fmla="*/ 36 w 36"/>
                  <a:gd name="T25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27">
                    <a:moveTo>
                      <a:pt x="36" y="23"/>
                    </a:moveTo>
                    <a:cubicBezTo>
                      <a:pt x="36" y="23"/>
                      <a:pt x="34" y="25"/>
                      <a:pt x="29" y="25"/>
                    </a:cubicBezTo>
                    <a:cubicBezTo>
                      <a:pt x="27" y="26"/>
                      <a:pt x="24" y="26"/>
                      <a:pt x="22" y="25"/>
                    </a:cubicBezTo>
                    <a:cubicBezTo>
                      <a:pt x="19" y="24"/>
                      <a:pt x="16" y="23"/>
                      <a:pt x="13" y="21"/>
                    </a:cubicBezTo>
                    <a:cubicBezTo>
                      <a:pt x="7" y="17"/>
                      <a:pt x="3" y="12"/>
                      <a:pt x="2" y="8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0" y="6"/>
                      <a:pt x="1" y="8"/>
                    </a:cubicBezTo>
                    <a:cubicBezTo>
                      <a:pt x="2" y="12"/>
                      <a:pt x="6" y="18"/>
                      <a:pt x="12" y="22"/>
                    </a:cubicBezTo>
                    <a:cubicBezTo>
                      <a:pt x="15" y="24"/>
                      <a:pt x="18" y="25"/>
                      <a:pt x="21" y="26"/>
                    </a:cubicBezTo>
                    <a:cubicBezTo>
                      <a:pt x="24" y="27"/>
                      <a:pt x="27" y="27"/>
                      <a:pt x="29" y="26"/>
                    </a:cubicBezTo>
                    <a:cubicBezTo>
                      <a:pt x="32" y="26"/>
                      <a:pt x="33" y="25"/>
                      <a:pt x="35" y="24"/>
                    </a:cubicBezTo>
                    <a:cubicBezTo>
                      <a:pt x="36" y="24"/>
                      <a:pt x="36" y="23"/>
                      <a:pt x="36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99">
                <a:extLst>
                  <a:ext uri="{FF2B5EF4-FFF2-40B4-BE49-F238E27FC236}">
                    <a16:creationId xmlns:a16="http://schemas.microsoft.com/office/drawing/2014/main" id="{36543F23-3116-4F85-8CEE-B546B0A8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7" y="393"/>
                <a:ext cx="90" cy="57"/>
              </a:xfrm>
              <a:custGeom>
                <a:avLst/>
                <a:gdLst>
                  <a:gd name="T0" fmla="*/ 38 w 38"/>
                  <a:gd name="T1" fmla="*/ 23 h 24"/>
                  <a:gd name="T2" fmla="*/ 31 w 38"/>
                  <a:gd name="T3" fmla="*/ 23 h 24"/>
                  <a:gd name="T4" fmla="*/ 15 w 38"/>
                  <a:gd name="T5" fmla="*/ 19 h 24"/>
                  <a:gd name="T6" fmla="*/ 3 w 38"/>
                  <a:gd name="T7" fmla="*/ 7 h 24"/>
                  <a:gd name="T8" fmla="*/ 0 w 38"/>
                  <a:gd name="T9" fmla="*/ 0 h 24"/>
                  <a:gd name="T10" fmla="*/ 1 w 38"/>
                  <a:gd name="T11" fmla="*/ 2 h 24"/>
                  <a:gd name="T12" fmla="*/ 2 w 38"/>
                  <a:gd name="T13" fmla="*/ 7 h 24"/>
                  <a:gd name="T14" fmla="*/ 14 w 38"/>
                  <a:gd name="T15" fmla="*/ 20 h 24"/>
                  <a:gd name="T16" fmla="*/ 31 w 38"/>
                  <a:gd name="T17" fmla="*/ 24 h 24"/>
                  <a:gd name="T18" fmla="*/ 36 w 38"/>
                  <a:gd name="T19" fmla="*/ 24 h 24"/>
                  <a:gd name="T20" fmla="*/ 38 w 38"/>
                  <a:gd name="T21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24">
                    <a:moveTo>
                      <a:pt x="38" y="23"/>
                    </a:moveTo>
                    <a:cubicBezTo>
                      <a:pt x="38" y="23"/>
                      <a:pt x="35" y="23"/>
                      <a:pt x="31" y="23"/>
                    </a:cubicBezTo>
                    <a:cubicBezTo>
                      <a:pt x="26" y="23"/>
                      <a:pt x="20" y="22"/>
                      <a:pt x="15" y="19"/>
                    </a:cubicBezTo>
                    <a:cubicBezTo>
                      <a:pt x="9" y="15"/>
                      <a:pt x="5" y="10"/>
                      <a:pt x="3" y="7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2"/>
                    </a:cubicBezTo>
                    <a:cubicBezTo>
                      <a:pt x="1" y="3"/>
                      <a:pt x="1" y="5"/>
                      <a:pt x="2" y="7"/>
                    </a:cubicBezTo>
                    <a:cubicBezTo>
                      <a:pt x="4" y="11"/>
                      <a:pt x="8" y="16"/>
                      <a:pt x="14" y="20"/>
                    </a:cubicBezTo>
                    <a:cubicBezTo>
                      <a:pt x="20" y="23"/>
                      <a:pt x="26" y="24"/>
                      <a:pt x="31" y="24"/>
                    </a:cubicBezTo>
                    <a:cubicBezTo>
                      <a:pt x="33" y="24"/>
                      <a:pt x="35" y="24"/>
                      <a:pt x="36" y="24"/>
                    </a:cubicBezTo>
                    <a:cubicBezTo>
                      <a:pt x="37" y="23"/>
                      <a:pt x="38" y="23"/>
                      <a:pt x="38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100">
                <a:extLst>
                  <a:ext uri="{FF2B5EF4-FFF2-40B4-BE49-F238E27FC236}">
                    <a16:creationId xmlns:a16="http://schemas.microsoft.com/office/drawing/2014/main" id="{E6C4B4BE-AAB4-4C71-8AD2-2AACA5DBD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7" y="531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2 h 5"/>
                  <a:gd name="T4" fmla="*/ 2 w 2"/>
                  <a:gd name="T5" fmla="*/ 0 h 5"/>
                  <a:gd name="T6" fmla="*/ 0 w 2"/>
                  <a:gd name="T7" fmla="*/ 2 h 5"/>
                  <a:gd name="T8" fmla="*/ 0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Freeform 101">
                <a:extLst>
                  <a:ext uri="{FF2B5EF4-FFF2-40B4-BE49-F238E27FC236}">
                    <a16:creationId xmlns:a16="http://schemas.microsoft.com/office/drawing/2014/main" id="{4B8EAEE3-C840-4D69-927F-6F55BEBA0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3" y="526"/>
                <a:ext cx="2" cy="5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102">
                <a:extLst>
                  <a:ext uri="{FF2B5EF4-FFF2-40B4-BE49-F238E27FC236}">
                    <a16:creationId xmlns:a16="http://schemas.microsoft.com/office/drawing/2014/main" id="{B23E8C48-C095-4B44-B833-BC9BA61D8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6" y="526"/>
                <a:ext cx="3" cy="5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1 h 2"/>
                  <a:gd name="T8" fmla="*/ 1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103">
                <a:extLst>
                  <a:ext uri="{FF2B5EF4-FFF2-40B4-BE49-F238E27FC236}">
                    <a16:creationId xmlns:a16="http://schemas.microsoft.com/office/drawing/2014/main" id="{49E838E0-D467-4713-BC5D-CDF656D4AB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5" y="54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104">
                <a:extLst>
                  <a:ext uri="{FF2B5EF4-FFF2-40B4-BE49-F238E27FC236}">
                    <a16:creationId xmlns:a16="http://schemas.microsoft.com/office/drawing/2014/main" id="{25A12A5B-70B7-448F-BAE2-279AC0459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4" y="543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0 w 1"/>
                  <a:gd name="T7" fmla="*/ 1 h 1"/>
                  <a:gd name="T8" fmla="*/ 1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105">
                <a:extLst>
                  <a:ext uri="{FF2B5EF4-FFF2-40B4-BE49-F238E27FC236}">
                    <a16:creationId xmlns:a16="http://schemas.microsoft.com/office/drawing/2014/main" id="{671B1438-001D-455B-A3C1-A73EE1DFC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533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0 w 2"/>
                  <a:gd name="T7" fmla="*/ 3 h 3"/>
                  <a:gd name="T8" fmla="*/ 0 w 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106">
                <a:extLst>
                  <a:ext uri="{FF2B5EF4-FFF2-40B4-BE49-F238E27FC236}">
                    <a16:creationId xmlns:a16="http://schemas.microsoft.com/office/drawing/2014/main" id="{EBEDE99C-6615-464D-97AC-D8129B787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531"/>
                <a:ext cx="3" cy="5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0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107">
                <a:extLst>
                  <a:ext uri="{FF2B5EF4-FFF2-40B4-BE49-F238E27FC236}">
                    <a16:creationId xmlns:a16="http://schemas.microsoft.com/office/drawing/2014/main" id="{450F5265-BC0F-4D09-9795-C3EFF61F9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4" y="533"/>
                <a:ext cx="5" cy="3"/>
              </a:xfrm>
              <a:custGeom>
                <a:avLst/>
                <a:gdLst>
                  <a:gd name="T0" fmla="*/ 2 w 5"/>
                  <a:gd name="T1" fmla="*/ 3 h 3"/>
                  <a:gd name="T2" fmla="*/ 5 w 5"/>
                  <a:gd name="T3" fmla="*/ 3 h 3"/>
                  <a:gd name="T4" fmla="*/ 2 w 5"/>
                  <a:gd name="T5" fmla="*/ 0 h 3"/>
                  <a:gd name="T6" fmla="*/ 0 w 5"/>
                  <a:gd name="T7" fmla="*/ 3 h 3"/>
                  <a:gd name="T8" fmla="*/ 2 w 5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2" y="3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108">
                <a:extLst>
                  <a:ext uri="{FF2B5EF4-FFF2-40B4-BE49-F238E27FC236}">
                    <a16:creationId xmlns:a16="http://schemas.microsoft.com/office/drawing/2014/main" id="{10139699-B772-4AB8-AE45-1454060E40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4" y="550"/>
                <a:ext cx="3" cy="2"/>
              </a:xfrm>
              <a:prstGeom prst="rect">
                <a:avLst/>
              </a:pr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109">
                <a:extLst>
                  <a:ext uri="{FF2B5EF4-FFF2-40B4-BE49-F238E27FC236}">
                    <a16:creationId xmlns:a16="http://schemas.microsoft.com/office/drawing/2014/main" id="{8CD3DF62-9F65-40F5-90F9-56018DB1D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54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110">
                <a:extLst>
                  <a:ext uri="{FF2B5EF4-FFF2-40B4-BE49-F238E27FC236}">
                    <a16:creationId xmlns:a16="http://schemas.microsoft.com/office/drawing/2014/main" id="{2ADA0F6B-2214-4E8F-99ED-DADFE50FC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" y="600"/>
                <a:ext cx="61" cy="64"/>
              </a:xfrm>
              <a:custGeom>
                <a:avLst/>
                <a:gdLst>
                  <a:gd name="T0" fmla="*/ 1 w 26"/>
                  <a:gd name="T1" fmla="*/ 6 h 27"/>
                  <a:gd name="T2" fmla="*/ 14 w 26"/>
                  <a:gd name="T3" fmla="*/ 0 h 27"/>
                  <a:gd name="T4" fmla="*/ 0 w 26"/>
                  <a:gd name="T5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27">
                    <a:moveTo>
                      <a:pt x="1" y="6"/>
                    </a:moveTo>
                    <a:cubicBezTo>
                      <a:pt x="7" y="27"/>
                      <a:pt x="26" y="9"/>
                      <a:pt x="14" y="0"/>
                    </a:cubicBezTo>
                    <a:cubicBezTo>
                      <a:pt x="9" y="1"/>
                      <a:pt x="5" y="4"/>
                      <a:pt x="0" y="6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111">
                <a:extLst>
                  <a:ext uri="{FF2B5EF4-FFF2-40B4-BE49-F238E27FC236}">
                    <a16:creationId xmlns:a16="http://schemas.microsoft.com/office/drawing/2014/main" id="{8E23F2C9-770F-4231-B8D7-FE9772D1B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598"/>
                <a:ext cx="71" cy="54"/>
              </a:xfrm>
              <a:custGeom>
                <a:avLst/>
                <a:gdLst>
                  <a:gd name="T0" fmla="*/ 10 w 30"/>
                  <a:gd name="T1" fmla="*/ 17 h 23"/>
                  <a:gd name="T2" fmla="*/ 21 w 30"/>
                  <a:gd name="T3" fmla="*/ 2 h 23"/>
                  <a:gd name="T4" fmla="*/ 9 w 30"/>
                  <a:gd name="T5" fmla="*/ 6 h 23"/>
                  <a:gd name="T6" fmla="*/ 8 w 30"/>
                  <a:gd name="T7" fmla="*/ 5 h 23"/>
                  <a:gd name="T8" fmla="*/ 21 w 30"/>
                  <a:gd name="T9" fmla="*/ 0 h 23"/>
                  <a:gd name="T10" fmla="*/ 10 w 30"/>
                  <a:gd name="T11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23">
                    <a:moveTo>
                      <a:pt x="10" y="17"/>
                    </a:moveTo>
                    <a:cubicBezTo>
                      <a:pt x="17" y="19"/>
                      <a:pt x="27" y="11"/>
                      <a:pt x="21" y="2"/>
                    </a:cubicBezTo>
                    <a:cubicBezTo>
                      <a:pt x="18" y="2"/>
                      <a:pt x="12" y="6"/>
                      <a:pt x="9" y="6"/>
                    </a:cubicBezTo>
                    <a:cubicBezTo>
                      <a:pt x="1" y="9"/>
                      <a:pt x="0" y="9"/>
                      <a:pt x="8" y="5"/>
                    </a:cubicBezTo>
                    <a:cubicBezTo>
                      <a:pt x="12" y="4"/>
                      <a:pt x="17" y="0"/>
                      <a:pt x="21" y="0"/>
                    </a:cubicBezTo>
                    <a:cubicBezTo>
                      <a:pt x="30" y="7"/>
                      <a:pt x="20" y="23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112">
                <a:extLst>
                  <a:ext uri="{FF2B5EF4-FFF2-40B4-BE49-F238E27FC236}">
                    <a16:creationId xmlns:a16="http://schemas.microsoft.com/office/drawing/2014/main" id="{1A943F1D-CDFD-4637-AC5F-FDD3EA36A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2" y="757"/>
                <a:ext cx="306" cy="778"/>
              </a:xfrm>
              <a:custGeom>
                <a:avLst/>
                <a:gdLst>
                  <a:gd name="T0" fmla="*/ 80 w 306"/>
                  <a:gd name="T1" fmla="*/ 7 h 778"/>
                  <a:gd name="T2" fmla="*/ 149 w 306"/>
                  <a:gd name="T3" fmla="*/ 76 h 778"/>
                  <a:gd name="T4" fmla="*/ 270 w 306"/>
                  <a:gd name="T5" fmla="*/ 0 h 778"/>
                  <a:gd name="T6" fmla="*/ 306 w 306"/>
                  <a:gd name="T7" fmla="*/ 64 h 778"/>
                  <a:gd name="T8" fmla="*/ 246 w 306"/>
                  <a:gd name="T9" fmla="*/ 776 h 778"/>
                  <a:gd name="T10" fmla="*/ 0 w 306"/>
                  <a:gd name="T11" fmla="*/ 778 h 778"/>
                  <a:gd name="T12" fmla="*/ 14 w 306"/>
                  <a:gd name="T13" fmla="*/ 125 h 778"/>
                  <a:gd name="T14" fmla="*/ 80 w 306"/>
                  <a:gd name="T15" fmla="*/ 7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6" h="778">
                    <a:moveTo>
                      <a:pt x="80" y="7"/>
                    </a:moveTo>
                    <a:lnTo>
                      <a:pt x="149" y="76"/>
                    </a:lnTo>
                    <a:lnTo>
                      <a:pt x="270" y="0"/>
                    </a:lnTo>
                    <a:lnTo>
                      <a:pt x="306" y="64"/>
                    </a:lnTo>
                    <a:lnTo>
                      <a:pt x="246" y="776"/>
                    </a:lnTo>
                    <a:lnTo>
                      <a:pt x="0" y="778"/>
                    </a:lnTo>
                    <a:lnTo>
                      <a:pt x="14" y="125"/>
                    </a:lnTo>
                    <a:lnTo>
                      <a:pt x="80" y="7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Freeform 113">
                <a:extLst>
                  <a:ext uri="{FF2B5EF4-FFF2-40B4-BE49-F238E27FC236}">
                    <a16:creationId xmlns:a16="http://schemas.microsoft.com/office/drawing/2014/main" id="{C498A63F-3DFB-4B6E-95B4-D7F07D76C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2" y="757"/>
                <a:ext cx="306" cy="778"/>
              </a:xfrm>
              <a:custGeom>
                <a:avLst/>
                <a:gdLst>
                  <a:gd name="T0" fmla="*/ 80 w 306"/>
                  <a:gd name="T1" fmla="*/ 7 h 778"/>
                  <a:gd name="T2" fmla="*/ 149 w 306"/>
                  <a:gd name="T3" fmla="*/ 76 h 778"/>
                  <a:gd name="T4" fmla="*/ 270 w 306"/>
                  <a:gd name="T5" fmla="*/ 0 h 778"/>
                  <a:gd name="T6" fmla="*/ 306 w 306"/>
                  <a:gd name="T7" fmla="*/ 64 h 778"/>
                  <a:gd name="T8" fmla="*/ 246 w 306"/>
                  <a:gd name="T9" fmla="*/ 776 h 778"/>
                  <a:gd name="T10" fmla="*/ 0 w 306"/>
                  <a:gd name="T11" fmla="*/ 778 h 778"/>
                  <a:gd name="T12" fmla="*/ 14 w 306"/>
                  <a:gd name="T13" fmla="*/ 125 h 778"/>
                  <a:gd name="T14" fmla="*/ 80 w 306"/>
                  <a:gd name="T15" fmla="*/ 7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6" h="778">
                    <a:moveTo>
                      <a:pt x="80" y="7"/>
                    </a:moveTo>
                    <a:lnTo>
                      <a:pt x="149" y="76"/>
                    </a:lnTo>
                    <a:lnTo>
                      <a:pt x="270" y="0"/>
                    </a:lnTo>
                    <a:lnTo>
                      <a:pt x="306" y="64"/>
                    </a:lnTo>
                    <a:lnTo>
                      <a:pt x="246" y="776"/>
                    </a:lnTo>
                    <a:lnTo>
                      <a:pt x="0" y="778"/>
                    </a:lnTo>
                    <a:lnTo>
                      <a:pt x="14" y="125"/>
                    </a:lnTo>
                    <a:lnTo>
                      <a:pt x="80" y="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114">
                <a:extLst>
                  <a:ext uri="{FF2B5EF4-FFF2-40B4-BE49-F238E27FC236}">
                    <a16:creationId xmlns:a16="http://schemas.microsoft.com/office/drawing/2014/main" id="{F31E5037-22D5-4062-9324-8A7982BD3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6" y="890"/>
                <a:ext cx="219" cy="645"/>
              </a:xfrm>
              <a:custGeom>
                <a:avLst/>
                <a:gdLst>
                  <a:gd name="T0" fmla="*/ 6 w 92"/>
                  <a:gd name="T1" fmla="*/ 272 h 272"/>
                  <a:gd name="T2" fmla="*/ 0 w 92"/>
                  <a:gd name="T3" fmla="*/ 207 h 272"/>
                  <a:gd name="T4" fmla="*/ 60 w 92"/>
                  <a:gd name="T5" fmla="*/ 0 h 272"/>
                  <a:gd name="T6" fmla="*/ 79 w 92"/>
                  <a:gd name="T7" fmla="*/ 75 h 272"/>
                  <a:gd name="T8" fmla="*/ 92 w 92"/>
                  <a:gd name="T9" fmla="*/ 208 h 272"/>
                  <a:gd name="T10" fmla="*/ 76 w 92"/>
                  <a:gd name="T11" fmla="*/ 236 h 272"/>
                  <a:gd name="T12" fmla="*/ 81 w 92"/>
                  <a:gd name="T13" fmla="*/ 272 h 272"/>
                  <a:gd name="T14" fmla="*/ 6 w 92"/>
                  <a:gd name="T15" fmla="*/ 272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272">
                    <a:moveTo>
                      <a:pt x="6" y="272"/>
                    </a:moveTo>
                    <a:cubicBezTo>
                      <a:pt x="0" y="207"/>
                      <a:pt x="0" y="207"/>
                      <a:pt x="0" y="207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9" y="75"/>
                      <a:pt x="79" y="75"/>
                      <a:pt x="79" y="75"/>
                    </a:cubicBezTo>
                    <a:cubicBezTo>
                      <a:pt x="79" y="75"/>
                      <a:pt x="92" y="206"/>
                      <a:pt x="92" y="208"/>
                    </a:cubicBezTo>
                    <a:cubicBezTo>
                      <a:pt x="92" y="211"/>
                      <a:pt x="76" y="236"/>
                      <a:pt x="76" y="236"/>
                    </a:cubicBezTo>
                    <a:cubicBezTo>
                      <a:pt x="81" y="272"/>
                      <a:pt x="81" y="272"/>
                      <a:pt x="81" y="272"/>
                    </a:cubicBezTo>
                    <a:cubicBezTo>
                      <a:pt x="6" y="272"/>
                      <a:pt x="6" y="272"/>
                      <a:pt x="6" y="272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115">
                <a:extLst>
                  <a:ext uri="{FF2B5EF4-FFF2-40B4-BE49-F238E27FC236}">
                    <a16:creationId xmlns:a16="http://schemas.microsoft.com/office/drawing/2014/main" id="{0195563F-C97C-48D5-B0C8-F626CBA58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761"/>
                <a:ext cx="268" cy="774"/>
              </a:xfrm>
              <a:custGeom>
                <a:avLst/>
                <a:gdLst>
                  <a:gd name="T0" fmla="*/ 113 w 113"/>
                  <a:gd name="T1" fmla="*/ 0 h 326"/>
                  <a:gd name="T2" fmla="*/ 81 w 113"/>
                  <a:gd name="T3" fmla="*/ 25 h 326"/>
                  <a:gd name="T4" fmla="*/ 0 w 113"/>
                  <a:gd name="T5" fmla="*/ 54 h 326"/>
                  <a:gd name="T6" fmla="*/ 15 w 113"/>
                  <a:gd name="T7" fmla="*/ 138 h 326"/>
                  <a:gd name="T8" fmla="*/ 30 w 113"/>
                  <a:gd name="T9" fmla="*/ 267 h 326"/>
                  <a:gd name="T10" fmla="*/ 32 w 113"/>
                  <a:gd name="T11" fmla="*/ 326 h 326"/>
                  <a:gd name="T12" fmla="*/ 98 w 113"/>
                  <a:gd name="T13" fmla="*/ 326 h 326"/>
                  <a:gd name="T14" fmla="*/ 103 w 113"/>
                  <a:gd name="T15" fmla="*/ 218 h 326"/>
                  <a:gd name="T16" fmla="*/ 97 w 113"/>
                  <a:gd name="T17" fmla="*/ 35 h 326"/>
                  <a:gd name="T18" fmla="*/ 113 w 113"/>
                  <a:gd name="T19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" h="326">
                    <a:moveTo>
                      <a:pt x="113" y="0"/>
                    </a:moveTo>
                    <a:cubicBezTo>
                      <a:pt x="81" y="25"/>
                      <a:pt x="81" y="25"/>
                      <a:pt x="81" y="25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5" y="138"/>
                      <a:pt x="15" y="138"/>
                      <a:pt x="15" y="138"/>
                    </a:cubicBezTo>
                    <a:cubicBezTo>
                      <a:pt x="30" y="267"/>
                      <a:pt x="30" y="267"/>
                      <a:pt x="30" y="267"/>
                    </a:cubicBezTo>
                    <a:cubicBezTo>
                      <a:pt x="32" y="326"/>
                      <a:pt x="32" y="326"/>
                      <a:pt x="32" y="326"/>
                    </a:cubicBezTo>
                    <a:cubicBezTo>
                      <a:pt x="98" y="326"/>
                      <a:pt x="98" y="326"/>
                      <a:pt x="98" y="326"/>
                    </a:cubicBezTo>
                    <a:cubicBezTo>
                      <a:pt x="103" y="218"/>
                      <a:pt x="103" y="218"/>
                      <a:pt x="103" y="218"/>
                    </a:cubicBezTo>
                    <a:cubicBezTo>
                      <a:pt x="103" y="218"/>
                      <a:pt x="91" y="63"/>
                      <a:pt x="97" y="35"/>
                    </a:cubicBezTo>
                    <a:cubicBezTo>
                      <a:pt x="113" y="0"/>
                      <a:pt x="113" y="0"/>
                      <a:pt x="113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116">
                <a:extLst>
                  <a:ext uri="{FF2B5EF4-FFF2-40B4-BE49-F238E27FC236}">
                    <a16:creationId xmlns:a16="http://schemas.microsoft.com/office/drawing/2014/main" id="{CEFD78E5-D709-40AD-9E82-9BD528D12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2" y="757"/>
                <a:ext cx="356" cy="778"/>
              </a:xfrm>
              <a:custGeom>
                <a:avLst/>
                <a:gdLst>
                  <a:gd name="T0" fmla="*/ 38 w 150"/>
                  <a:gd name="T1" fmla="*/ 0 h 328"/>
                  <a:gd name="T2" fmla="*/ 69 w 150"/>
                  <a:gd name="T3" fmla="*/ 21 h 328"/>
                  <a:gd name="T4" fmla="*/ 108 w 150"/>
                  <a:gd name="T5" fmla="*/ 38 h 328"/>
                  <a:gd name="T6" fmla="*/ 148 w 150"/>
                  <a:gd name="T7" fmla="*/ 50 h 328"/>
                  <a:gd name="T8" fmla="*/ 134 w 150"/>
                  <a:gd name="T9" fmla="*/ 199 h 328"/>
                  <a:gd name="T10" fmla="*/ 138 w 150"/>
                  <a:gd name="T11" fmla="*/ 328 h 328"/>
                  <a:gd name="T12" fmla="*/ 0 w 150"/>
                  <a:gd name="T13" fmla="*/ 328 h 328"/>
                  <a:gd name="T14" fmla="*/ 0 w 150"/>
                  <a:gd name="T15" fmla="*/ 270 h 328"/>
                  <a:gd name="T16" fmla="*/ 43 w 150"/>
                  <a:gd name="T17" fmla="*/ 43 h 328"/>
                  <a:gd name="T18" fmla="*/ 38 w 150"/>
                  <a:gd name="T19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328">
                    <a:moveTo>
                      <a:pt x="38" y="0"/>
                    </a:moveTo>
                    <a:cubicBezTo>
                      <a:pt x="69" y="21"/>
                      <a:pt x="69" y="21"/>
                      <a:pt x="69" y="21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8" y="38"/>
                      <a:pt x="150" y="47"/>
                      <a:pt x="148" y="50"/>
                    </a:cubicBezTo>
                    <a:cubicBezTo>
                      <a:pt x="146" y="52"/>
                      <a:pt x="134" y="199"/>
                      <a:pt x="134" y="199"/>
                    </a:cubicBezTo>
                    <a:cubicBezTo>
                      <a:pt x="138" y="328"/>
                      <a:pt x="138" y="328"/>
                      <a:pt x="138" y="328"/>
                    </a:cubicBezTo>
                    <a:cubicBezTo>
                      <a:pt x="0" y="328"/>
                      <a:pt x="0" y="328"/>
                      <a:pt x="0" y="328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117">
                <a:extLst>
                  <a:ext uri="{FF2B5EF4-FFF2-40B4-BE49-F238E27FC236}">
                    <a16:creationId xmlns:a16="http://schemas.microsoft.com/office/drawing/2014/main" id="{54CF742E-8888-4731-B800-8AE2C6F24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8" y="875"/>
                <a:ext cx="373" cy="435"/>
              </a:xfrm>
              <a:custGeom>
                <a:avLst/>
                <a:gdLst>
                  <a:gd name="T0" fmla="*/ 18 w 157"/>
                  <a:gd name="T1" fmla="*/ 0 h 183"/>
                  <a:gd name="T2" fmla="*/ 57 w 157"/>
                  <a:gd name="T3" fmla="*/ 63 h 183"/>
                  <a:gd name="T4" fmla="*/ 90 w 157"/>
                  <a:gd name="T5" fmla="*/ 90 h 183"/>
                  <a:gd name="T6" fmla="*/ 108 w 157"/>
                  <a:gd name="T7" fmla="*/ 56 h 183"/>
                  <a:gd name="T8" fmla="*/ 153 w 157"/>
                  <a:gd name="T9" fmla="*/ 56 h 183"/>
                  <a:gd name="T10" fmla="*/ 157 w 157"/>
                  <a:gd name="T11" fmla="*/ 114 h 183"/>
                  <a:gd name="T12" fmla="*/ 121 w 157"/>
                  <a:gd name="T13" fmla="*/ 177 h 183"/>
                  <a:gd name="T14" fmla="*/ 61 w 157"/>
                  <a:gd name="T15" fmla="*/ 165 h 183"/>
                  <a:gd name="T16" fmla="*/ 0 w 157"/>
                  <a:gd name="T17" fmla="*/ 105 h 183"/>
                  <a:gd name="T18" fmla="*/ 18 w 157"/>
                  <a:gd name="T19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" h="183">
                    <a:moveTo>
                      <a:pt x="18" y="0"/>
                    </a:moveTo>
                    <a:cubicBezTo>
                      <a:pt x="24" y="1"/>
                      <a:pt x="57" y="63"/>
                      <a:pt x="57" y="63"/>
                    </a:cubicBezTo>
                    <a:cubicBezTo>
                      <a:pt x="90" y="90"/>
                      <a:pt x="90" y="90"/>
                      <a:pt x="90" y="90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153" y="56"/>
                      <a:pt x="153" y="56"/>
                      <a:pt x="153" y="56"/>
                    </a:cubicBezTo>
                    <a:cubicBezTo>
                      <a:pt x="157" y="114"/>
                      <a:pt x="157" y="114"/>
                      <a:pt x="157" y="114"/>
                    </a:cubicBezTo>
                    <a:cubicBezTo>
                      <a:pt x="157" y="114"/>
                      <a:pt x="131" y="171"/>
                      <a:pt x="121" y="177"/>
                    </a:cubicBezTo>
                    <a:cubicBezTo>
                      <a:pt x="110" y="183"/>
                      <a:pt x="78" y="171"/>
                      <a:pt x="61" y="165"/>
                    </a:cubicBezTo>
                    <a:cubicBezTo>
                      <a:pt x="45" y="159"/>
                      <a:pt x="0" y="105"/>
                      <a:pt x="0" y="105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118">
                <a:extLst>
                  <a:ext uri="{FF2B5EF4-FFF2-40B4-BE49-F238E27FC236}">
                    <a16:creationId xmlns:a16="http://schemas.microsoft.com/office/drawing/2014/main" id="{5E7BDD1B-3BC5-4216-90FD-432121F86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" y="1367"/>
                <a:ext cx="136" cy="85"/>
              </a:xfrm>
              <a:custGeom>
                <a:avLst/>
                <a:gdLst>
                  <a:gd name="T0" fmla="*/ 57 w 57"/>
                  <a:gd name="T1" fmla="*/ 35 h 36"/>
                  <a:gd name="T2" fmla="*/ 51 w 57"/>
                  <a:gd name="T3" fmla="*/ 27 h 36"/>
                  <a:gd name="T4" fmla="*/ 33 w 57"/>
                  <a:gd name="T5" fmla="*/ 10 h 36"/>
                  <a:gd name="T6" fmla="*/ 11 w 57"/>
                  <a:gd name="T7" fmla="*/ 2 h 36"/>
                  <a:gd name="T8" fmla="*/ 3 w 57"/>
                  <a:gd name="T9" fmla="*/ 2 h 36"/>
                  <a:gd name="T10" fmla="*/ 1 w 57"/>
                  <a:gd name="T11" fmla="*/ 2 h 36"/>
                  <a:gd name="T12" fmla="*/ 3 w 57"/>
                  <a:gd name="T13" fmla="*/ 1 h 36"/>
                  <a:gd name="T14" fmla="*/ 11 w 57"/>
                  <a:gd name="T15" fmla="*/ 0 h 36"/>
                  <a:gd name="T16" fmla="*/ 34 w 57"/>
                  <a:gd name="T17" fmla="*/ 9 h 36"/>
                  <a:gd name="T18" fmla="*/ 52 w 57"/>
                  <a:gd name="T19" fmla="*/ 27 h 36"/>
                  <a:gd name="T20" fmla="*/ 57 w 57"/>
                  <a:gd name="T21" fmla="*/ 3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6">
                    <a:moveTo>
                      <a:pt x="57" y="35"/>
                    </a:moveTo>
                    <a:cubicBezTo>
                      <a:pt x="57" y="36"/>
                      <a:pt x="55" y="32"/>
                      <a:pt x="51" y="27"/>
                    </a:cubicBezTo>
                    <a:cubicBezTo>
                      <a:pt x="47" y="22"/>
                      <a:pt x="41" y="16"/>
                      <a:pt x="33" y="10"/>
                    </a:cubicBezTo>
                    <a:cubicBezTo>
                      <a:pt x="25" y="5"/>
                      <a:pt x="17" y="2"/>
                      <a:pt x="11" y="2"/>
                    </a:cubicBezTo>
                    <a:cubicBezTo>
                      <a:pt x="7" y="1"/>
                      <a:pt x="5" y="2"/>
                      <a:pt x="3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1" y="1"/>
                      <a:pt x="3" y="1"/>
                    </a:cubicBezTo>
                    <a:cubicBezTo>
                      <a:pt x="5" y="1"/>
                      <a:pt x="8" y="0"/>
                      <a:pt x="11" y="0"/>
                    </a:cubicBezTo>
                    <a:cubicBezTo>
                      <a:pt x="17" y="0"/>
                      <a:pt x="26" y="3"/>
                      <a:pt x="34" y="9"/>
                    </a:cubicBezTo>
                    <a:cubicBezTo>
                      <a:pt x="43" y="14"/>
                      <a:pt x="48" y="21"/>
                      <a:pt x="52" y="27"/>
                    </a:cubicBezTo>
                    <a:cubicBezTo>
                      <a:pt x="56" y="32"/>
                      <a:pt x="57" y="35"/>
                      <a:pt x="57" y="3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119">
                <a:extLst>
                  <a:ext uri="{FF2B5EF4-FFF2-40B4-BE49-F238E27FC236}">
                    <a16:creationId xmlns:a16="http://schemas.microsoft.com/office/drawing/2014/main" id="{30986F59-C08A-470A-84A3-1FB1A2ED9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" y="1341"/>
                <a:ext cx="100" cy="64"/>
              </a:xfrm>
              <a:custGeom>
                <a:avLst/>
                <a:gdLst>
                  <a:gd name="T0" fmla="*/ 42 w 42"/>
                  <a:gd name="T1" fmla="*/ 26 h 27"/>
                  <a:gd name="T2" fmla="*/ 23 w 42"/>
                  <a:gd name="T3" fmla="*/ 10 h 27"/>
                  <a:gd name="T4" fmla="*/ 0 w 42"/>
                  <a:gd name="T5" fmla="*/ 1 h 27"/>
                  <a:gd name="T6" fmla="*/ 7 w 42"/>
                  <a:gd name="T7" fmla="*/ 1 h 27"/>
                  <a:gd name="T8" fmla="*/ 24 w 42"/>
                  <a:gd name="T9" fmla="*/ 8 h 27"/>
                  <a:gd name="T10" fmla="*/ 38 w 42"/>
                  <a:gd name="T11" fmla="*/ 20 h 27"/>
                  <a:gd name="T12" fmla="*/ 42 w 42"/>
                  <a:gd name="T13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27">
                    <a:moveTo>
                      <a:pt x="42" y="26"/>
                    </a:moveTo>
                    <a:cubicBezTo>
                      <a:pt x="41" y="27"/>
                      <a:pt x="35" y="17"/>
                      <a:pt x="23" y="10"/>
                    </a:cubicBezTo>
                    <a:cubicBezTo>
                      <a:pt x="11" y="3"/>
                      <a:pt x="0" y="1"/>
                      <a:pt x="0" y="1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8"/>
                    </a:cubicBezTo>
                    <a:cubicBezTo>
                      <a:pt x="30" y="12"/>
                      <a:pt x="35" y="16"/>
                      <a:pt x="38" y="20"/>
                    </a:cubicBezTo>
                    <a:cubicBezTo>
                      <a:pt x="41" y="24"/>
                      <a:pt x="42" y="26"/>
                      <a:pt x="42" y="2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120">
                <a:extLst>
                  <a:ext uri="{FF2B5EF4-FFF2-40B4-BE49-F238E27FC236}">
                    <a16:creationId xmlns:a16="http://schemas.microsoft.com/office/drawing/2014/main" id="{DC9AF9A3-B9D9-4B25-87D8-C5A536DB4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816"/>
                <a:ext cx="111" cy="603"/>
              </a:xfrm>
              <a:custGeom>
                <a:avLst/>
                <a:gdLst>
                  <a:gd name="T0" fmla="*/ 47 w 47"/>
                  <a:gd name="T1" fmla="*/ 254 h 254"/>
                  <a:gd name="T2" fmla="*/ 46 w 47"/>
                  <a:gd name="T3" fmla="*/ 252 h 254"/>
                  <a:gd name="T4" fmla="*/ 42 w 47"/>
                  <a:gd name="T5" fmla="*/ 244 h 254"/>
                  <a:gd name="T6" fmla="*/ 28 w 47"/>
                  <a:gd name="T7" fmla="*/ 217 h 254"/>
                  <a:gd name="T8" fmla="*/ 12 w 47"/>
                  <a:gd name="T9" fmla="*/ 174 h 254"/>
                  <a:gd name="T10" fmla="*/ 2 w 47"/>
                  <a:gd name="T11" fmla="*/ 119 h 254"/>
                  <a:gd name="T12" fmla="*/ 1 w 47"/>
                  <a:gd name="T13" fmla="*/ 59 h 254"/>
                  <a:gd name="T14" fmla="*/ 2 w 47"/>
                  <a:gd name="T15" fmla="*/ 45 h 254"/>
                  <a:gd name="T16" fmla="*/ 4 w 47"/>
                  <a:gd name="T17" fmla="*/ 33 h 254"/>
                  <a:gd name="T18" fmla="*/ 7 w 47"/>
                  <a:gd name="T19" fmla="*/ 27 h 254"/>
                  <a:gd name="T20" fmla="*/ 11 w 47"/>
                  <a:gd name="T21" fmla="*/ 24 h 254"/>
                  <a:gd name="T22" fmla="*/ 22 w 47"/>
                  <a:gd name="T23" fmla="*/ 25 h 254"/>
                  <a:gd name="T24" fmla="*/ 21 w 47"/>
                  <a:gd name="T25" fmla="*/ 26 h 254"/>
                  <a:gd name="T26" fmla="*/ 14 w 47"/>
                  <a:gd name="T27" fmla="*/ 22 h 254"/>
                  <a:gd name="T28" fmla="*/ 14 w 47"/>
                  <a:gd name="T29" fmla="*/ 21 h 254"/>
                  <a:gd name="T30" fmla="*/ 14 w 47"/>
                  <a:gd name="T31" fmla="*/ 21 h 254"/>
                  <a:gd name="T32" fmla="*/ 22 w 47"/>
                  <a:gd name="T33" fmla="*/ 12 h 254"/>
                  <a:gd name="T34" fmla="*/ 28 w 47"/>
                  <a:gd name="T35" fmla="*/ 6 h 254"/>
                  <a:gd name="T36" fmla="*/ 32 w 47"/>
                  <a:gd name="T37" fmla="*/ 2 h 254"/>
                  <a:gd name="T38" fmla="*/ 33 w 47"/>
                  <a:gd name="T39" fmla="*/ 0 h 254"/>
                  <a:gd name="T40" fmla="*/ 32 w 47"/>
                  <a:gd name="T41" fmla="*/ 2 h 254"/>
                  <a:gd name="T42" fmla="*/ 28 w 47"/>
                  <a:gd name="T43" fmla="*/ 6 h 254"/>
                  <a:gd name="T44" fmla="*/ 23 w 47"/>
                  <a:gd name="T45" fmla="*/ 13 h 254"/>
                  <a:gd name="T46" fmla="*/ 15 w 47"/>
                  <a:gd name="T47" fmla="*/ 22 h 254"/>
                  <a:gd name="T48" fmla="*/ 15 w 47"/>
                  <a:gd name="T49" fmla="*/ 21 h 254"/>
                  <a:gd name="T50" fmla="*/ 22 w 47"/>
                  <a:gd name="T51" fmla="*/ 25 h 254"/>
                  <a:gd name="T52" fmla="*/ 21 w 47"/>
                  <a:gd name="T53" fmla="*/ 26 h 254"/>
                  <a:gd name="T54" fmla="*/ 12 w 47"/>
                  <a:gd name="T55" fmla="*/ 25 h 254"/>
                  <a:gd name="T56" fmla="*/ 8 w 47"/>
                  <a:gd name="T57" fmla="*/ 29 h 254"/>
                  <a:gd name="T58" fmla="*/ 5 w 47"/>
                  <a:gd name="T59" fmla="*/ 33 h 254"/>
                  <a:gd name="T60" fmla="*/ 4 w 47"/>
                  <a:gd name="T61" fmla="*/ 45 h 254"/>
                  <a:gd name="T62" fmla="*/ 3 w 47"/>
                  <a:gd name="T63" fmla="*/ 59 h 254"/>
                  <a:gd name="T64" fmla="*/ 4 w 47"/>
                  <a:gd name="T65" fmla="*/ 119 h 254"/>
                  <a:gd name="T66" fmla="*/ 29 w 47"/>
                  <a:gd name="T67" fmla="*/ 216 h 254"/>
                  <a:gd name="T68" fmla="*/ 42 w 47"/>
                  <a:gd name="T69" fmla="*/ 244 h 254"/>
                  <a:gd name="T70" fmla="*/ 46 w 47"/>
                  <a:gd name="T71" fmla="*/ 251 h 254"/>
                  <a:gd name="T72" fmla="*/ 47 w 47"/>
                  <a:gd name="T73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7" h="254">
                    <a:moveTo>
                      <a:pt x="47" y="254"/>
                    </a:moveTo>
                    <a:cubicBezTo>
                      <a:pt x="47" y="254"/>
                      <a:pt x="47" y="253"/>
                      <a:pt x="46" y="252"/>
                    </a:cubicBezTo>
                    <a:cubicBezTo>
                      <a:pt x="45" y="250"/>
                      <a:pt x="43" y="248"/>
                      <a:pt x="42" y="244"/>
                    </a:cubicBezTo>
                    <a:cubicBezTo>
                      <a:pt x="38" y="238"/>
                      <a:pt x="33" y="229"/>
                      <a:pt x="28" y="217"/>
                    </a:cubicBezTo>
                    <a:cubicBezTo>
                      <a:pt x="22" y="205"/>
                      <a:pt x="16" y="191"/>
                      <a:pt x="12" y="174"/>
                    </a:cubicBezTo>
                    <a:cubicBezTo>
                      <a:pt x="7" y="158"/>
                      <a:pt x="3" y="139"/>
                      <a:pt x="2" y="119"/>
                    </a:cubicBezTo>
                    <a:cubicBezTo>
                      <a:pt x="0" y="98"/>
                      <a:pt x="1" y="77"/>
                      <a:pt x="1" y="59"/>
                    </a:cubicBezTo>
                    <a:cubicBezTo>
                      <a:pt x="2" y="54"/>
                      <a:pt x="2" y="50"/>
                      <a:pt x="2" y="45"/>
                    </a:cubicBezTo>
                    <a:cubicBezTo>
                      <a:pt x="2" y="41"/>
                      <a:pt x="2" y="37"/>
                      <a:pt x="4" y="33"/>
                    </a:cubicBezTo>
                    <a:cubicBezTo>
                      <a:pt x="4" y="31"/>
                      <a:pt x="5" y="29"/>
                      <a:pt x="7" y="27"/>
                    </a:cubicBezTo>
                    <a:cubicBezTo>
                      <a:pt x="8" y="26"/>
                      <a:pt x="10" y="25"/>
                      <a:pt x="11" y="24"/>
                    </a:cubicBezTo>
                    <a:cubicBezTo>
                      <a:pt x="15" y="22"/>
                      <a:pt x="19" y="22"/>
                      <a:pt x="22" y="25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19" y="24"/>
                      <a:pt x="16" y="23"/>
                      <a:pt x="14" y="22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7" y="17"/>
                      <a:pt x="20" y="14"/>
                      <a:pt x="22" y="12"/>
                    </a:cubicBezTo>
                    <a:cubicBezTo>
                      <a:pt x="24" y="10"/>
                      <a:pt x="26" y="8"/>
                      <a:pt x="28" y="6"/>
                    </a:cubicBezTo>
                    <a:cubicBezTo>
                      <a:pt x="30" y="4"/>
                      <a:pt x="31" y="3"/>
                      <a:pt x="32" y="2"/>
                    </a:cubicBezTo>
                    <a:cubicBezTo>
                      <a:pt x="32" y="1"/>
                      <a:pt x="33" y="0"/>
                      <a:pt x="33" y="0"/>
                    </a:cubicBezTo>
                    <a:cubicBezTo>
                      <a:pt x="33" y="0"/>
                      <a:pt x="32" y="1"/>
                      <a:pt x="32" y="2"/>
                    </a:cubicBezTo>
                    <a:cubicBezTo>
                      <a:pt x="31" y="3"/>
                      <a:pt x="30" y="5"/>
                      <a:pt x="28" y="6"/>
                    </a:cubicBezTo>
                    <a:cubicBezTo>
                      <a:pt x="27" y="8"/>
                      <a:pt x="25" y="10"/>
                      <a:pt x="23" y="13"/>
                    </a:cubicBezTo>
                    <a:cubicBezTo>
                      <a:pt x="20" y="15"/>
                      <a:pt x="17" y="18"/>
                      <a:pt x="15" y="22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7" y="22"/>
                      <a:pt x="19" y="23"/>
                      <a:pt x="22" y="25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19" y="24"/>
                      <a:pt x="15" y="24"/>
                      <a:pt x="12" y="25"/>
                    </a:cubicBezTo>
                    <a:cubicBezTo>
                      <a:pt x="10" y="26"/>
                      <a:pt x="9" y="27"/>
                      <a:pt x="8" y="29"/>
                    </a:cubicBezTo>
                    <a:cubicBezTo>
                      <a:pt x="7" y="30"/>
                      <a:pt x="6" y="32"/>
                      <a:pt x="5" y="33"/>
                    </a:cubicBezTo>
                    <a:cubicBezTo>
                      <a:pt x="4" y="37"/>
                      <a:pt x="4" y="41"/>
                      <a:pt x="4" y="45"/>
                    </a:cubicBezTo>
                    <a:cubicBezTo>
                      <a:pt x="4" y="50"/>
                      <a:pt x="3" y="54"/>
                      <a:pt x="3" y="59"/>
                    </a:cubicBezTo>
                    <a:cubicBezTo>
                      <a:pt x="3" y="77"/>
                      <a:pt x="2" y="98"/>
                      <a:pt x="4" y="119"/>
                    </a:cubicBezTo>
                    <a:cubicBezTo>
                      <a:pt x="6" y="159"/>
                      <a:pt x="19" y="193"/>
                      <a:pt x="29" y="216"/>
                    </a:cubicBezTo>
                    <a:cubicBezTo>
                      <a:pt x="34" y="228"/>
                      <a:pt x="39" y="238"/>
                      <a:pt x="42" y="244"/>
                    </a:cubicBezTo>
                    <a:cubicBezTo>
                      <a:pt x="44" y="247"/>
                      <a:pt x="45" y="250"/>
                      <a:pt x="46" y="251"/>
                    </a:cubicBezTo>
                    <a:cubicBezTo>
                      <a:pt x="47" y="253"/>
                      <a:pt x="47" y="254"/>
                      <a:pt x="47" y="25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Freeform 121">
                <a:extLst>
                  <a:ext uri="{FF2B5EF4-FFF2-40B4-BE49-F238E27FC236}">
                    <a16:creationId xmlns:a16="http://schemas.microsoft.com/office/drawing/2014/main" id="{0D59EEE9-515C-446A-ACB2-2BC87F774E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1" y="811"/>
                <a:ext cx="186" cy="613"/>
              </a:xfrm>
              <a:custGeom>
                <a:avLst/>
                <a:gdLst>
                  <a:gd name="T0" fmla="*/ 0 w 78"/>
                  <a:gd name="T1" fmla="*/ 258 h 258"/>
                  <a:gd name="T2" fmla="*/ 1 w 78"/>
                  <a:gd name="T3" fmla="*/ 255 h 258"/>
                  <a:gd name="T4" fmla="*/ 4 w 78"/>
                  <a:gd name="T5" fmla="*/ 248 h 258"/>
                  <a:gd name="T6" fmla="*/ 16 w 78"/>
                  <a:gd name="T7" fmla="*/ 219 h 258"/>
                  <a:gd name="T8" fmla="*/ 50 w 78"/>
                  <a:gd name="T9" fmla="*/ 121 h 258"/>
                  <a:gd name="T10" fmla="*/ 69 w 78"/>
                  <a:gd name="T11" fmla="*/ 58 h 258"/>
                  <a:gd name="T12" fmla="*/ 74 w 78"/>
                  <a:gd name="T13" fmla="*/ 44 h 258"/>
                  <a:gd name="T14" fmla="*/ 76 w 78"/>
                  <a:gd name="T15" fmla="*/ 31 h 258"/>
                  <a:gd name="T16" fmla="*/ 63 w 78"/>
                  <a:gd name="T17" fmla="*/ 17 h 258"/>
                  <a:gd name="T18" fmla="*/ 63 w 78"/>
                  <a:gd name="T19" fmla="*/ 16 h 258"/>
                  <a:gd name="T20" fmla="*/ 73 w 78"/>
                  <a:gd name="T21" fmla="*/ 15 h 258"/>
                  <a:gd name="T22" fmla="*/ 73 w 78"/>
                  <a:gd name="T23" fmla="*/ 15 h 258"/>
                  <a:gd name="T24" fmla="*/ 69 w 78"/>
                  <a:gd name="T25" fmla="*/ 3 h 258"/>
                  <a:gd name="T26" fmla="*/ 65 w 78"/>
                  <a:gd name="T27" fmla="*/ 0 h 258"/>
                  <a:gd name="T28" fmla="*/ 69 w 78"/>
                  <a:gd name="T29" fmla="*/ 3 h 258"/>
                  <a:gd name="T30" fmla="*/ 74 w 78"/>
                  <a:gd name="T31" fmla="*/ 16 h 258"/>
                  <a:gd name="T32" fmla="*/ 74 w 78"/>
                  <a:gd name="T33" fmla="*/ 16 h 258"/>
                  <a:gd name="T34" fmla="*/ 73 w 78"/>
                  <a:gd name="T35" fmla="*/ 16 h 258"/>
                  <a:gd name="T36" fmla="*/ 63 w 78"/>
                  <a:gd name="T37" fmla="*/ 17 h 258"/>
                  <a:gd name="T38" fmla="*/ 63 w 78"/>
                  <a:gd name="T39" fmla="*/ 16 h 258"/>
                  <a:gd name="T40" fmla="*/ 78 w 78"/>
                  <a:gd name="T41" fmla="*/ 31 h 258"/>
                  <a:gd name="T42" fmla="*/ 75 w 78"/>
                  <a:gd name="T43" fmla="*/ 44 h 258"/>
                  <a:gd name="T44" fmla="*/ 71 w 78"/>
                  <a:gd name="T45" fmla="*/ 58 h 258"/>
                  <a:gd name="T46" fmla="*/ 52 w 78"/>
                  <a:gd name="T47" fmla="*/ 122 h 258"/>
                  <a:gd name="T48" fmla="*/ 17 w 78"/>
                  <a:gd name="T49" fmla="*/ 219 h 258"/>
                  <a:gd name="T50" fmla="*/ 5 w 78"/>
                  <a:gd name="T51" fmla="*/ 248 h 258"/>
                  <a:gd name="T52" fmla="*/ 1 w 78"/>
                  <a:gd name="T53" fmla="*/ 256 h 258"/>
                  <a:gd name="T54" fmla="*/ 0 w 78"/>
                  <a:gd name="T55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8" h="258">
                    <a:moveTo>
                      <a:pt x="0" y="258"/>
                    </a:moveTo>
                    <a:cubicBezTo>
                      <a:pt x="0" y="258"/>
                      <a:pt x="0" y="257"/>
                      <a:pt x="1" y="255"/>
                    </a:cubicBezTo>
                    <a:cubicBezTo>
                      <a:pt x="2" y="253"/>
                      <a:pt x="3" y="251"/>
                      <a:pt x="4" y="248"/>
                    </a:cubicBezTo>
                    <a:cubicBezTo>
                      <a:pt x="7" y="241"/>
                      <a:pt x="11" y="231"/>
                      <a:pt x="16" y="219"/>
                    </a:cubicBezTo>
                    <a:cubicBezTo>
                      <a:pt x="26" y="194"/>
                      <a:pt x="38" y="160"/>
                      <a:pt x="50" y="121"/>
                    </a:cubicBezTo>
                    <a:cubicBezTo>
                      <a:pt x="57" y="99"/>
                      <a:pt x="64" y="77"/>
                      <a:pt x="69" y="58"/>
                    </a:cubicBezTo>
                    <a:cubicBezTo>
                      <a:pt x="71" y="53"/>
                      <a:pt x="72" y="48"/>
                      <a:pt x="74" y="44"/>
                    </a:cubicBezTo>
                    <a:cubicBezTo>
                      <a:pt x="75" y="39"/>
                      <a:pt x="76" y="35"/>
                      <a:pt x="76" y="31"/>
                    </a:cubicBezTo>
                    <a:cubicBezTo>
                      <a:pt x="76" y="23"/>
                      <a:pt x="70" y="16"/>
                      <a:pt x="63" y="17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67" y="16"/>
                      <a:pt x="70" y="15"/>
                      <a:pt x="73" y="15"/>
                    </a:cubicBezTo>
                    <a:cubicBezTo>
                      <a:pt x="73" y="15"/>
                      <a:pt x="73" y="15"/>
                      <a:pt x="73" y="15"/>
                    </a:cubicBezTo>
                    <a:cubicBezTo>
                      <a:pt x="74" y="10"/>
                      <a:pt x="71" y="5"/>
                      <a:pt x="69" y="3"/>
                    </a:cubicBezTo>
                    <a:cubicBezTo>
                      <a:pt x="67" y="1"/>
                      <a:pt x="65" y="0"/>
                      <a:pt x="65" y="0"/>
                    </a:cubicBezTo>
                    <a:cubicBezTo>
                      <a:pt x="65" y="0"/>
                      <a:pt x="67" y="0"/>
                      <a:pt x="69" y="3"/>
                    </a:cubicBezTo>
                    <a:cubicBezTo>
                      <a:pt x="71" y="5"/>
                      <a:pt x="75" y="9"/>
                      <a:pt x="74" y="16"/>
                    </a:cubicBezTo>
                    <a:cubicBezTo>
                      <a:pt x="74" y="16"/>
                      <a:pt x="74" y="16"/>
                      <a:pt x="74" y="16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0" y="16"/>
                      <a:pt x="67" y="17"/>
                      <a:pt x="63" y="17"/>
                    </a:cubicBezTo>
                    <a:cubicBezTo>
                      <a:pt x="63" y="16"/>
                      <a:pt x="63" y="16"/>
                      <a:pt x="63" y="16"/>
                    </a:cubicBezTo>
                    <a:cubicBezTo>
                      <a:pt x="70" y="14"/>
                      <a:pt x="78" y="22"/>
                      <a:pt x="78" y="31"/>
                    </a:cubicBezTo>
                    <a:cubicBezTo>
                      <a:pt x="78" y="35"/>
                      <a:pt x="76" y="40"/>
                      <a:pt x="75" y="44"/>
                    </a:cubicBezTo>
                    <a:cubicBezTo>
                      <a:pt x="74" y="49"/>
                      <a:pt x="73" y="53"/>
                      <a:pt x="71" y="58"/>
                    </a:cubicBezTo>
                    <a:cubicBezTo>
                      <a:pt x="66" y="77"/>
                      <a:pt x="59" y="99"/>
                      <a:pt x="52" y="122"/>
                    </a:cubicBezTo>
                    <a:cubicBezTo>
                      <a:pt x="40" y="161"/>
                      <a:pt x="27" y="195"/>
                      <a:pt x="17" y="219"/>
                    </a:cubicBezTo>
                    <a:cubicBezTo>
                      <a:pt x="12" y="231"/>
                      <a:pt x="8" y="241"/>
                      <a:pt x="5" y="248"/>
                    </a:cubicBezTo>
                    <a:cubicBezTo>
                      <a:pt x="3" y="251"/>
                      <a:pt x="2" y="254"/>
                      <a:pt x="1" y="256"/>
                    </a:cubicBezTo>
                    <a:cubicBezTo>
                      <a:pt x="0" y="257"/>
                      <a:pt x="0" y="258"/>
                      <a:pt x="0" y="258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Freeform 122">
                <a:extLst>
                  <a:ext uri="{FF2B5EF4-FFF2-40B4-BE49-F238E27FC236}">
                    <a16:creationId xmlns:a16="http://schemas.microsoft.com/office/drawing/2014/main" id="{B0C0896B-905F-4E8B-BA1C-230B7E094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9" y="1464"/>
                <a:ext cx="47" cy="7"/>
              </a:xfrm>
              <a:custGeom>
                <a:avLst/>
                <a:gdLst>
                  <a:gd name="T0" fmla="*/ 20 w 20"/>
                  <a:gd name="T1" fmla="*/ 1 h 3"/>
                  <a:gd name="T2" fmla="*/ 10 w 20"/>
                  <a:gd name="T3" fmla="*/ 3 h 3"/>
                  <a:gd name="T4" fmla="*/ 0 w 20"/>
                  <a:gd name="T5" fmla="*/ 3 h 3"/>
                  <a:gd name="T6" fmla="*/ 10 w 20"/>
                  <a:gd name="T7" fmla="*/ 1 h 3"/>
                  <a:gd name="T8" fmla="*/ 20 w 20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">
                    <a:moveTo>
                      <a:pt x="20" y="1"/>
                    </a:moveTo>
                    <a:cubicBezTo>
                      <a:pt x="20" y="1"/>
                      <a:pt x="15" y="2"/>
                      <a:pt x="10" y="3"/>
                    </a:cubicBezTo>
                    <a:cubicBezTo>
                      <a:pt x="4" y="3"/>
                      <a:pt x="0" y="3"/>
                      <a:pt x="0" y="3"/>
                    </a:cubicBezTo>
                    <a:cubicBezTo>
                      <a:pt x="0" y="2"/>
                      <a:pt x="4" y="1"/>
                      <a:pt x="10" y="1"/>
                    </a:cubicBezTo>
                    <a:cubicBezTo>
                      <a:pt x="15" y="0"/>
                      <a:pt x="20" y="0"/>
                      <a:pt x="2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123">
                <a:extLst>
                  <a:ext uri="{FF2B5EF4-FFF2-40B4-BE49-F238E27FC236}">
                    <a16:creationId xmlns:a16="http://schemas.microsoft.com/office/drawing/2014/main" id="{952D183A-0A68-48C4-81C2-55FCB90D7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3" y="1452"/>
                <a:ext cx="31" cy="31"/>
              </a:xfrm>
              <a:custGeom>
                <a:avLst/>
                <a:gdLst>
                  <a:gd name="T0" fmla="*/ 7 w 13"/>
                  <a:gd name="T1" fmla="*/ 1 h 13"/>
                  <a:gd name="T2" fmla="*/ 3 w 13"/>
                  <a:gd name="T3" fmla="*/ 4 h 13"/>
                  <a:gd name="T4" fmla="*/ 2 w 13"/>
                  <a:gd name="T5" fmla="*/ 8 h 13"/>
                  <a:gd name="T6" fmla="*/ 6 w 13"/>
                  <a:gd name="T7" fmla="*/ 11 h 13"/>
                  <a:gd name="T8" fmla="*/ 11 w 13"/>
                  <a:gd name="T9" fmla="*/ 9 h 13"/>
                  <a:gd name="T10" fmla="*/ 11 w 13"/>
                  <a:gd name="T11" fmla="*/ 5 h 13"/>
                  <a:gd name="T12" fmla="*/ 8 w 13"/>
                  <a:gd name="T13" fmla="*/ 1 h 13"/>
                  <a:gd name="T14" fmla="*/ 12 w 13"/>
                  <a:gd name="T15" fmla="*/ 4 h 13"/>
                  <a:gd name="T16" fmla="*/ 12 w 13"/>
                  <a:gd name="T17" fmla="*/ 10 h 13"/>
                  <a:gd name="T18" fmla="*/ 6 w 13"/>
                  <a:gd name="T19" fmla="*/ 13 h 13"/>
                  <a:gd name="T20" fmla="*/ 0 w 13"/>
                  <a:gd name="T21" fmla="*/ 8 h 13"/>
                  <a:gd name="T22" fmla="*/ 2 w 13"/>
                  <a:gd name="T23" fmla="*/ 3 h 13"/>
                  <a:gd name="T24" fmla="*/ 7 w 13"/>
                  <a:gd name="T2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3">
                    <a:moveTo>
                      <a:pt x="7" y="1"/>
                    </a:moveTo>
                    <a:cubicBezTo>
                      <a:pt x="7" y="2"/>
                      <a:pt x="5" y="2"/>
                      <a:pt x="3" y="4"/>
                    </a:cubicBezTo>
                    <a:cubicBezTo>
                      <a:pt x="2" y="5"/>
                      <a:pt x="2" y="6"/>
                      <a:pt x="2" y="8"/>
                    </a:cubicBezTo>
                    <a:cubicBezTo>
                      <a:pt x="3" y="9"/>
                      <a:pt x="4" y="11"/>
                      <a:pt x="6" y="11"/>
                    </a:cubicBezTo>
                    <a:cubicBezTo>
                      <a:pt x="8" y="11"/>
                      <a:pt x="10" y="10"/>
                      <a:pt x="11" y="9"/>
                    </a:cubicBezTo>
                    <a:cubicBezTo>
                      <a:pt x="11" y="8"/>
                      <a:pt x="11" y="6"/>
                      <a:pt x="11" y="5"/>
                    </a:cubicBezTo>
                    <a:cubicBezTo>
                      <a:pt x="10" y="2"/>
                      <a:pt x="8" y="2"/>
                      <a:pt x="8" y="1"/>
                    </a:cubicBezTo>
                    <a:cubicBezTo>
                      <a:pt x="8" y="1"/>
                      <a:pt x="10" y="1"/>
                      <a:pt x="12" y="4"/>
                    </a:cubicBezTo>
                    <a:cubicBezTo>
                      <a:pt x="13" y="6"/>
                      <a:pt x="13" y="8"/>
                      <a:pt x="12" y="10"/>
                    </a:cubicBezTo>
                    <a:cubicBezTo>
                      <a:pt x="11" y="12"/>
                      <a:pt x="8" y="13"/>
                      <a:pt x="6" y="13"/>
                    </a:cubicBezTo>
                    <a:cubicBezTo>
                      <a:pt x="3" y="13"/>
                      <a:pt x="1" y="11"/>
                      <a:pt x="0" y="8"/>
                    </a:cubicBezTo>
                    <a:cubicBezTo>
                      <a:pt x="0" y="6"/>
                      <a:pt x="1" y="4"/>
                      <a:pt x="2" y="3"/>
                    </a:cubicBezTo>
                    <a:cubicBezTo>
                      <a:pt x="4" y="0"/>
                      <a:pt x="7" y="1"/>
                      <a:pt x="7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124">
                <a:extLst>
                  <a:ext uri="{FF2B5EF4-FFF2-40B4-BE49-F238E27FC236}">
                    <a16:creationId xmlns:a16="http://schemas.microsoft.com/office/drawing/2014/main" id="{1B46F280-B335-4FE5-B62E-797EF76BB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1141"/>
                <a:ext cx="133" cy="38"/>
              </a:xfrm>
              <a:custGeom>
                <a:avLst/>
                <a:gdLst>
                  <a:gd name="T0" fmla="*/ 56 w 56"/>
                  <a:gd name="T1" fmla="*/ 1 h 16"/>
                  <a:gd name="T2" fmla="*/ 28 w 56"/>
                  <a:gd name="T3" fmla="*/ 9 h 16"/>
                  <a:gd name="T4" fmla="*/ 0 w 56"/>
                  <a:gd name="T5" fmla="*/ 15 h 16"/>
                  <a:gd name="T6" fmla="*/ 28 w 56"/>
                  <a:gd name="T7" fmla="*/ 7 h 16"/>
                  <a:gd name="T8" fmla="*/ 56 w 56"/>
                  <a:gd name="T9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16">
                    <a:moveTo>
                      <a:pt x="56" y="1"/>
                    </a:moveTo>
                    <a:cubicBezTo>
                      <a:pt x="56" y="2"/>
                      <a:pt x="44" y="5"/>
                      <a:pt x="28" y="9"/>
                    </a:cubicBezTo>
                    <a:cubicBezTo>
                      <a:pt x="13" y="13"/>
                      <a:pt x="0" y="16"/>
                      <a:pt x="0" y="15"/>
                    </a:cubicBezTo>
                    <a:cubicBezTo>
                      <a:pt x="0" y="15"/>
                      <a:pt x="12" y="11"/>
                      <a:pt x="28" y="7"/>
                    </a:cubicBezTo>
                    <a:cubicBezTo>
                      <a:pt x="43" y="3"/>
                      <a:pt x="56" y="0"/>
                      <a:pt x="56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125">
                <a:extLst>
                  <a:ext uri="{FF2B5EF4-FFF2-40B4-BE49-F238E27FC236}">
                    <a16:creationId xmlns:a16="http://schemas.microsoft.com/office/drawing/2014/main" id="{0E0065CD-9C36-4DFE-9B83-C94545304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882"/>
                <a:ext cx="48" cy="252"/>
              </a:xfrm>
              <a:custGeom>
                <a:avLst/>
                <a:gdLst>
                  <a:gd name="T0" fmla="*/ 5 w 20"/>
                  <a:gd name="T1" fmla="*/ 106 h 106"/>
                  <a:gd name="T2" fmla="*/ 3 w 20"/>
                  <a:gd name="T3" fmla="*/ 102 h 106"/>
                  <a:gd name="T4" fmla="*/ 1 w 20"/>
                  <a:gd name="T5" fmla="*/ 90 h 106"/>
                  <a:gd name="T6" fmla="*/ 1 w 20"/>
                  <a:gd name="T7" fmla="*/ 51 h 106"/>
                  <a:gd name="T8" fmla="*/ 4 w 20"/>
                  <a:gd name="T9" fmla="*/ 29 h 106"/>
                  <a:gd name="T10" fmla="*/ 10 w 20"/>
                  <a:gd name="T11" fmla="*/ 13 h 106"/>
                  <a:gd name="T12" fmla="*/ 17 w 20"/>
                  <a:gd name="T13" fmla="*/ 3 h 106"/>
                  <a:gd name="T14" fmla="*/ 20 w 20"/>
                  <a:gd name="T15" fmla="*/ 0 h 106"/>
                  <a:gd name="T16" fmla="*/ 11 w 20"/>
                  <a:gd name="T17" fmla="*/ 13 h 106"/>
                  <a:gd name="T18" fmla="*/ 6 w 20"/>
                  <a:gd name="T19" fmla="*/ 30 h 106"/>
                  <a:gd name="T20" fmla="*/ 3 w 20"/>
                  <a:gd name="T21" fmla="*/ 51 h 106"/>
                  <a:gd name="T22" fmla="*/ 3 w 20"/>
                  <a:gd name="T23" fmla="*/ 90 h 106"/>
                  <a:gd name="T24" fmla="*/ 5 w 20"/>
                  <a:gd name="T25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06">
                    <a:moveTo>
                      <a:pt x="5" y="106"/>
                    </a:moveTo>
                    <a:cubicBezTo>
                      <a:pt x="5" y="106"/>
                      <a:pt x="4" y="105"/>
                      <a:pt x="3" y="102"/>
                    </a:cubicBezTo>
                    <a:cubicBezTo>
                      <a:pt x="3" y="99"/>
                      <a:pt x="2" y="95"/>
                      <a:pt x="1" y="90"/>
                    </a:cubicBezTo>
                    <a:cubicBezTo>
                      <a:pt x="0" y="80"/>
                      <a:pt x="0" y="66"/>
                      <a:pt x="1" y="51"/>
                    </a:cubicBezTo>
                    <a:cubicBezTo>
                      <a:pt x="1" y="43"/>
                      <a:pt x="2" y="36"/>
                      <a:pt x="4" y="29"/>
                    </a:cubicBezTo>
                    <a:cubicBezTo>
                      <a:pt x="5" y="23"/>
                      <a:pt x="8" y="17"/>
                      <a:pt x="10" y="13"/>
                    </a:cubicBezTo>
                    <a:cubicBezTo>
                      <a:pt x="12" y="8"/>
                      <a:pt x="15" y="5"/>
                      <a:pt x="17" y="3"/>
                    </a:cubicBezTo>
                    <a:cubicBezTo>
                      <a:pt x="19" y="1"/>
                      <a:pt x="20" y="0"/>
                      <a:pt x="20" y="0"/>
                    </a:cubicBezTo>
                    <a:cubicBezTo>
                      <a:pt x="20" y="0"/>
                      <a:pt x="16" y="4"/>
                      <a:pt x="11" y="13"/>
                    </a:cubicBezTo>
                    <a:cubicBezTo>
                      <a:pt x="9" y="18"/>
                      <a:pt x="7" y="23"/>
                      <a:pt x="6" y="30"/>
                    </a:cubicBezTo>
                    <a:cubicBezTo>
                      <a:pt x="4" y="36"/>
                      <a:pt x="4" y="43"/>
                      <a:pt x="3" y="51"/>
                    </a:cubicBezTo>
                    <a:cubicBezTo>
                      <a:pt x="2" y="66"/>
                      <a:pt x="2" y="80"/>
                      <a:pt x="3" y="90"/>
                    </a:cubicBezTo>
                    <a:cubicBezTo>
                      <a:pt x="3" y="100"/>
                      <a:pt x="5" y="106"/>
                      <a:pt x="5" y="10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126">
                <a:extLst>
                  <a:ext uri="{FF2B5EF4-FFF2-40B4-BE49-F238E27FC236}">
                    <a16:creationId xmlns:a16="http://schemas.microsoft.com/office/drawing/2014/main" id="{5A34F87B-C146-4D84-B284-933504AA2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" y="1027"/>
                <a:ext cx="73" cy="57"/>
              </a:xfrm>
              <a:custGeom>
                <a:avLst/>
                <a:gdLst>
                  <a:gd name="T0" fmla="*/ 31 w 31"/>
                  <a:gd name="T1" fmla="*/ 1 h 24"/>
                  <a:gd name="T2" fmla="*/ 13 w 31"/>
                  <a:gd name="T3" fmla="*/ 9 h 24"/>
                  <a:gd name="T4" fmla="*/ 1 w 31"/>
                  <a:gd name="T5" fmla="*/ 23 h 24"/>
                  <a:gd name="T6" fmla="*/ 3 w 31"/>
                  <a:gd name="T7" fmla="*/ 18 h 24"/>
                  <a:gd name="T8" fmla="*/ 12 w 31"/>
                  <a:gd name="T9" fmla="*/ 7 h 24"/>
                  <a:gd name="T10" fmla="*/ 25 w 31"/>
                  <a:gd name="T11" fmla="*/ 1 h 24"/>
                  <a:gd name="T12" fmla="*/ 31 w 31"/>
                  <a:gd name="T13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24">
                    <a:moveTo>
                      <a:pt x="31" y="1"/>
                    </a:moveTo>
                    <a:cubicBezTo>
                      <a:pt x="31" y="1"/>
                      <a:pt x="22" y="2"/>
                      <a:pt x="13" y="9"/>
                    </a:cubicBezTo>
                    <a:cubicBezTo>
                      <a:pt x="4" y="15"/>
                      <a:pt x="1" y="24"/>
                      <a:pt x="1" y="23"/>
                    </a:cubicBezTo>
                    <a:cubicBezTo>
                      <a:pt x="0" y="23"/>
                      <a:pt x="1" y="21"/>
                      <a:pt x="3" y="18"/>
                    </a:cubicBezTo>
                    <a:cubicBezTo>
                      <a:pt x="4" y="14"/>
                      <a:pt x="7" y="10"/>
                      <a:pt x="12" y="7"/>
                    </a:cubicBezTo>
                    <a:cubicBezTo>
                      <a:pt x="17" y="4"/>
                      <a:pt x="21" y="2"/>
                      <a:pt x="25" y="1"/>
                    </a:cubicBezTo>
                    <a:cubicBezTo>
                      <a:pt x="29" y="0"/>
                      <a:pt x="31" y="0"/>
                      <a:pt x="3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127">
                <a:extLst>
                  <a:ext uri="{FF2B5EF4-FFF2-40B4-BE49-F238E27FC236}">
                    <a16:creationId xmlns:a16="http://schemas.microsoft.com/office/drawing/2014/main" id="{2A0907AC-BC88-419C-99A9-AD11E982B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5" y="1056"/>
                <a:ext cx="83" cy="166"/>
              </a:xfrm>
              <a:custGeom>
                <a:avLst/>
                <a:gdLst>
                  <a:gd name="T0" fmla="*/ 0 w 35"/>
                  <a:gd name="T1" fmla="*/ 70 h 70"/>
                  <a:gd name="T2" fmla="*/ 4 w 35"/>
                  <a:gd name="T3" fmla="*/ 59 h 70"/>
                  <a:gd name="T4" fmla="*/ 15 w 35"/>
                  <a:gd name="T5" fmla="*/ 34 h 70"/>
                  <a:gd name="T6" fmla="*/ 28 w 35"/>
                  <a:gd name="T7" fmla="*/ 9 h 70"/>
                  <a:gd name="T8" fmla="*/ 35 w 35"/>
                  <a:gd name="T9" fmla="*/ 0 h 70"/>
                  <a:gd name="T10" fmla="*/ 30 w 35"/>
                  <a:gd name="T11" fmla="*/ 10 h 70"/>
                  <a:gd name="T12" fmla="*/ 17 w 35"/>
                  <a:gd name="T13" fmla="*/ 35 h 70"/>
                  <a:gd name="T14" fmla="*/ 5 w 35"/>
                  <a:gd name="T15" fmla="*/ 60 h 70"/>
                  <a:gd name="T16" fmla="*/ 0 w 35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70">
                    <a:moveTo>
                      <a:pt x="0" y="70"/>
                    </a:moveTo>
                    <a:cubicBezTo>
                      <a:pt x="0" y="70"/>
                      <a:pt x="1" y="66"/>
                      <a:pt x="4" y="59"/>
                    </a:cubicBezTo>
                    <a:cubicBezTo>
                      <a:pt x="7" y="52"/>
                      <a:pt x="10" y="43"/>
                      <a:pt x="15" y="34"/>
                    </a:cubicBezTo>
                    <a:cubicBezTo>
                      <a:pt x="20" y="24"/>
                      <a:pt x="25" y="16"/>
                      <a:pt x="28" y="9"/>
                    </a:cubicBezTo>
                    <a:cubicBezTo>
                      <a:pt x="32" y="3"/>
                      <a:pt x="35" y="0"/>
                      <a:pt x="35" y="0"/>
                    </a:cubicBezTo>
                    <a:cubicBezTo>
                      <a:pt x="35" y="0"/>
                      <a:pt x="33" y="4"/>
                      <a:pt x="30" y="10"/>
                    </a:cubicBezTo>
                    <a:cubicBezTo>
                      <a:pt x="26" y="16"/>
                      <a:pt x="22" y="25"/>
                      <a:pt x="17" y="35"/>
                    </a:cubicBezTo>
                    <a:cubicBezTo>
                      <a:pt x="12" y="44"/>
                      <a:pt x="8" y="53"/>
                      <a:pt x="5" y="60"/>
                    </a:cubicBezTo>
                    <a:cubicBezTo>
                      <a:pt x="2" y="66"/>
                      <a:pt x="1" y="70"/>
                      <a:pt x="0" y="7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128">
                <a:extLst>
                  <a:ext uri="{FF2B5EF4-FFF2-40B4-BE49-F238E27FC236}">
                    <a16:creationId xmlns:a16="http://schemas.microsoft.com/office/drawing/2014/main" id="{065B4BAD-5A04-4536-9D9B-CA25BDE86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5" y="1089"/>
                <a:ext cx="92" cy="116"/>
              </a:xfrm>
              <a:custGeom>
                <a:avLst/>
                <a:gdLst>
                  <a:gd name="T0" fmla="*/ 0 w 39"/>
                  <a:gd name="T1" fmla="*/ 49 h 49"/>
                  <a:gd name="T2" fmla="*/ 2 w 39"/>
                  <a:gd name="T3" fmla="*/ 39 h 49"/>
                  <a:gd name="T4" fmla="*/ 12 w 39"/>
                  <a:gd name="T5" fmla="*/ 18 h 49"/>
                  <a:gd name="T6" fmla="*/ 30 w 39"/>
                  <a:gd name="T7" fmla="*/ 3 h 49"/>
                  <a:gd name="T8" fmla="*/ 39 w 39"/>
                  <a:gd name="T9" fmla="*/ 0 h 49"/>
                  <a:gd name="T10" fmla="*/ 31 w 39"/>
                  <a:gd name="T11" fmla="*/ 5 h 49"/>
                  <a:gd name="T12" fmla="*/ 14 w 39"/>
                  <a:gd name="T13" fmla="*/ 20 h 49"/>
                  <a:gd name="T14" fmla="*/ 4 w 39"/>
                  <a:gd name="T15" fmla="*/ 40 h 49"/>
                  <a:gd name="T16" fmla="*/ 0 w 39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49">
                    <a:moveTo>
                      <a:pt x="0" y="49"/>
                    </a:moveTo>
                    <a:cubicBezTo>
                      <a:pt x="0" y="49"/>
                      <a:pt x="0" y="45"/>
                      <a:pt x="2" y="39"/>
                    </a:cubicBezTo>
                    <a:cubicBezTo>
                      <a:pt x="4" y="34"/>
                      <a:pt x="7" y="26"/>
                      <a:pt x="12" y="18"/>
                    </a:cubicBezTo>
                    <a:cubicBezTo>
                      <a:pt x="18" y="11"/>
                      <a:pt x="25" y="6"/>
                      <a:pt x="30" y="3"/>
                    </a:cubicBezTo>
                    <a:cubicBezTo>
                      <a:pt x="35" y="1"/>
                      <a:pt x="39" y="0"/>
                      <a:pt x="39" y="0"/>
                    </a:cubicBezTo>
                    <a:cubicBezTo>
                      <a:pt x="39" y="0"/>
                      <a:pt x="36" y="2"/>
                      <a:pt x="31" y="5"/>
                    </a:cubicBezTo>
                    <a:cubicBezTo>
                      <a:pt x="26" y="8"/>
                      <a:pt x="19" y="12"/>
                      <a:pt x="14" y="20"/>
                    </a:cubicBezTo>
                    <a:cubicBezTo>
                      <a:pt x="9" y="27"/>
                      <a:pt x="6" y="34"/>
                      <a:pt x="4" y="40"/>
                    </a:cubicBezTo>
                    <a:cubicBezTo>
                      <a:pt x="2" y="45"/>
                      <a:pt x="0" y="49"/>
                      <a:pt x="0" y="49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129">
                <a:extLst>
                  <a:ext uri="{FF2B5EF4-FFF2-40B4-BE49-F238E27FC236}">
                    <a16:creationId xmlns:a16="http://schemas.microsoft.com/office/drawing/2014/main" id="{78752518-81F3-4D17-AD77-13FAD939FA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1" y="1113"/>
                <a:ext cx="64" cy="128"/>
              </a:xfrm>
              <a:custGeom>
                <a:avLst/>
                <a:gdLst>
                  <a:gd name="T0" fmla="*/ 27 w 27"/>
                  <a:gd name="T1" fmla="*/ 52 h 54"/>
                  <a:gd name="T2" fmla="*/ 25 w 27"/>
                  <a:gd name="T3" fmla="*/ 53 h 54"/>
                  <a:gd name="T4" fmla="*/ 18 w 27"/>
                  <a:gd name="T5" fmla="*/ 52 h 54"/>
                  <a:gd name="T6" fmla="*/ 10 w 27"/>
                  <a:gd name="T7" fmla="*/ 45 h 54"/>
                  <a:gd name="T8" fmla="*/ 4 w 27"/>
                  <a:gd name="T9" fmla="*/ 33 h 54"/>
                  <a:gd name="T10" fmla="*/ 0 w 27"/>
                  <a:gd name="T11" fmla="*/ 9 h 54"/>
                  <a:gd name="T12" fmla="*/ 2 w 27"/>
                  <a:gd name="T13" fmla="*/ 0 h 54"/>
                  <a:gd name="T14" fmla="*/ 2 w 27"/>
                  <a:gd name="T15" fmla="*/ 10 h 54"/>
                  <a:gd name="T16" fmla="*/ 6 w 27"/>
                  <a:gd name="T17" fmla="*/ 32 h 54"/>
                  <a:gd name="T18" fmla="*/ 18 w 27"/>
                  <a:gd name="T19" fmla="*/ 51 h 54"/>
                  <a:gd name="T20" fmla="*/ 27 w 27"/>
                  <a:gd name="T21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4">
                    <a:moveTo>
                      <a:pt x="27" y="52"/>
                    </a:moveTo>
                    <a:cubicBezTo>
                      <a:pt x="27" y="52"/>
                      <a:pt x="27" y="53"/>
                      <a:pt x="25" y="53"/>
                    </a:cubicBezTo>
                    <a:cubicBezTo>
                      <a:pt x="23" y="53"/>
                      <a:pt x="21" y="53"/>
                      <a:pt x="18" y="52"/>
                    </a:cubicBezTo>
                    <a:cubicBezTo>
                      <a:pt x="15" y="51"/>
                      <a:pt x="12" y="48"/>
                      <a:pt x="10" y="45"/>
                    </a:cubicBezTo>
                    <a:cubicBezTo>
                      <a:pt x="8" y="41"/>
                      <a:pt x="6" y="37"/>
                      <a:pt x="4" y="33"/>
                    </a:cubicBezTo>
                    <a:cubicBezTo>
                      <a:pt x="1" y="24"/>
                      <a:pt x="0" y="16"/>
                      <a:pt x="0" y="9"/>
                    </a:cubicBezTo>
                    <a:cubicBezTo>
                      <a:pt x="0" y="3"/>
                      <a:pt x="2" y="0"/>
                      <a:pt x="2" y="0"/>
                    </a:cubicBezTo>
                    <a:cubicBezTo>
                      <a:pt x="2" y="0"/>
                      <a:pt x="1" y="4"/>
                      <a:pt x="2" y="10"/>
                    </a:cubicBezTo>
                    <a:cubicBezTo>
                      <a:pt x="2" y="15"/>
                      <a:pt x="3" y="24"/>
                      <a:pt x="6" y="32"/>
                    </a:cubicBezTo>
                    <a:cubicBezTo>
                      <a:pt x="9" y="40"/>
                      <a:pt x="13" y="48"/>
                      <a:pt x="18" y="51"/>
                    </a:cubicBezTo>
                    <a:cubicBezTo>
                      <a:pt x="24" y="54"/>
                      <a:pt x="27" y="52"/>
                      <a:pt x="27" y="5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130">
                <a:extLst>
                  <a:ext uri="{FF2B5EF4-FFF2-40B4-BE49-F238E27FC236}">
                    <a16:creationId xmlns:a16="http://schemas.microsoft.com/office/drawing/2014/main" id="{9C5EA889-0CFF-4A25-AD26-90048A618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842"/>
                <a:ext cx="121" cy="781"/>
              </a:xfrm>
              <a:custGeom>
                <a:avLst/>
                <a:gdLst>
                  <a:gd name="T0" fmla="*/ 51 w 51"/>
                  <a:gd name="T1" fmla="*/ 17 h 329"/>
                  <a:gd name="T2" fmla="*/ 42 w 51"/>
                  <a:gd name="T3" fmla="*/ 1 h 329"/>
                  <a:gd name="T4" fmla="*/ 21 w 51"/>
                  <a:gd name="T5" fmla="*/ 17 h 329"/>
                  <a:gd name="T6" fmla="*/ 28 w 51"/>
                  <a:gd name="T7" fmla="*/ 28 h 329"/>
                  <a:gd name="T8" fmla="*/ 12 w 51"/>
                  <a:gd name="T9" fmla="*/ 71 h 329"/>
                  <a:gd name="T10" fmla="*/ 0 w 51"/>
                  <a:gd name="T11" fmla="*/ 284 h 329"/>
                  <a:gd name="T12" fmla="*/ 23 w 51"/>
                  <a:gd name="T13" fmla="*/ 329 h 329"/>
                  <a:gd name="T14" fmla="*/ 47 w 51"/>
                  <a:gd name="T15" fmla="*/ 283 h 329"/>
                  <a:gd name="T16" fmla="*/ 51 w 51"/>
                  <a:gd name="T17" fmla="*/ 65 h 329"/>
                  <a:gd name="T18" fmla="*/ 42 w 51"/>
                  <a:gd name="T19" fmla="*/ 30 h 329"/>
                  <a:gd name="T20" fmla="*/ 51 w 51"/>
                  <a:gd name="T21" fmla="*/ 1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329">
                    <a:moveTo>
                      <a:pt x="51" y="17"/>
                    </a:moveTo>
                    <a:cubicBezTo>
                      <a:pt x="51" y="17"/>
                      <a:pt x="49" y="2"/>
                      <a:pt x="42" y="1"/>
                    </a:cubicBezTo>
                    <a:cubicBezTo>
                      <a:pt x="35" y="0"/>
                      <a:pt x="21" y="1"/>
                      <a:pt x="21" y="17"/>
                    </a:cubicBezTo>
                    <a:cubicBezTo>
                      <a:pt x="28" y="28"/>
                      <a:pt x="28" y="28"/>
                      <a:pt x="28" y="28"/>
                    </a:cubicBezTo>
                    <a:cubicBezTo>
                      <a:pt x="28" y="28"/>
                      <a:pt x="15" y="61"/>
                      <a:pt x="12" y="71"/>
                    </a:cubicBezTo>
                    <a:cubicBezTo>
                      <a:pt x="9" y="81"/>
                      <a:pt x="0" y="284"/>
                      <a:pt x="0" y="284"/>
                    </a:cubicBezTo>
                    <a:cubicBezTo>
                      <a:pt x="23" y="329"/>
                      <a:pt x="23" y="329"/>
                      <a:pt x="23" y="329"/>
                    </a:cubicBezTo>
                    <a:cubicBezTo>
                      <a:pt x="47" y="283"/>
                      <a:pt x="47" y="283"/>
                      <a:pt x="47" y="283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51" y="17"/>
                      <a:pt x="51" y="17"/>
                      <a:pt x="51" y="17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131">
                <a:extLst>
                  <a:ext uri="{FF2B5EF4-FFF2-40B4-BE49-F238E27FC236}">
                    <a16:creationId xmlns:a16="http://schemas.microsoft.com/office/drawing/2014/main" id="{0E1FB14D-C2A6-488E-99F5-3A3F2AD2B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1" y="833"/>
                <a:ext cx="131" cy="97"/>
              </a:xfrm>
              <a:custGeom>
                <a:avLst/>
                <a:gdLst>
                  <a:gd name="T0" fmla="*/ 55 w 55"/>
                  <a:gd name="T1" fmla="*/ 11 h 41"/>
                  <a:gd name="T2" fmla="*/ 53 w 55"/>
                  <a:gd name="T3" fmla="*/ 14 h 41"/>
                  <a:gd name="T4" fmla="*/ 46 w 55"/>
                  <a:gd name="T5" fmla="*/ 20 h 41"/>
                  <a:gd name="T6" fmla="*/ 20 w 55"/>
                  <a:gd name="T7" fmla="*/ 40 h 41"/>
                  <a:gd name="T8" fmla="*/ 19 w 55"/>
                  <a:gd name="T9" fmla="*/ 41 h 41"/>
                  <a:gd name="T10" fmla="*/ 19 w 55"/>
                  <a:gd name="T11" fmla="*/ 39 h 41"/>
                  <a:gd name="T12" fmla="*/ 19 w 55"/>
                  <a:gd name="T13" fmla="*/ 39 h 41"/>
                  <a:gd name="T14" fmla="*/ 17 w 55"/>
                  <a:gd name="T15" fmla="*/ 21 h 41"/>
                  <a:gd name="T16" fmla="*/ 11 w 55"/>
                  <a:gd name="T17" fmla="*/ 8 h 41"/>
                  <a:gd name="T18" fmla="*/ 0 w 55"/>
                  <a:gd name="T19" fmla="*/ 0 h 41"/>
                  <a:gd name="T20" fmla="*/ 4 w 55"/>
                  <a:gd name="T21" fmla="*/ 1 h 41"/>
                  <a:gd name="T22" fmla="*/ 12 w 55"/>
                  <a:gd name="T23" fmla="*/ 7 h 41"/>
                  <a:gd name="T24" fmla="*/ 19 w 55"/>
                  <a:gd name="T25" fmla="*/ 20 h 41"/>
                  <a:gd name="T26" fmla="*/ 21 w 55"/>
                  <a:gd name="T27" fmla="*/ 38 h 41"/>
                  <a:gd name="T28" fmla="*/ 21 w 55"/>
                  <a:gd name="T29" fmla="*/ 39 h 41"/>
                  <a:gd name="T30" fmla="*/ 19 w 55"/>
                  <a:gd name="T31" fmla="*/ 39 h 41"/>
                  <a:gd name="T32" fmla="*/ 45 w 55"/>
                  <a:gd name="T33" fmla="*/ 19 h 41"/>
                  <a:gd name="T34" fmla="*/ 55 w 55"/>
                  <a:gd name="T35" fmla="*/ 1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5" h="41">
                    <a:moveTo>
                      <a:pt x="55" y="11"/>
                    </a:moveTo>
                    <a:cubicBezTo>
                      <a:pt x="55" y="11"/>
                      <a:pt x="54" y="12"/>
                      <a:pt x="53" y="14"/>
                    </a:cubicBezTo>
                    <a:cubicBezTo>
                      <a:pt x="51" y="15"/>
                      <a:pt x="49" y="18"/>
                      <a:pt x="46" y="20"/>
                    </a:cubicBezTo>
                    <a:cubicBezTo>
                      <a:pt x="40" y="26"/>
                      <a:pt x="31" y="33"/>
                      <a:pt x="20" y="40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2"/>
                      <a:pt x="18" y="26"/>
                      <a:pt x="17" y="21"/>
                    </a:cubicBezTo>
                    <a:cubicBezTo>
                      <a:pt x="16" y="16"/>
                      <a:pt x="13" y="11"/>
                      <a:pt x="11" y="8"/>
                    </a:cubicBezTo>
                    <a:cubicBezTo>
                      <a:pt x="5" y="2"/>
                      <a:pt x="0" y="1"/>
                      <a:pt x="0" y="0"/>
                    </a:cubicBezTo>
                    <a:cubicBezTo>
                      <a:pt x="0" y="0"/>
                      <a:pt x="2" y="0"/>
                      <a:pt x="4" y="1"/>
                    </a:cubicBezTo>
                    <a:cubicBezTo>
                      <a:pt x="6" y="2"/>
                      <a:pt x="9" y="4"/>
                      <a:pt x="12" y="7"/>
                    </a:cubicBezTo>
                    <a:cubicBezTo>
                      <a:pt x="15" y="10"/>
                      <a:pt x="17" y="15"/>
                      <a:pt x="19" y="20"/>
                    </a:cubicBezTo>
                    <a:cubicBezTo>
                      <a:pt x="20" y="26"/>
                      <a:pt x="21" y="32"/>
                      <a:pt x="21" y="38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30" y="32"/>
                      <a:pt x="39" y="25"/>
                      <a:pt x="45" y="19"/>
                    </a:cubicBezTo>
                    <a:cubicBezTo>
                      <a:pt x="51" y="14"/>
                      <a:pt x="55" y="11"/>
                      <a:pt x="55" y="1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132">
                <a:extLst>
                  <a:ext uri="{FF2B5EF4-FFF2-40B4-BE49-F238E27FC236}">
                    <a16:creationId xmlns:a16="http://schemas.microsoft.com/office/drawing/2014/main" id="{452C8177-1492-41B9-BDED-98AE99DA2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0" y="833"/>
                <a:ext cx="111" cy="80"/>
              </a:xfrm>
              <a:custGeom>
                <a:avLst/>
                <a:gdLst>
                  <a:gd name="T0" fmla="*/ 47 w 47"/>
                  <a:gd name="T1" fmla="*/ 0 h 34"/>
                  <a:gd name="T2" fmla="*/ 38 w 47"/>
                  <a:gd name="T3" fmla="*/ 6 h 34"/>
                  <a:gd name="T4" fmla="*/ 23 w 47"/>
                  <a:gd name="T5" fmla="*/ 27 h 34"/>
                  <a:gd name="T6" fmla="*/ 22 w 47"/>
                  <a:gd name="T7" fmla="*/ 32 h 34"/>
                  <a:gd name="T8" fmla="*/ 22 w 47"/>
                  <a:gd name="T9" fmla="*/ 34 h 34"/>
                  <a:gd name="T10" fmla="*/ 21 w 47"/>
                  <a:gd name="T11" fmla="*/ 32 h 34"/>
                  <a:gd name="T12" fmla="*/ 6 w 47"/>
                  <a:gd name="T13" fmla="*/ 14 h 34"/>
                  <a:gd name="T14" fmla="*/ 0 w 47"/>
                  <a:gd name="T15" fmla="*/ 7 h 34"/>
                  <a:gd name="T16" fmla="*/ 7 w 47"/>
                  <a:gd name="T17" fmla="*/ 13 h 34"/>
                  <a:gd name="T18" fmla="*/ 22 w 47"/>
                  <a:gd name="T19" fmla="*/ 31 h 34"/>
                  <a:gd name="T20" fmla="*/ 20 w 47"/>
                  <a:gd name="T21" fmla="*/ 31 h 34"/>
                  <a:gd name="T22" fmla="*/ 21 w 47"/>
                  <a:gd name="T23" fmla="*/ 26 h 34"/>
                  <a:gd name="T24" fmla="*/ 37 w 47"/>
                  <a:gd name="T25" fmla="*/ 5 h 34"/>
                  <a:gd name="T26" fmla="*/ 44 w 47"/>
                  <a:gd name="T27" fmla="*/ 1 h 34"/>
                  <a:gd name="T28" fmla="*/ 47 w 47"/>
                  <a:gd name="T2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34">
                    <a:moveTo>
                      <a:pt x="47" y="0"/>
                    </a:moveTo>
                    <a:cubicBezTo>
                      <a:pt x="47" y="0"/>
                      <a:pt x="43" y="2"/>
                      <a:pt x="38" y="6"/>
                    </a:cubicBezTo>
                    <a:cubicBezTo>
                      <a:pt x="33" y="10"/>
                      <a:pt x="26" y="17"/>
                      <a:pt x="23" y="27"/>
                    </a:cubicBezTo>
                    <a:cubicBezTo>
                      <a:pt x="23" y="29"/>
                      <a:pt x="23" y="30"/>
                      <a:pt x="22" y="32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15" y="25"/>
                      <a:pt x="10" y="19"/>
                      <a:pt x="6" y="14"/>
                    </a:cubicBezTo>
                    <a:cubicBezTo>
                      <a:pt x="2" y="10"/>
                      <a:pt x="0" y="7"/>
                      <a:pt x="0" y="7"/>
                    </a:cubicBezTo>
                    <a:cubicBezTo>
                      <a:pt x="1" y="6"/>
                      <a:pt x="3" y="9"/>
                      <a:pt x="7" y="13"/>
                    </a:cubicBezTo>
                    <a:cubicBezTo>
                      <a:pt x="11" y="18"/>
                      <a:pt x="16" y="24"/>
                      <a:pt x="22" y="31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1" y="30"/>
                      <a:pt x="21" y="28"/>
                      <a:pt x="21" y="26"/>
                    </a:cubicBezTo>
                    <a:cubicBezTo>
                      <a:pt x="24" y="16"/>
                      <a:pt x="31" y="9"/>
                      <a:pt x="37" y="5"/>
                    </a:cubicBezTo>
                    <a:cubicBezTo>
                      <a:pt x="40" y="3"/>
                      <a:pt x="42" y="2"/>
                      <a:pt x="44" y="1"/>
                    </a:cubicBezTo>
                    <a:cubicBezTo>
                      <a:pt x="46" y="0"/>
                      <a:pt x="47" y="0"/>
                      <a:pt x="47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133">
                <a:extLst>
                  <a:ext uri="{FF2B5EF4-FFF2-40B4-BE49-F238E27FC236}">
                    <a16:creationId xmlns:a16="http://schemas.microsoft.com/office/drawing/2014/main" id="{8494E2CA-639C-4A52-B9CB-F3D9A44E8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7" y="901"/>
                <a:ext cx="34" cy="8"/>
              </a:xfrm>
              <a:custGeom>
                <a:avLst/>
                <a:gdLst>
                  <a:gd name="T0" fmla="*/ 14 w 14"/>
                  <a:gd name="T1" fmla="*/ 1 h 3"/>
                  <a:gd name="T2" fmla="*/ 7 w 14"/>
                  <a:gd name="T3" fmla="*/ 3 h 3"/>
                  <a:gd name="T4" fmla="*/ 0 w 14"/>
                  <a:gd name="T5" fmla="*/ 2 h 3"/>
                  <a:gd name="T6" fmla="*/ 7 w 14"/>
                  <a:gd name="T7" fmla="*/ 0 h 3"/>
                  <a:gd name="T8" fmla="*/ 14 w 14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">
                    <a:moveTo>
                      <a:pt x="14" y="1"/>
                    </a:moveTo>
                    <a:cubicBezTo>
                      <a:pt x="14" y="2"/>
                      <a:pt x="11" y="2"/>
                      <a:pt x="7" y="3"/>
                    </a:cubicBezTo>
                    <a:cubicBezTo>
                      <a:pt x="3" y="3"/>
                      <a:pt x="0" y="2"/>
                      <a:pt x="0" y="2"/>
                    </a:cubicBezTo>
                    <a:cubicBezTo>
                      <a:pt x="0" y="1"/>
                      <a:pt x="3" y="1"/>
                      <a:pt x="7" y="0"/>
                    </a:cubicBezTo>
                    <a:cubicBezTo>
                      <a:pt x="11" y="0"/>
                      <a:pt x="14" y="1"/>
                      <a:pt x="14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134">
                <a:extLst>
                  <a:ext uri="{FF2B5EF4-FFF2-40B4-BE49-F238E27FC236}">
                    <a16:creationId xmlns:a16="http://schemas.microsoft.com/office/drawing/2014/main" id="{F2DFA213-84B0-43F0-A3A0-9D43BC456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5" y="856"/>
                <a:ext cx="52" cy="45"/>
              </a:xfrm>
              <a:custGeom>
                <a:avLst/>
                <a:gdLst>
                  <a:gd name="T0" fmla="*/ 21 w 22"/>
                  <a:gd name="T1" fmla="*/ 0 h 19"/>
                  <a:gd name="T2" fmla="*/ 12 w 22"/>
                  <a:gd name="T3" fmla="*/ 11 h 19"/>
                  <a:gd name="T4" fmla="*/ 0 w 22"/>
                  <a:gd name="T5" fmla="*/ 18 h 19"/>
                  <a:gd name="T6" fmla="*/ 11 w 22"/>
                  <a:gd name="T7" fmla="*/ 9 h 19"/>
                  <a:gd name="T8" fmla="*/ 21 w 22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9">
                    <a:moveTo>
                      <a:pt x="21" y="0"/>
                    </a:moveTo>
                    <a:cubicBezTo>
                      <a:pt x="22" y="0"/>
                      <a:pt x="18" y="6"/>
                      <a:pt x="12" y="11"/>
                    </a:cubicBezTo>
                    <a:cubicBezTo>
                      <a:pt x="6" y="16"/>
                      <a:pt x="1" y="19"/>
                      <a:pt x="0" y="18"/>
                    </a:cubicBezTo>
                    <a:cubicBezTo>
                      <a:pt x="0" y="18"/>
                      <a:pt x="5" y="14"/>
                      <a:pt x="11" y="9"/>
                    </a:cubicBezTo>
                    <a:cubicBezTo>
                      <a:pt x="17" y="4"/>
                      <a:pt x="21" y="0"/>
                      <a:pt x="21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135">
                <a:extLst>
                  <a:ext uri="{FF2B5EF4-FFF2-40B4-BE49-F238E27FC236}">
                    <a16:creationId xmlns:a16="http://schemas.microsoft.com/office/drawing/2014/main" id="{A1F36D75-85DA-4955-B506-E1ECE9293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901"/>
                <a:ext cx="14" cy="74"/>
              </a:xfrm>
              <a:custGeom>
                <a:avLst/>
                <a:gdLst>
                  <a:gd name="T0" fmla="*/ 1 w 6"/>
                  <a:gd name="T1" fmla="*/ 31 h 31"/>
                  <a:gd name="T2" fmla="*/ 2 w 6"/>
                  <a:gd name="T3" fmla="*/ 16 h 31"/>
                  <a:gd name="T4" fmla="*/ 5 w 6"/>
                  <a:gd name="T5" fmla="*/ 0 h 31"/>
                  <a:gd name="T6" fmla="*/ 4 w 6"/>
                  <a:gd name="T7" fmla="*/ 16 h 31"/>
                  <a:gd name="T8" fmla="*/ 1 w 6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1">
                    <a:moveTo>
                      <a:pt x="1" y="31"/>
                    </a:moveTo>
                    <a:cubicBezTo>
                      <a:pt x="0" y="31"/>
                      <a:pt x="1" y="24"/>
                      <a:pt x="2" y="16"/>
                    </a:cubicBezTo>
                    <a:cubicBezTo>
                      <a:pt x="3" y="7"/>
                      <a:pt x="4" y="0"/>
                      <a:pt x="5" y="0"/>
                    </a:cubicBezTo>
                    <a:cubicBezTo>
                      <a:pt x="6" y="0"/>
                      <a:pt x="5" y="7"/>
                      <a:pt x="4" y="16"/>
                    </a:cubicBezTo>
                    <a:cubicBezTo>
                      <a:pt x="3" y="24"/>
                      <a:pt x="1" y="31"/>
                      <a:pt x="1" y="3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136">
                <a:extLst>
                  <a:ext uri="{FF2B5EF4-FFF2-40B4-BE49-F238E27FC236}">
                    <a16:creationId xmlns:a16="http://schemas.microsoft.com/office/drawing/2014/main" id="{CC0DA5FF-15A3-4449-8FF6-A3D323972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906"/>
                <a:ext cx="7" cy="135"/>
              </a:xfrm>
              <a:custGeom>
                <a:avLst/>
                <a:gdLst>
                  <a:gd name="T0" fmla="*/ 0 w 3"/>
                  <a:gd name="T1" fmla="*/ 57 h 57"/>
                  <a:gd name="T2" fmla="*/ 0 w 3"/>
                  <a:gd name="T3" fmla="*/ 28 h 57"/>
                  <a:gd name="T4" fmla="*/ 2 w 3"/>
                  <a:gd name="T5" fmla="*/ 0 h 57"/>
                  <a:gd name="T6" fmla="*/ 2 w 3"/>
                  <a:gd name="T7" fmla="*/ 28 h 57"/>
                  <a:gd name="T8" fmla="*/ 0 w 3"/>
                  <a:gd name="T9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7">
                    <a:moveTo>
                      <a:pt x="0" y="57"/>
                    </a:moveTo>
                    <a:cubicBezTo>
                      <a:pt x="0" y="57"/>
                      <a:pt x="0" y="44"/>
                      <a:pt x="0" y="28"/>
                    </a:cubicBezTo>
                    <a:cubicBezTo>
                      <a:pt x="1" y="12"/>
                      <a:pt x="2" y="0"/>
                      <a:pt x="2" y="0"/>
                    </a:cubicBezTo>
                    <a:cubicBezTo>
                      <a:pt x="3" y="0"/>
                      <a:pt x="3" y="12"/>
                      <a:pt x="2" y="28"/>
                    </a:cubicBezTo>
                    <a:cubicBezTo>
                      <a:pt x="2" y="44"/>
                      <a:pt x="1" y="57"/>
                      <a:pt x="0" y="5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137">
                <a:extLst>
                  <a:ext uri="{FF2B5EF4-FFF2-40B4-BE49-F238E27FC236}">
                    <a16:creationId xmlns:a16="http://schemas.microsoft.com/office/drawing/2014/main" id="{047F212C-D2C6-4F2D-9BAB-7AFE254879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3" y="844"/>
                <a:ext cx="121" cy="779"/>
              </a:xfrm>
              <a:custGeom>
                <a:avLst/>
                <a:gdLst>
                  <a:gd name="T0" fmla="*/ 33 w 51"/>
                  <a:gd name="T1" fmla="*/ 24 h 328"/>
                  <a:gd name="T2" fmla="*/ 33 w 51"/>
                  <a:gd name="T3" fmla="*/ 24 h 328"/>
                  <a:gd name="T4" fmla="*/ 33 w 51"/>
                  <a:gd name="T5" fmla="*/ 24 h 328"/>
                  <a:gd name="T6" fmla="*/ 33 w 51"/>
                  <a:gd name="T7" fmla="*/ 24 h 328"/>
                  <a:gd name="T8" fmla="*/ 34 w 51"/>
                  <a:gd name="T9" fmla="*/ 24 h 328"/>
                  <a:gd name="T10" fmla="*/ 35 w 51"/>
                  <a:gd name="T11" fmla="*/ 24 h 328"/>
                  <a:gd name="T12" fmla="*/ 41 w 51"/>
                  <a:gd name="T13" fmla="*/ 25 h 328"/>
                  <a:gd name="T14" fmla="*/ 36 w 51"/>
                  <a:gd name="T15" fmla="*/ 26 h 328"/>
                  <a:gd name="T16" fmla="*/ 36 w 51"/>
                  <a:gd name="T17" fmla="*/ 54 h 328"/>
                  <a:gd name="T18" fmla="*/ 34 w 51"/>
                  <a:gd name="T19" fmla="*/ 83 h 328"/>
                  <a:gd name="T20" fmla="*/ 34 w 51"/>
                  <a:gd name="T21" fmla="*/ 83 h 328"/>
                  <a:gd name="T22" fmla="*/ 34 w 51"/>
                  <a:gd name="T23" fmla="*/ 54 h 328"/>
                  <a:gd name="T24" fmla="*/ 36 w 51"/>
                  <a:gd name="T25" fmla="*/ 26 h 328"/>
                  <a:gd name="T26" fmla="*/ 34 w 51"/>
                  <a:gd name="T27" fmla="*/ 27 h 328"/>
                  <a:gd name="T28" fmla="*/ 33 w 51"/>
                  <a:gd name="T29" fmla="*/ 27 h 328"/>
                  <a:gd name="T30" fmla="*/ 32 w 51"/>
                  <a:gd name="T31" fmla="*/ 40 h 328"/>
                  <a:gd name="T32" fmla="*/ 29 w 51"/>
                  <a:gd name="T33" fmla="*/ 55 h 328"/>
                  <a:gd name="T34" fmla="*/ 29 w 51"/>
                  <a:gd name="T35" fmla="*/ 55 h 328"/>
                  <a:gd name="T36" fmla="*/ 30 w 51"/>
                  <a:gd name="T37" fmla="*/ 40 h 328"/>
                  <a:gd name="T38" fmla="*/ 32 w 51"/>
                  <a:gd name="T39" fmla="*/ 27 h 328"/>
                  <a:gd name="T40" fmla="*/ 27 w 51"/>
                  <a:gd name="T41" fmla="*/ 26 h 328"/>
                  <a:gd name="T42" fmla="*/ 33 w 51"/>
                  <a:gd name="T43" fmla="*/ 24 h 328"/>
                  <a:gd name="T44" fmla="*/ 27 w 51"/>
                  <a:gd name="T45" fmla="*/ 23 h 328"/>
                  <a:gd name="T46" fmla="*/ 26 w 51"/>
                  <a:gd name="T47" fmla="*/ 23 h 328"/>
                  <a:gd name="T48" fmla="*/ 37 w 51"/>
                  <a:gd name="T49" fmla="*/ 14 h 328"/>
                  <a:gd name="T50" fmla="*/ 47 w 51"/>
                  <a:gd name="T51" fmla="*/ 5 h 328"/>
                  <a:gd name="T52" fmla="*/ 47 w 51"/>
                  <a:gd name="T53" fmla="*/ 5 h 328"/>
                  <a:gd name="T54" fmla="*/ 38 w 51"/>
                  <a:gd name="T55" fmla="*/ 16 h 328"/>
                  <a:gd name="T56" fmla="*/ 27 w 51"/>
                  <a:gd name="T57" fmla="*/ 23 h 328"/>
                  <a:gd name="T58" fmla="*/ 39 w 51"/>
                  <a:gd name="T59" fmla="*/ 0 h 328"/>
                  <a:gd name="T60" fmla="*/ 21 w 51"/>
                  <a:gd name="T61" fmla="*/ 16 h 328"/>
                  <a:gd name="T62" fmla="*/ 28 w 51"/>
                  <a:gd name="T63" fmla="*/ 27 h 328"/>
                  <a:gd name="T64" fmla="*/ 28 w 51"/>
                  <a:gd name="T65" fmla="*/ 27 h 328"/>
                  <a:gd name="T66" fmla="*/ 12 w 51"/>
                  <a:gd name="T67" fmla="*/ 70 h 328"/>
                  <a:gd name="T68" fmla="*/ 0 w 51"/>
                  <a:gd name="T69" fmla="*/ 283 h 328"/>
                  <a:gd name="T70" fmla="*/ 23 w 51"/>
                  <a:gd name="T71" fmla="*/ 328 h 328"/>
                  <a:gd name="T72" fmla="*/ 47 w 51"/>
                  <a:gd name="T73" fmla="*/ 282 h 328"/>
                  <a:gd name="T74" fmla="*/ 51 w 51"/>
                  <a:gd name="T75" fmla="*/ 64 h 328"/>
                  <a:gd name="T76" fmla="*/ 42 w 51"/>
                  <a:gd name="T77" fmla="*/ 29 h 328"/>
                  <a:gd name="T78" fmla="*/ 51 w 51"/>
                  <a:gd name="T79" fmla="*/ 16 h 328"/>
                  <a:gd name="T80" fmla="*/ 42 w 51"/>
                  <a:gd name="T81" fmla="*/ 0 h 328"/>
                  <a:gd name="T82" fmla="*/ 39 w 51"/>
                  <a:gd name="T83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" h="328">
                    <a:moveTo>
                      <a:pt x="33" y="24"/>
                    </a:moveTo>
                    <a:cubicBezTo>
                      <a:pt x="33" y="24"/>
                      <a:pt x="33" y="24"/>
                      <a:pt x="33" y="24"/>
                    </a:cubicBezTo>
                    <a:cubicBezTo>
                      <a:pt x="33" y="24"/>
                      <a:pt x="33" y="24"/>
                      <a:pt x="33" y="24"/>
                    </a:cubicBezTo>
                    <a:cubicBezTo>
                      <a:pt x="33" y="24"/>
                      <a:pt x="33" y="24"/>
                      <a:pt x="33" y="24"/>
                    </a:cubicBezTo>
                    <a:cubicBezTo>
                      <a:pt x="33" y="24"/>
                      <a:pt x="34" y="24"/>
                      <a:pt x="34" y="24"/>
                    </a:cubicBezTo>
                    <a:cubicBezTo>
                      <a:pt x="34" y="24"/>
                      <a:pt x="34" y="24"/>
                      <a:pt x="35" y="24"/>
                    </a:cubicBezTo>
                    <a:cubicBezTo>
                      <a:pt x="38" y="24"/>
                      <a:pt x="41" y="25"/>
                      <a:pt x="41" y="25"/>
                    </a:cubicBezTo>
                    <a:cubicBezTo>
                      <a:pt x="41" y="26"/>
                      <a:pt x="39" y="26"/>
                      <a:pt x="36" y="26"/>
                    </a:cubicBezTo>
                    <a:cubicBezTo>
                      <a:pt x="37" y="30"/>
                      <a:pt x="37" y="41"/>
                      <a:pt x="36" y="54"/>
                    </a:cubicBezTo>
                    <a:cubicBezTo>
                      <a:pt x="36" y="70"/>
                      <a:pt x="35" y="83"/>
                      <a:pt x="34" y="83"/>
                    </a:cubicBezTo>
                    <a:cubicBezTo>
                      <a:pt x="34" y="83"/>
                      <a:pt x="34" y="83"/>
                      <a:pt x="34" y="83"/>
                    </a:cubicBezTo>
                    <a:cubicBezTo>
                      <a:pt x="34" y="83"/>
                      <a:pt x="34" y="70"/>
                      <a:pt x="34" y="54"/>
                    </a:cubicBezTo>
                    <a:cubicBezTo>
                      <a:pt x="35" y="41"/>
                      <a:pt x="35" y="30"/>
                      <a:pt x="36" y="26"/>
                    </a:cubicBezTo>
                    <a:cubicBezTo>
                      <a:pt x="35" y="26"/>
                      <a:pt x="35" y="27"/>
                      <a:pt x="34" y="27"/>
                    </a:cubicBezTo>
                    <a:cubicBezTo>
                      <a:pt x="34" y="27"/>
                      <a:pt x="33" y="27"/>
                      <a:pt x="33" y="27"/>
                    </a:cubicBezTo>
                    <a:cubicBezTo>
                      <a:pt x="33" y="29"/>
                      <a:pt x="33" y="34"/>
                      <a:pt x="32" y="40"/>
                    </a:cubicBezTo>
                    <a:cubicBezTo>
                      <a:pt x="31" y="48"/>
                      <a:pt x="29" y="55"/>
                      <a:pt x="29" y="55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28" y="55"/>
                      <a:pt x="29" y="48"/>
                      <a:pt x="30" y="40"/>
                    </a:cubicBezTo>
                    <a:cubicBezTo>
                      <a:pt x="31" y="34"/>
                      <a:pt x="32" y="29"/>
                      <a:pt x="32" y="27"/>
                    </a:cubicBezTo>
                    <a:cubicBezTo>
                      <a:pt x="29" y="26"/>
                      <a:pt x="27" y="26"/>
                      <a:pt x="27" y="26"/>
                    </a:cubicBezTo>
                    <a:cubicBezTo>
                      <a:pt x="27" y="25"/>
                      <a:pt x="30" y="25"/>
                      <a:pt x="33" y="24"/>
                    </a:cubicBezTo>
                    <a:moveTo>
                      <a:pt x="27" y="23"/>
                    </a:moveTo>
                    <a:cubicBezTo>
                      <a:pt x="26" y="23"/>
                      <a:pt x="26" y="23"/>
                      <a:pt x="26" y="23"/>
                    </a:cubicBezTo>
                    <a:cubicBezTo>
                      <a:pt x="26" y="23"/>
                      <a:pt x="31" y="19"/>
                      <a:pt x="37" y="14"/>
                    </a:cubicBezTo>
                    <a:cubicBezTo>
                      <a:pt x="42" y="9"/>
                      <a:pt x="46" y="5"/>
                      <a:pt x="47" y="5"/>
                    </a:cubicBezTo>
                    <a:cubicBezTo>
                      <a:pt x="47" y="5"/>
                      <a:pt x="47" y="5"/>
                      <a:pt x="47" y="5"/>
                    </a:cubicBezTo>
                    <a:cubicBezTo>
                      <a:pt x="48" y="5"/>
                      <a:pt x="44" y="11"/>
                      <a:pt x="38" y="16"/>
                    </a:cubicBezTo>
                    <a:cubicBezTo>
                      <a:pt x="33" y="20"/>
                      <a:pt x="27" y="23"/>
                      <a:pt x="27" y="23"/>
                    </a:cubicBezTo>
                    <a:moveTo>
                      <a:pt x="39" y="0"/>
                    </a:moveTo>
                    <a:cubicBezTo>
                      <a:pt x="31" y="0"/>
                      <a:pt x="21" y="3"/>
                      <a:pt x="21" y="16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27"/>
                      <a:pt x="15" y="60"/>
                      <a:pt x="12" y="70"/>
                    </a:cubicBezTo>
                    <a:cubicBezTo>
                      <a:pt x="9" y="80"/>
                      <a:pt x="0" y="283"/>
                      <a:pt x="0" y="283"/>
                    </a:cubicBezTo>
                    <a:cubicBezTo>
                      <a:pt x="23" y="328"/>
                      <a:pt x="23" y="328"/>
                      <a:pt x="23" y="328"/>
                    </a:cubicBezTo>
                    <a:cubicBezTo>
                      <a:pt x="47" y="282"/>
                      <a:pt x="47" y="282"/>
                      <a:pt x="47" y="282"/>
                    </a:cubicBezTo>
                    <a:cubicBezTo>
                      <a:pt x="51" y="64"/>
                      <a:pt x="51" y="64"/>
                      <a:pt x="51" y="64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51" y="16"/>
                      <a:pt x="49" y="1"/>
                      <a:pt x="42" y="0"/>
                    </a:cubicBezTo>
                    <a:cubicBezTo>
                      <a:pt x="41" y="0"/>
                      <a:pt x="40" y="0"/>
                      <a:pt x="39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138">
                <a:extLst>
                  <a:ext uri="{FF2B5EF4-FFF2-40B4-BE49-F238E27FC236}">
                    <a16:creationId xmlns:a16="http://schemas.microsoft.com/office/drawing/2014/main" id="{2207EC3C-D9D0-4438-86AE-754305FF5A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17" y="901"/>
                <a:ext cx="34" cy="8"/>
              </a:xfrm>
              <a:custGeom>
                <a:avLst/>
                <a:gdLst>
                  <a:gd name="T0" fmla="*/ 6 w 14"/>
                  <a:gd name="T1" fmla="*/ 0 h 3"/>
                  <a:gd name="T2" fmla="*/ 0 w 14"/>
                  <a:gd name="T3" fmla="*/ 2 h 3"/>
                  <a:gd name="T4" fmla="*/ 5 w 14"/>
                  <a:gd name="T5" fmla="*/ 3 h 3"/>
                  <a:gd name="T6" fmla="*/ 6 w 14"/>
                  <a:gd name="T7" fmla="*/ 0 h 3"/>
                  <a:gd name="T8" fmla="*/ 8 w 14"/>
                  <a:gd name="T9" fmla="*/ 0 h 3"/>
                  <a:gd name="T10" fmla="*/ 7 w 14"/>
                  <a:gd name="T11" fmla="*/ 0 h 3"/>
                  <a:gd name="T12" fmla="*/ 6 w 14"/>
                  <a:gd name="T13" fmla="*/ 0 h 3"/>
                  <a:gd name="T14" fmla="*/ 6 w 14"/>
                  <a:gd name="T15" fmla="*/ 3 h 3"/>
                  <a:gd name="T16" fmla="*/ 7 w 14"/>
                  <a:gd name="T17" fmla="*/ 3 h 3"/>
                  <a:gd name="T18" fmla="*/ 9 w 14"/>
                  <a:gd name="T19" fmla="*/ 2 h 3"/>
                  <a:gd name="T20" fmla="*/ 9 w 14"/>
                  <a:gd name="T21" fmla="*/ 2 h 3"/>
                  <a:gd name="T22" fmla="*/ 9 w 14"/>
                  <a:gd name="T23" fmla="*/ 2 h 3"/>
                  <a:gd name="T24" fmla="*/ 9 w 14"/>
                  <a:gd name="T25" fmla="*/ 2 h 3"/>
                  <a:gd name="T26" fmla="*/ 14 w 14"/>
                  <a:gd name="T27" fmla="*/ 1 h 3"/>
                  <a:gd name="T28" fmla="*/ 8 w 14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3">
                    <a:moveTo>
                      <a:pt x="6" y="0"/>
                    </a:moveTo>
                    <a:cubicBezTo>
                      <a:pt x="3" y="1"/>
                      <a:pt x="0" y="1"/>
                      <a:pt x="0" y="2"/>
                    </a:cubicBezTo>
                    <a:cubicBezTo>
                      <a:pt x="0" y="2"/>
                      <a:pt x="2" y="2"/>
                      <a:pt x="5" y="3"/>
                    </a:cubicBezTo>
                    <a:cubicBezTo>
                      <a:pt x="5" y="1"/>
                      <a:pt x="6" y="1"/>
                      <a:pt x="6" y="0"/>
                    </a:cubicBezTo>
                    <a:moveTo>
                      <a:pt x="8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1"/>
                      <a:pt x="6" y="1"/>
                      <a:pt x="6" y="3"/>
                    </a:cubicBezTo>
                    <a:cubicBezTo>
                      <a:pt x="6" y="3"/>
                      <a:pt x="7" y="3"/>
                      <a:pt x="7" y="3"/>
                    </a:cubicBezTo>
                    <a:cubicBezTo>
                      <a:pt x="8" y="3"/>
                      <a:pt x="8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12" y="2"/>
                      <a:pt x="14" y="2"/>
                      <a:pt x="14" y="1"/>
                    </a:cubicBezTo>
                    <a:cubicBezTo>
                      <a:pt x="14" y="1"/>
                      <a:pt x="11" y="0"/>
                      <a:pt x="8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139">
                <a:extLst>
                  <a:ext uri="{FF2B5EF4-FFF2-40B4-BE49-F238E27FC236}">
                    <a16:creationId xmlns:a16="http://schemas.microsoft.com/office/drawing/2014/main" id="{FC0A1D53-D14C-4B8A-B8A4-45F363D79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5" y="856"/>
                <a:ext cx="52" cy="43"/>
              </a:xfrm>
              <a:custGeom>
                <a:avLst/>
                <a:gdLst>
                  <a:gd name="T0" fmla="*/ 21 w 22"/>
                  <a:gd name="T1" fmla="*/ 0 h 18"/>
                  <a:gd name="T2" fmla="*/ 11 w 22"/>
                  <a:gd name="T3" fmla="*/ 9 h 18"/>
                  <a:gd name="T4" fmla="*/ 0 w 22"/>
                  <a:gd name="T5" fmla="*/ 18 h 18"/>
                  <a:gd name="T6" fmla="*/ 1 w 22"/>
                  <a:gd name="T7" fmla="*/ 18 h 18"/>
                  <a:gd name="T8" fmla="*/ 12 w 22"/>
                  <a:gd name="T9" fmla="*/ 11 h 18"/>
                  <a:gd name="T10" fmla="*/ 21 w 22"/>
                  <a:gd name="T11" fmla="*/ 0 h 18"/>
                  <a:gd name="T12" fmla="*/ 21 w 22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8">
                    <a:moveTo>
                      <a:pt x="21" y="0"/>
                    </a:moveTo>
                    <a:cubicBezTo>
                      <a:pt x="20" y="0"/>
                      <a:pt x="16" y="4"/>
                      <a:pt x="11" y="9"/>
                    </a:cubicBezTo>
                    <a:cubicBezTo>
                      <a:pt x="5" y="14"/>
                      <a:pt x="0" y="18"/>
                      <a:pt x="0" y="18"/>
                    </a:cubicBezTo>
                    <a:cubicBezTo>
                      <a:pt x="0" y="18"/>
                      <a:pt x="0" y="18"/>
                      <a:pt x="1" y="18"/>
                    </a:cubicBezTo>
                    <a:cubicBezTo>
                      <a:pt x="1" y="18"/>
                      <a:pt x="7" y="15"/>
                      <a:pt x="12" y="11"/>
                    </a:cubicBezTo>
                    <a:cubicBezTo>
                      <a:pt x="18" y="6"/>
                      <a:pt x="22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140">
                <a:extLst>
                  <a:ext uri="{FF2B5EF4-FFF2-40B4-BE49-F238E27FC236}">
                    <a16:creationId xmlns:a16="http://schemas.microsoft.com/office/drawing/2014/main" id="{DAE2AF98-4ACF-4FFB-85E3-CACAE3B17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901"/>
                <a:ext cx="12" cy="74"/>
              </a:xfrm>
              <a:custGeom>
                <a:avLst/>
                <a:gdLst>
                  <a:gd name="T0" fmla="*/ 5 w 5"/>
                  <a:gd name="T1" fmla="*/ 0 h 31"/>
                  <a:gd name="T2" fmla="*/ 5 w 5"/>
                  <a:gd name="T3" fmla="*/ 0 h 31"/>
                  <a:gd name="T4" fmla="*/ 4 w 5"/>
                  <a:gd name="T5" fmla="*/ 3 h 31"/>
                  <a:gd name="T6" fmla="*/ 2 w 5"/>
                  <a:gd name="T7" fmla="*/ 16 h 31"/>
                  <a:gd name="T8" fmla="*/ 1 w 5"/>
                  <a:gd name="T9" fmla="*/ 31 h 31"/>
                  <a:gd name="T10" fmla="*/ 1 w 5"/>
                  <a:gd name="T11" fmla="*/ 31 h 31"/>
                  <a:gd name="T12" fmla="*/ 4 w 5"/>
                  <a:gd name="T13" fmla="*/ 16 h 31"/>
                  <a:gd name="T14" fmla="*/ 5 w 5"/>
                  <a:gd name="T15" fmla="*/ 3 h 31"/>
                  <a:gd name="T16" fmla="*/ 5 w 5"/>
                  <a:gd name="T17" fmla="*/ 0 h 31"/>
                  <a:gd name="T18" fmla="*/ 5 w 5"/>
                  <a:gd name="T19" fmla="*/ 0 h 31"/>
                  <a:gd name="T20" fmla="*/ 5 w 5"/>
                  <a:gd name="T2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1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4" y="1"/>
                      <a:pt x="4" y="3"/>
                    </a:cubicBezTo>
                    <a:cubicBezTo>
                      <a:pt x="4" y="5"/>
                      <a:pt x="3" y="10"/>
                      <a:pt x="2" y="16"/>
                    </a:cubicBezTo>
                    <a:cubicBezTo>
                      <a:pt x="1" y="24"/>
                      <a:pt x="0" y="31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1" y="31"/>
                      <a:pt x="3" y="24"/>
                      <a:pt x="4" y="16"/>
                    </a:cubicBezTo>
                    <a:cubicBezTo>
                      <a:pt x="5" y="10"/>
                      <a:pt x="5" y="5"/>
                      <a:pt x="5" y="3"/>
                    </a:cubicBezTo>
                    <a:cubicBezTo>
                      <a:pt x="5" y="1"/>
                      <a:pt x="5" y="1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141">
                <a:extLst>
                  <a:ext uri="{FF2B5EF4-FFF2-40B4-BE49-F238E27FC236}">
                    <a16:creationId xmlns:a16="http://schemas.microsoft.com/office/drawing/2014/main" id="{F4CAE691-B9CA-4AF4-9A09-ACD5997D5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906"/>
                <a:ext cx="7" cy="135"/>
              </a:xfrm>
              <a:custGeom>
                <a:avLst/>
                <a:gdLst>
                  <a:gd name="T0" fmla="*/ 2 w 3"/>
                  <a:gd name="T1" fmla="*/ 0 h 57"/>
                  <a:gd name="T2" fmla="*/ 2 w 3"/>
                  <a:gd name="T3" fmla="*/ 0 h 57"/>
                  <a:gd name="T4" fmla="*/ 0 w 3"/>
                  <a:gd name="T5" fmla="*/ 28 h 57"/>
                  <a:gd name="T6" fmla="*/ 0 w 3"/>
                  <a:gd name="T7" fmla="*/ 57 h 57"/>
                  <a:gd name="T8" fmla="*/ 0 w 3"/>
                  <a:gd name="T9" fmla="*/ 57 h 57"/>
                  <a:gd name="T10" fmla="*/ 2 w 3"/>
                  <a:gd name="T11" fmla="*/ 28 h 57"/>
                  <a:gd name="T12" fmla="*/ 2 w 3"/>
                  <a:gd name="T13" fmla="*/ 0 h 57"/>
                  <a:gd name="T14" fmla="*/ 2 w 3"/>
                  <a:gd name="T15" fmla="*/ 0 h 57"/>
                  <a:gd name="T16" fmla="*/ 2 w 3"/>
                  <a:gd name="T17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57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4"/>
                      <a:pt x="1" y="15"/>
                      <a:pt x="0" y="28"/>
                    </a:cubicBezTo>
                    <a:cubicBezTo>
                      <a:pt x="0" y="44"/>
                      <a:pt x="0" y="57"/>
                      <a:pt x="0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" y="57"/>
                      <a:pt x="2" y="44"/>
                      <a:pt x="2" y="28"/>
                    </a:cubicBezTo>
                    <a:cubicBezTo>
                      <a:pt x="3" y="15"/>
                      <a:pt x="3" y="4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142">
                <a:extLst>
                  <a:ext uri="{FF2B5EF4-FFF2-40B4-BE49-F238E27FC236}">
                    <a16:creationId xmlns:a16="http://schemas.microsoft.com/office/drawing/2014/main" id="{00C1E849-A9D0-4F38-A725-341B623EB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939"/>
                <a:ext cx="64" cy="596"/>
              </a:xfrm>
              <a:custGeom>
                <a:avLst/>
                <a:gdLst>
                  <a:gd name="T0" fmla="*/ 27 w 27"/>
                  <a:gd name="T1" fmla="*/ 251 h 251"/>
                  <a:gd name="T2" fmla="*/ 27 w 27"/>
                  <a:gd name="T3" fmla="*/ 248 h 251"/>
                  <a:gd name="T4" fmla="*/ 27 w 27"/>
                  <a:gd name="T5" fmla="*/ 241 h 251"/>
                  <a:gd name="T6" fmla="*/ 25 w 27"/>
                  <a:gd name="T7" fmla="*/ 214 h 251"/>
                  <a:gd name="T8" fmla="*/ 18 w 27"/>
                  <a:gd name="T9" fmla="*/ 125 h 251"/>
                  <a:gd name="T10" fmla="*/ 5 w 27"/>
                  <a:gd name="T11" fmla="*/ 36 h 251"/>
                  <a:gd name="T12" fmla="*/ 1 w 27"/>
                  <a:gd name="T13" fmla="*/ 10 h 251"/>
                  <a:gd name="T14" fmla="*/ 0 w 27"/>
                  <a:gd name="T15" fmla="*/ 2 h 251"/>
                  <a:gd name="T16" fmla="*/ 0 w 27"/>
                  <a:gd name="T17" fmla="*/ 0 h 251"/>
                  <a:gd name="T18" fmla="*/ 0 w 27"/>
                  <a:gd name="T19" fmla="*/ 2 h 251"/>
                  <a:gd name="T20" fmla="*/ 2 w 27"/>
                  <a:gd name="T21" fmla="*/ 9 h 251"/>
                  <a:gd name="T22" fmla="*/ 7 w 27"/>
                  <a:gd name="T23" fmla="*/ 36 h 251"/>
                  <a:gd name="T24" fmla="*/ 20 w 27"/>
                  <a:gd name="T25" fmla="*/ 125 h 251"/>
                  <a:gd name="T26" fmla="*/ 27 w 27"/>
                  <a:gd name="T27" fmla="*/ 214 h 251"/>
                  <a:gd name="T28" fmla="*/ 27 w 27"/>
                  <a:gd name="T29" fmla="*/ 241 h 251"/>
                  <a:gd name="T30" fmla="*/ 27 w 27"/>
                  <a:gd name="T31" fmla="*/ 248 h 251"/>
                  <a:gd name="T32" fmla="*/ 27 w 27"/>
                  <a:gd name="T33" fmla="*/ 25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51">
                    <a:moveTo>
                      <a:pt x="27" y="251"/>
                    </a:moveTo>
                    <a:cubicBezTo>
                      <a:pt x="27" y="251"/>
                      <a:pt x="27" y="250"/>
                      <a:pt x="27" y="248"/>
                    </a:cubicBezTo>
                    <a:cubicBezTo>
                      <a:pt x="27" y="247"/>
                      <a:pt x="27" y="244"/>
                      <a:pt x="27" y="241"/>
                    </a:cubicBezTo>
                    <a:cubicBezTo>
                      <a:pt x="26" y="235"/>
                      <a:pt x="26" y="225"/>
                      <a:pt x="25" y="214"/>
                    </a:cubicBezTo>
                    <a:cubicBezTo>
                      <a:pt x="24" y="191"/>
                      <a:pt x="22" y="160"/>
                      <a:pt x="18" y="125"/>
                    </a:cubicBezTo>
                    <a:cubicBezTo>
                      <a:pt x="14" y="90"/>
                      <a:pt x="9" y="59"/>
                      <a:pt x="5" y="36"/>
                    </a:cubicBezTo>
                    <a:cubicBezTo>
                      <a:pt x="4" y="25"/>
                      <a:pt x="2" y="16"/>
                      <a:pt x="1" y="10"/>
                    </a:cubicBezTo>
                    <a:cubicBezTo>
                      <a:pt x="1" y="7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1" y="4"/>
                      <a:pt x="1" y="6"/>
                      <a:pt x="2" y="9"/>
                    </a:cubicBezTo>
                    <a:cubicBezTo>
                      <a:pt x="3" y="16"/>
                      <a:pt x="5" y="25"/>
                      <a:pt x="7" y="36"/>
                    </a:cubicBezTo>
                    <a:cubicBezTo>
                      <a:pt x="11" y="59"/>
                      <a:pt x="16" y="90"/>
                      <a:pt x="20" y="125"/>
                    </a:cubicBezTo>
                    <a:cubicBezTo>
                      <a:pt x="24" y="159"/>
                      <a:pt x="26" y="191"/>
                      <a:pt x="27" y="214"/>
                    </a:cubicBezTo>
                    <a:cubicBezTo>
                      <a:pt x="27" y="225"/>
                      <a:pt x="27" y="235"/>
                      <a:pt x="27" y="241"/>
                    </a:cubicBezTo>
                    <a:cubicBezTo>
                      <a:pt x="27" y="244"/>
                      <a:pt x="27" y="246"/>
                      <a:pt x="27" y="248"/>
                    </a:cubicBezTo>
                    <a:cubicBezTo>
                      <a:pt x="27" y="250"/>
                      <a:pt x="27" y="251"/>
                      <a:pt x="27" y="25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Freeform 143">
                <a:extLst>
                  <a:ext uri="{FF2B5EF4-FFF2-40B4-BE49-F238E27FC236}">
                    <a16:creationId xmlns:a16="http://schemas.microsoft.com/office/drawing/2014/main" id="{239924F3-276E-4AE4-AAC4-309ACBBDBA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0" y="958"/>
                <a:ext cx="121" cy="478"/>
              </a:xfrm>
              <a:custGeom>
                <a:avLst/>
                <a:gdLst>
                  <a:gd name="T0" fmla="*/ 9 w 51"/>
                  <a:gd name="T1" fmla="*/ 69 h 201"/>
                  <a:gd name="T2" fmla="*/ 23 w 51"/>
                  <a:gd name="T3" fmla="*/ 130 h 201"/>
                  <a:gd name="T4" fmla="*/ 9 w 51"/>
                  <a:gd name="T5" fmla="*/ 69 h 201"/>
                  <a:gd name="T6" fmla="*/ 5 w 51"/>
                  <a:gd name="T7" fmla="*/ 0 h 201"/>
                  <a:gd name="T8" fmla="*/ 2 w 51"/>
                  <a:gd name="T9" fmla="*/ 93 h 201"/>
                  <a:gd name="T10" fmla="*/ 36 w 51"/>
                  <a:gd name="T11" fmla="*/ 195 h 201"/>
                  <a:gd name="T12" fmla="*/ 42 w 51"/>
                  <a:gd name="T13" fmla="*/ 200 h 201"/>
                  <a:gd name="T14" fmla="*/ 45 w 51"/>
                  <a:gd name="T15" fmla="*/ 201 h 201"/>
                  <a:gd name="T16" fmla="*/ 49 w 51"/>
                  <a:gd name="T17" fmla="*/ 200 h 201"/>
                  <a:gd name="T18" fmla="*/ 49 w 51"/>
                  <a:gd name="T19" fmla="*/ 190 h 201"/>
                  <a:gd name="T20" fmla="*/ 46 w 51"/>
                  <a:gd name="T21" fmla="*/ 184 h 201"/>
                  <a:gd name="T22" fmla="*/ 32 w 51"/>
                  <a:gd name="T23" fmla="*/ 157 h 201"/>
                  <a:gd name="T24" fmla="*/ 16 w 51"/>
                  <a:gd name="T25" fmla="*/ 114 h 201"/>
                  <a:gd name="T26" fmla="*/ 6 w 51"/>
                  <a:gd name="T27" fmla="*/ 59 h 201"/>
                  <a:gd name="T28" fmla="*/ 5 w 51"/>
                  <a:gd name="T29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" h="201">
                    <a:moveTo>
                      <a:pt x="9" y="69"/>
                    </a:moveTo>
                    <a:cubicBezTo>
                      <a:pt x="11" y="92"/>
                      <a:pt x="16" y="112"/>
                      <a:pt x="23" y="130"/>
                    </a:cubicBezTo>
                    <a:cubicBezTo>
                      <a:pt x="16" y="110"/>
                      <a:pt x="11" y="90"/>
                      <a:pt x="9" y="69"/>
                    </a:cubicBezTo>
                    <a:moveTo>
                      <a:pt x="5" y="0"/>
                    </a:moveTo>
                    <a:cubicBezTo>
                      <a:pt x="2" y="31"/>
                      <a:pt x="0" y="62"/>
                      <a:pt x="2" y="93"/>
                    </a:cubicBezTo>
                    <a:cubicBezTo>
                      <a:pt x="5" y="129"/>
                      <a:pt x="15" y="166"/>
                      <a:pt x="36" y="195"/>
                    </a:cubicBezTo>
                    <a:cubicBezTo>
                      <a:pt x="38" y="197"/>
                      <a:pt x="39" y="199"/>
                      <a:pt x="42" y="200"/>
                    </a:cubicBezTo>
                    <a:cubicBezTo>
                      <a:pt x="43" y="201"/>
                      <a:pt x="44" y="201"/>
                      <a:pt x="45" y="201"/>
                    </a:cubicBezTo>
                    <a:cubicBezTo>
                      <a:pt x="46" y="201"/>
                      <a:pt x="48" y="201"/>
                      <a:pt x="49" y="200"/>
                    </a:cubicBezTo>
                    <a:cubicBezTo>
                      <a:pt x="51" y="198"/>
                      <a:pt x="50" y="194"/>
                      <a:pt x="49" y="190"/>
                    </a:cubicBezTo>
                    <a:cubicBezTo>
                      <a:pt x="48" y="189"/>
                      <a:pt x="47" y="187"/>
                      <a:pt x="46" y="184"/>
                    </a:cubicBezTo>
                    <a:cubicBezTo>
                      <a:pt x="42" y="178"/>
                      <a:pt x="37" y="169"/>
                      <a:pt x="32" y="157"/>
                    </a:cubicBezTo>
                    <a:cubicBezTo>
                      <a:pt x="26" y="145"/>
                      <a:pt x="20" y="131"/>
                      <a:pt x="16" y="114"/>
                    </a:cubicBezTo>
                    <a:cubicBezTo>
                      <a:pt x="11" y="98"/>
                      <a:pt x="7" y="79"/>
                      <a:pt x="6" y="59"/>
                    </a:cubicBezTo>
                    <a:cubicBezTo>
                      <a:pt x="4" y="38"/>
                      <a:pt x="5" y="18"/>
                      <a:pt x="5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Freeform 144">
                <a:extLst>
                  <a:ext uri="{FF2B5EF4-FFF2-40B4-BE49-F238E27FC236}">
                    <a16:creationId xmlns:a16="http://schemas.microsoft.com/office/drawing/2014/main" id="{D7B8537F-A18D-4C29-9D18-38E13A738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923"/>
                <a:ext cx="107" cy="486"/>
              </a:xfrm>
              <a:custGeom>
                <a:avLst/>
                <a:gdLst>
                  <a:gd name="T0" fmla="*/ 3 w 45"/>
                  <a:gd name="T1" fmla="*/ 0 h 205"/>
                  <a:gd name="T2" fmla="*/ 1 w 45"/>
                  <a:gd name="T3" fmla="*/ 15 h 205"/>
                  <a:gd name="T4" fmla="*/ 2 w 45"/>
                  <a:gd name="T5" fmla="*/ 74 h 205"/>
                  <a:gd name="T6" fmla="*/ 12 w 45"/>
                  <a:gd name="T7" fmla="*/ 129 h 205"/>
                  <a:gd name="T8" fmla="*/ 28 w 45"/>
                  <a:gd name="T9" fmla="*/ 172 h 205"/>
                  <a:gd name="T10" fmla="*/ 42 w 45"/>
                  <a:gd name="T11" fmla="*/ 199 h 205"/>
                  <a:gd name="T12" fmla="*/ 45 w 45"/>
                  <a:gd name="T13" fmla="*/ 205 h 205"/>
                  <a:gd name="T14" fmla="*/ 44 w 45"/>
                  <a:gd name="T15" fmla="*/ 203 h 205"/>
                  <a:gd name="T16" fmla="*/ 19 w 45"/>
                  <a:gd name="T17" fmla="*/ 145 h 205"/>
                  <a:gd name="T18" fmla="*/ 5 w 45"/>
                  <a:gd name="T19" fmla="*/ 84 h 205"/>
                  <a:gd name="T20" fmla="*/ 3 w 45"/>
                  <a:gd name="T21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205">
                    <a:moveTo>
                      <a:pt x="3" y="0"/>
                    </a:moveTo>
                    <a:cubicBezTo>
                      <a:pt x="2" y="5"/>
                      <a:pt x="2" y="10"/>
                      <a:pt x="1" y="15"/>
                    </a:cubicBezTo>
                    <a:cubicBezTo>
                      <a:pt x="1" y="33"/>
                      <a:pt x="0" y="53"/>
                      <a:pt x="2" y="74"/>
                    </a:cubicBezTo>
                    <a:cubicBezTo>
                      <a:pt x="3" y="94"/>
                      <a:pt x="7" y="113"/>
                      <a:pt x="12" y="129"/>
                    </a:cubicBezTo>
                    <a:cubicBezTo>
                      <a:pt x="16" y="146"/>
                      <a:pt x="22" y="160"/>
                      <a:pt x="28" y="172"/>
                    </a:cubicBezTo>
                    <a:cubicBezTo>
                      <a:pt x="33" y="184"/>
                      <a:pt x="38" y="193"/>
                      <a:pt x="42" y="199"/>
                    </a:cubicBezTo>
                    <a:cubicBezTo>
                      <a:pt x="43" y="202"/>
                      <a:pt x="44" y="204"/>
                      <a:pt x="45" y="205"/>
                    </a:cubicBezTo>
                    <a:cubicBezTo>
                      <a:pt x="44" y="204"/>
                      <a:pt x="44" y="204"/>
                      <a:pt x="44" y="203"/>
                    </a:cubicBezTo>
                    <a:cubicBezTo>
                      <a:pt x="34" y="185"/>
                      <a:pt x="25" y="165"/>
                      <a:pt x="19" y="145"/>
                    </a:cubicBezTo>
                    <a:cubicBezTo>
                      <a:pt x="12" y="127"/>
                      <a:pt x="7" y="107"/>
                      <a:pt x="5" y="84"/>
                    </a:cubicBezTo>
                    <a:cubicBezTo>
                      <a:pt x="1" y="56"/>
                      <a:pt x="0" y="28"/>
                      <a:pt x="3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Freeform 145">
                <a:extLst>
                  <a:ext uri="{FF2B5EF4-FFF2-40B4-BE49-F238E27FC236}">
                    <a16:creationId xmlns:a16="http://schemas.microsoft.com/office/drawing/2014/main" id="{8771338D-4CE8-41E9-BA26-FB3BC386E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4" y="999"/>
                <a:ext cx="152" cy="434"/>
              </a:xfrm>
              <a:custGeom>
                <a:avLst/>
                <a:gdLst>
                  <a:gd name="T0" fmla="*/ 64 w 64"/>
                  <a:gd name="T1" fmla="*/ 0 h 183"/>
                  <a:gd name="T2" fmla="*/ 54 w 64"/>
                  <a:gd name="T3" fmla="*/ 32 h 183"/>
                  <a:gd name="T4" fmla="*/ 0 w 64"/>
                  <a:gd name="T5" fmla="*/ 177 h 183"/>
                  <a:gd name="T6" fmla="*/ 7 w 64"/>
                  <a:gd name="T7" fmla="*/ 183 h 183"/>
                  <a:gd name="T8" fmla="*/ 9 w 64"/>
                  <a:gd name="T9" fmla="*/ 183 h 183"/>
                  <a:gd name="T10" fmla="*/ 18 w 64"/>
                  <a:gd name="T11" fmla="*/ 175 h 183"/>
                  <a:gd name="T12" fmla="*/ 56 w 64"/>
                  <a:gd name="T13" fmla="*/ 86 h 183"/>
                  <a:gd name="T14" fmla="*/ 58 w 64"/>
                  <a:gd name="T15" fmla="*/ 74 h 183"/>
                  <a:gd name="T16" fmla="*/ 51 w 64"/>
                  <a:gd name="T17" fmla="*/ 76 h 183"/>
                  <a:gd name="T18" fmla="*/ 51 w 64"/>
                  <a:gd name="T19" fmla="*/ 75 h 183"/>
                  <a:gd name="T20" fmla="*/ 58 w 64"/>
                  <a:gd name="T21" fmla="*/ 73 h 183"/>
                  <a:gd name="T22" fmla="*/ 64 w 64"/>
                  <a:gd name="T23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183">
                    <a:moveTo>
                      <a:pt x="64" y="0"/>
                    </a:moveTo>
                    <a:cubicBezTo>
                      <a:pt x="61" y="10"/>
                      <a:pt x="58" y="21"/>
                      <a:pt x="54" y="32"/>
                    </a:cubicBezTo>
                    <a:cubicBezTo>
                      <a:pt x="38" y="88"/>
                      <a:pt x="16" y="147"/>
                      <a:pt x="0" y="177"/>
                    </a:cubicBezTo>
                    <a:cubicBezTo>
                      <a:pt x="0" y="180"/>
                      <a:pt x="4" y="183"/>
                      <a:pt x="7" y="183"/>
                    </a:cubicBezTo>
                    <a:cubicBezTo>
                      <a:pt x="8" y="183"/>
                      <a:pt x="8" y="183"/>
                      <a:pt x="9" y="183"/>
                    </a:cubicBezTo>
                    <a:cubicBezTo>
                      <a:pt x="13" y="182"/>
                      <a:pt x="16" y="179"/>
                      <a:pt x="18" y="175"/>
                    </a:cubicBezTo>
                    <a:cubicBezTo>
                      <a:pt x="38" y="149"/>
                      <a:pt x="49" y="118"/>
                      <a:pt x="56" y="86"/>
                    </a:cubicBezTo>
                    <a:cubicBezTo>
                      <a:pt x="56" y="82"/>
                      <a:pt x="57" y="78"/>
                      <a:pt x="58" y="74"/>
                    </a:cubicBezTo>
                    <a:cubicBezTo>
                      <a:pt x="54" y="75"/>
                      <a:pt x="52" y="76"/>
                      <a:pt x="51" y="76"/>
                    </a:cubicBezTo>
                    <a:cubicBezTo>
                      <a:pt x="51" y="76"/>
                      <a:pt x="51" y="76"/>
                      <a:pt x="51" y="75"/>
                    </a:cubicBezTo>
                    <a:cubicBezTo>
                      <a:pt x="51" y="75"/>
                      <a:pt x="53" y="74"/>
                      <a:pt x="58" y="73"/>
                    </a:cubicBezTo>
                    <a:cubicBezTo>
                      <a:pt x="62" y="48"/>
                      <a:pt x="63" y="26"/>
                      <a:pt x="64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146">
                <a:extLst>
                  <a:ext uri="{FF2B5EF4-FFF2-40B4-BE49-F238E27FC236}">
                    <a16:creationId xmlns:a16="http://schemas.microsoft.com/office/drawing/2014/main" id="{5FAD42D6-C051-403D-A0DE-0D68A3677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987"/>
                <a:ext cx="24" cy="88"/>
              </a:xfrm>
              <a:custGeom>
                <a:avLst/>
                <a:gdLst>
                  <a:gd name="T0" fmla="*/ 10 w 10"/>
                  <a:gd name="T1" fmla="*/ 0 h 37"/>
                  <a:gd name="T2" fmla="*/ 0 w 10"/>
                  <a:gd name="T3" fmla="*/ 37 h 37"/>
                  <a:gd name="T4" fmla="*/ 10 w 10"/>
                  <a:gd name="T5" fmla="*/ 5 h 37"/>
                  <a:gd name="T6" fmla="*/ 10 w 10"/>
                  <a:gd name="T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37">
                    <a:moveTo>
                      <a:pt x="10" y="0"/>
                    </a:moveTo>
                    <a:cubicBezTo>
                      <a:pt x="7" y="12"/>
                      <a:pt x="4" y="25"/>
                      <a:pt x="0" y="37"/>
                    </a:cubicBezTo>
                    <a:cubicBezTo>
                      <a:pt x="4" y="26"/>
                      <a:pt x="7" y="15"/>
                      <a:pt x="10" y="5"/>
                    </a:cubicBezTo>
                    <a:cubicBezTo>
                      <a:pt x="10" y="3"/>
                      <a:pt x="10" y="2"/>
                      <a:pt x="1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147">
                <a:extLst>
                  <a:ext uri="{FF2B5EF4-FFF2-40B4-BE49-F238E27FC236}">
                    <a16:creationId xmlns:a16="http://schemas.microsoft.com/office/drawing/2014/main" id="{9ECCCA89-CDD2-4F0B-8EBC-79C08D3E2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1172"/>
                <a:ext cx="17" cy="7"/>
              </a:xfrm>
              <a:custGeom>
                <a:avLst/>
                <a:gdLst>
                  <a:gd name="T0" fmla="*/ 7 w 7"/>
                  <a:gd name="T1" fmla="*/ 0 h 3"/>
                  <a:gd name="T2" fmla="*/ 0 w 7"/>
                  <a:gd name="T3" fmla="*/ 2 h 3"/>
                  <a:gd name="T4" fmla="*/ 0 w 7"/>
                  <a:gd name="T5" fmla="*/ 3 h 3"/>
                  <a:gd name="T6" fmla="*/ 7 w 7"/>
                  <a:gd name="T7" fmla="*/ 1 h 3"/>
                  <a:gd name="T8" fmla="*/ 7 w 7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7" y="0"/>
                    </a:moveTo>
                    <a:cubicBezTo>
                      <a:pt x="2" y="1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3" y="2"/>
                      <a:pt x="7" y="1"/>
                    </a:cubicBezTo>
                    <a:cubicBezTo>
                      <a:pt x="7" y="1"/>
                      <a:pt x="7" y="0"/>
                      <a:pt x="7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148">
                <a:extLst>
                  <a:ext uri="{FF2B5EF4-FFF2-40B4-BE49-F238E27FC236}">
                    <a16:creationId xmlns:a16="http://schemas.microsoft.com/office/drawing/2014/main" id="{A62D4A28-E8A0-41A3-9C17-804703217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9" y="1419"/>
                <a:ext cx="5" cy="9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1"/>
                      <a:pt x="1" y="2"/>
                      <a:pt x="1" y="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2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Freeform 149">
                <a:extLst>
                  <a:ext uri="{FF2B5EF4-FFF2-40B4-BE49-F238E27FC236}">
                    <a16:creationId xmlns:a16="http://schemas.microsoft.com/office/drawing/2014/main" id="{81750B49-CE04-4002-80E6-E9C97C2C6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1" y="1419"/>
                <a:ext cx="3" cy="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  <a:gd name="T6" fmla="*/ 1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Freeform 150">
                <a:extLst>
                  <a:ext uri="{FF2B5EF4-FFF2-40B4-BE49-F238E27FC236}">
                    <a16:creationId xmlns:a16="http://schemas.microsoft.com/office/drawing/2014/main" id="{9B5850B0-F2B5-482F-B6D6-F9FEB89B6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" y="1153"/>
                <a:ext cx="10" cy="74"/>
              </a:xfrm>
              <a:custGeom>
                <a:avLst/>
                <a:gdLst>
                  <a:gd name="T0" fmla="*/ 3 w 4"/>
                  <a:gd name="T1" fmla="*/ 0 h 31"/>
                  <a:gd name="T2" fmla="*/ 0 w 4"/>
                  <a:gd name="T3" fmla="*/ 31 h 31"/>
                  <a:gd name="T4" fmla="*/ 4 w 4"/>
                  <a:gd name="T5" fmla="*/ 0 h 31"/>
                  <a:gd name="T6" fmla="*/ 3 w 4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1">
                    <a:moveTo>
                      <a:pt x="3" y="0"/>
                    </a:moveTo>
                    <a:cubicBezTo>
                      <a:pt x="2" y="17"/>
                      <a:pt x="1" y="30"/>
                      <a:pt x="0" y="3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151">
                <a:extLst>
                  <a:ext uri="{FF2B5EF4-FFF2-40B4-BE49-F238E27FC236}">
                    <a16:creationId xmlns:a16="http://schemas.microsoft.com/office/drawing/2014/main" id="{0924046C-7159-4D53-AB68-E608B0227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" y="1041"/>
                <a:ext cx="35" cy="281"/>
              </a:xfrm>
              <a:custGeom>
                <a:avLst/>
                <a:gdLst>
                  <a:gd name="T0" fmla="*/ 5 w 15"/>
                  <a:gd name="T1" fmla="*/ 0 h 118"/>
                  <a:gd name="T2" fmla="*/ 5 w 15"/>
                  <a:gd name="T3" fmla="*/ 0 h 118"/>
                  <a:gd name="T4" fmla="*/ 0 w 15"/>
                  <a:gd name="T5" fmla="*/ 60 h 118"/>
                  <a:gd name="T6" fmla="*/ 13 w 15"/>
                  <a:gd name="T7" fmla="*/ 118 h 118"/>
                  <a:gd name="T8" fmla="*/ 12 w 15"/>
                  <a:gd name="T9" fmla="*/ 79 h 118"/>
                  <a:gd name="T10" fmla="*/ 12 w 15"/>
                  <a:gd name="T11" fmla="*/ 78 h 118"/>
                  <a:gd name="T12" fmla="*/ 15 w 15"/>
                  <a:gd name="T13" fmla="*/ 47 h 118"/>
                  <a:gd name="T14" fmla="*/ 11 w 15"/>
                  <a:gd name="T15" fmla="*/ 40 h 118"/>
                  <a:gd name="T16" fmla="*/ 10 w 15"/>
                  <a:gd name="T17" fmla="*/ 39 h 118"/>
                  <a:gd name="T18" fmla="*/ 10 w 15"/>
                  <a:gd name="T19" fmla="*/ 39 h 118"/>
                  <a:gd name="T20" fmla="*/ 10 w 15"/>
                  <a:gd name="T21" fmla="*/ 39 h 118"/>
                  <a:gd name="T22" fmla="*/ 7 w 15"/>
                  <a:gd name="T23" fmla="*/ 35 h 118"/>
                  <a:gd name="T24" fmla="*/ 7 w 15"/>
                  <a:gd name="T25" fmla="*/ 31 h 118"/>
                  <a:gd name="T26" fmla="*/ 6 w 15"/>
                  <a:gd name="T27" fmla="*/ 23 h 118"/>
                  <a:gd name="T28" fmla="*/ 5 w 15"/>
                  <a:gd name="T29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18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0"/>
                      <a:pt x="0" y="40"/>
                      <a:pt x="0" y="60"/>
                    </a:cubicBezTo>
                    <a:cubicBezTo>
                      <a:pt x="1" y="80"/>
                      <a:pt x="4" y="100"/>
                      <a:pt x="13" y="118"/>
                    </a:cubicBezTo>
                    <a:cubicBezTo>
                      <a:pt x="13" y="108"/>
                      <a:pt x="12" y="79"/>
                      <a:pt x="12" y="79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13" y="77"/>
                      <a:pt x="14" y="64"/>
                      <a:pt x="15" y="47"/>
                    </a:cubicBezTo>
                    <a:cubicBezTo>
                      <a:pt x="13" y="45"/>
                      <a:pt x="12" y="43"/>
                      <a:pt x="11" y="40"/>
                    </a:cubicBezTo>
                    <a:cubicBezTo>
                      <a:pt x="11" y="40"/>
                      <a:pt x="10" y="40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39"/>
                      <a:pt x="10" y="39"/>
                      <a:pt x="10" y="39"/>
                    </a:cubicBezTo>
                    <a:cubicBezTo>
                      <a:pt x="8" y="37"/>
                      <a:pt x="7" y="35"/>
                      <a:pt x="7" y="35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7" y="29"/>
                      <a:pt x="7" y="26"/>
                      <a:pt x="6" y="23"/>
                    </a:cubicBezTo>
                    <a:cubicBezTo>
                      <a:pt x="5" y="17"/>
                      <a:pt x="5" y="9"/>
                      <a:pt x="5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Freeform 152">
                <a:extLst>
                  <a:ext uri="{FF2B5EF4-FFF2-40B4-BE49-F238E27FC236}">
                    <a16:creationId xmlns:a16="http://schemas.microsoft.com/office/drawing/2014/main" id="{90F0B0C2-23FC-4DCF-B884-83D16C5F91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78" y="1115"/>
                <a:ext cx="10" cy="21"/>
              </a:xfrm>
              <a:custGeom>
                <a:avLst/>
                <a:gdLst>
                  <a:gd name="T0" fmla="*/ 2 w 4"/>
                  <a:gd name="T1" fmla="*/ 4 h 9"/>
                  <a:gd name="T2" fmla="*/ 3 w 4"/>
                  <a:gd name="T3" fmla="*/ 8 h 9"/>
                  <a:gd name="T4" fmla="*/ 3 w 4"/>
                  <a:gd name="T5" fmla="*/ 8 h 9"/>
                  <a:gd name="T6" fmla="*/ 4 w 4"/>
                  <a:gd name="T7" fmla="*/ 9 h 9"/>
                  <a:gd name="T8" fmla="*/ 2 w 4"/>
                  <a:gd name="T9" fmla="*/ 4 h 9"/>
                  <a:gd name="T10" fmla="*/ 0 w 4"/>
                  <a:gd name="T11" fmla="*/ 0 h 9"/>
                  <a:gd name="T12" fmla="*/ 0 w 4"/>
                  <a:gd name="T13" fmla="*/ 4 h 9"/>
                  <a:gd name="T14" fmla="*/ 3 w 4"/>
                  <a:gd name="T15" fmla="*/ 8 h 9"/>
                  <a:gd name="T16" fmla="*/ 1 w 4"/>
                  <a:gd name="T17" fmla="*/ 4 h 9"/>
                  <a:gd name="T18" fmla="*/ 0 w 4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9">
                    <a:moveTo>
                      <a:pt x="2" y="4"/>
                    </a:moveTo>
                    <a:cubicBezTo>
                      <a:pt x="3" y="7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9"/>
                      <a:pt x="4" y="9"/>
                      <a:pt x="4" y="9"/>
                    </a:cubicBezTo>
                    <a:cubicBezTo>
                      <a:pt x="3" y="8"/>
                      <a:pt x="3" y="6"/>
                      <a:pt x="2" y="4"/>
                    </a:cubicBezTo>
                    <a:moveTo>
                      <a:pt x="0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6"/>
                      <a:pt x="3" y="8"/>
                    </a:cubicBezTo>
                    <a:cubicBezTo>
                      <a:pt x="3" y="8"/>
                      <a:pt x="2" y="6"/>
                      <a:pt x="1" y="4"/>
                    </a:cubicBezTo>
                    <a:cubicBezTo>
                      <a:pt x="1" y="3"/>
                      <a:pt x="1" y="2"/>
                      <a:pt x="0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53">
                <a:extLst>
                  <a:ext uri="{FF2B5EF4-FFF2-40B4-BE49-F238E27FC236}">
                    <a16:creationId xmlns:a16="http://schemas.microsoft.com/office/drawing/2014/main" id="{040EAB3B-F07E-42AB-A825-5D00B9B7F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1034"/>
                <a:ext cx="12" cy="100"/>
              </a:xfrm>
              <a:custGeom>
                <a:avLst/>
                <a:gdLst>
                  <a:gd name="T0" fmla="*/ 1 w 5"/>
                  <a:gd name="T1" fmla="*/ 0 h 42"/>
                  <a:gd name="T2" fmla="*/ 0 w 5"/>
                  <a:gd name="T3" fmla="*/ 3 h 42"/>
                  <a:gd name="T4" fmla="*/ 1 w 5"/>
                  <a:gd name="T5" fmla="*/ 26 h 42"/>
                  <a:gd name="T6" fmla="*/ 2 w 5"/>
                  <a:gd name="T7" fmla="*/ 34 h 42"/>
                  <a:gd name="T8" fmla="*/ 3 w 5"/>
                  <a:gd name="T9" fmla="*/ 38 h 42"/>
                  <a:gd name="T10" fmla="*/ 5 w 5"/>
                  <a:gd name="T11" fmla="*/ 42 h 42"/>
                  <a:gd name="T12" fmla="*/ 5 w 5"/>
                  <a:gd name="T13" fmla="*/ 42 h 42"/>
                  <a:gd name="T14" fmla="*/ 5 w 5"/>
                  <a:gd name="T15" fmla="*/ 42 h 42"/>
                  <a:gd name="T16" fmla="*/ 5 w 5"/>
                  <a:gd name="T17" fmla="*/ 42 h 42"/>
                  <a:gd name="T18" fmla="*/ 4 w 5"/>
                  <a:gd name="T19" fmla="*/ 38 h 42"/>
                  <a:gd name="T20" fmla="*/ 1 w 5"/>
                  <a:gd name="T2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2">
                    <a:moveTo>
                      <a:pt x="1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12"/>
                      <a:pt x="0" y="20"/>
                      <a:pt x="1" y="26"/>
                    </a:cubicBezTo>
                    <a:cubicBezTo>
                      <a:pt x="2" y="29"/>
                      <a:pt x="2" y="32"/>
                      <a:pt x="2" y="34"/>
                    </a:cubicBezTo>
                    <a:cubicBezTo>
                      <a:pt x="3" y="36"/>
                      <a:pt x="3" y="37"/>
                      <a:pt x="3" y="38"/>
                    </a:cubicBezTo>
                    <a:cubicBezTo>
                      <a:pt x="4" y="40"/>
                      <a:pt x="5" y="42"/>
                      <a:pt x="5" y="42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5" y="42"/>
                      <a:pt x="5" y="41"/>
                      <a:pt x="4" y="38"/>
                    </a:cubicBezTo>
                    <a:cubicBezTo>
                      <a:pt x="0" y="23"/>
                      <a:pt x="1" y="0"/>
                      <a:pt x="1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54">
                <a:extLst>
                  <a:ext uri="{FF2B5EF4-FFF2-40B4-BE49-F238E27FC236}">
                    <a16:creationId xmlns:a16="http://schemas.microsoft.com/office/drawing/2014/main" id="{22C8D798-0888-4688-8450-FF925B8C4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" y="1008"/>
                <a:ext cx="111" cy="10"/>
              </a:xfrm>
              <a:custGeom>
                <a:avLst/>
                <a:gdLst>
                  <a:gd name="T0" fmla="*/ 2 w 47"/>
                  <a:gd name="T1" fmla="*/ 0 h 4"/>
                  <a:gd name="T2" fmla="*/ 0 w 47"/>
                  <a:gd name="T3" fmla="*/ 4 h 4"/>
                  <a:gd name="T4" fmla="*/ 0 w 47"/>
                  <a:gd name="T5" fmla="*/ 4 h 4"/>
                  <a:gd name="T6" fmla="*/ 2 w 47"/>
                  <a:gd name="T7" fmla="*/ 0 h 4"/>
                  <a:gd name="T8" fmla="*/ 47 w 47"/>
                  <a:gd name="T9" fmla="*/ 0 h 4"/>
                  <a:gd name="T10" fmla="*/ 47 w 47"/>
                  <a:gd name="T11" fmla="*/ 0 h 4"/>
                  <a:gd name="T12" fmla="*/ 2 w 47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4">
                    <a:moveTo>
                      <a:pt x="2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Freeform 155">
                <a:extLst>
                  <a:ext uri="{FF2B5EF4-FFF2-40B4-BE49-F238E27FC236}">
                    <a16:creationId xmlns:a16="http://schemas.microsoft.com/office/drawing/2014/main" id="{EF4B7BE0-FBE7-471A-8EBD-779D5F539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" y="1008"/>
                <a:ext cx="111" cy="71"/>
              </a:xfrm>
              <a:custGeom>
                <a:avLst/>
                <a:gdLst>
                  <a:gd name="T0" fmla="*/ 2 w 47"/>
                  <a:gd name="T1" fmla="*/ 0 h 30"/>
                  <a:gd name="T2" fmla="*/ 0 w 47"/>
                  <a:gd name="T3" fmla="*/ 4 h 30"/>
                  <a:gd name="T4" fmla="*/ 17 w 47"/>
                  <a:gd name="T5" fmla="*/ 27 h 30"/>
                  <a:gd name="T6" fmla="*/ 26 w 47"/>
                  <a:gd name="T7" fmla="*/ 30 h 30"/>
                  <a:gd name="T8" fmla="*/ 26 w 47"/>
                  <a:gd name="T9" fmla="*/ 30 h 30"/>
                  <a:gd name="T10" fmla="*/ 42 w 47"/>
                  <a:gd name="T11" fmla="*/ 20 h 30"/>
                  <a:gd name="T12" fmla="*/ 47 w 47"/>
                  <a:gd name="T13" fmla="*/ 0 h 30"/>
                  <a:gd name="T14" fmla="*/ 2 w 47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0">
                    <a:moveTo>
                      <a:pt x="2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2" y="13"/>
                      <a:pt x="9" y="22"/>
                      <a:pt x="17" y="27"/>
                    </a:cubicBezTo>
                    <a:cubicBezTo>
                      <a:pt x="20" y="28"/>
                      <a:pt x="23" y="30"/>
                      <a:pt x="26" y="3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33" y="30"/>
                      <a:pt x="39" y="25"/>
                      <a:pt x="42" y="20"/>
                    </a:cubicBezTo>
                    <a:cubicBezTo>
                      <a:pt x="45" y="14"/>
                      <a:pt x="46" y="7"/>
                      <a:pt x="47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Freeform 156">
                <a:extLst>
                  <a:ext uri="{FF2B5EF4-FFF2-40B4-BE49-F238E27FC236}">
                    <a16:creationId xmlns:a16="http://schemas.microsoft.com/office/drawing/2014/main" id="{E4222B96-204F-4EDB-B695-33EDAE0DCF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92" y="1345"/>
                <a:ext cx="155" cy="107"/>
              </a:xfrm>
              <a:custGeom>
                <a:avLst/>
                <a:gdLst>
                  <a:gd name="T0" fmla="*/ 65 w 65"/>
                  <a:gd name="T1" fmla="*/ 44 h 45"/>
                  <a:gd name="T2" fmla="*/ 65 w 65"/>
                  <a:gd name="T3" fmla="*/ 45 h 45"/>
                  <a:gd name="T4" fmla="*/ 65 w 65"/>
                  <a:gd name="T5" fmla="*/ 44 h 45"/>
                  <a:gd name="T6" fmla="*/ 65 w 65"/>
                  <a:gd name="T7" fmla="*/ 44 h 45"/>
                  <a:gd name="T8" fmla="*/ 22 w 65"/>
                  <a:gd name="T9" fmla="*/ 0 h 45"/>
                  <a:gd name="T10" fmla="*/ 2 w 65"/>
                  <a:gd name="T11" fmla="*/ 7 h 45"/>
                  <a:gd name="T12" fmla="*/ 0 w 65"/>
                  <a:gd name="T13" fmla="*/ 10 h 45"/>
                  <a:gd name="T14" fmla="*/ 3 w 65"/>
                  <a:gd name="T15" fmla="*/ 13 h 45"/>
                  <a:gd name="T16" fmla="*/ 5 w 65"/>
                  <a:gd name="T17" fmla="*/ 14 h 45"/>
                  <a:gd name="T18" fmla="*/ 8 w 65"/>
                  <a:gd name="T19" fmla="*/ 13 h 45"/>
                  <a:gd name="T20" fmla="*/ 14 w 65"/>
                  <a:gd name="T21" fmla="*/ 13 h 45"/>
                  <a:gd name="T22" fmla="*/ 45 w 65"/>
                  <a:gd name="T23" fmla="*/ 22 h 45"/>
                  <a:gd name="T24" fmla="*/ 41 w 65"/>
                  <a:gd name="T25" fmla="*/ 19 h 45"/>
                  <a:gd name="T26" fmla="*/ 19 w 65"/>
                  <a:gd name="T27" fmla="*/ 11 h 45"/>
                  <a:gd name="T28" fmla="*/ 15 w 65"/>
                  <a:gd name="T29" fmla="*/ 11 h 45"/>
                  <a:gd name="T30" fmla="*/ 11 w 65"/>
                  <a:gd name="T31" fmla="*/ 11 h 45"/>
                  <a:gd name="T32" fmla="*/ 9 w 65"/>
                  <a:gd name="T33" fmla="*/ 11 h 45"/>
                  <a:gd name="T34" fmla="*/ 9 w 65"/>
                  <a:gd name="T35" fmla="*/ 11 h 45"/>
                  <a:gd name="T36" fmla="*/ 11 w 65"/>
                  <a:gd name="T37" fmla="*/ 10 h 45"/>
                  <a:gd name="T38" fmla="*/ 18 w 65"/>
                  <a:gd name="T39" fmla="*/ 9 h 45"/>
                  <a:gd name="T40" fmla="*/ 19 w 65"/>
                  <a:gd name="T41" fmla="*/ 9 h 45"/>
                  <a:gd name="T42" fmla="*/ 42 w 65"/>
                  <a:gd name="T43" fmla="*/ 18 h 45"/>
                  <a:gd name="T44" fmla="*/ 60 w 65"/>
                  <a:gd name="T45" fmla="*/ 36 h 45"/>
                  <a:gd name="T46" fmla="*/ 65 w 65"/>
                  <a:gd name="T47" fmla="*/ 44 h 45"/>
                  <a:gd name="T48" fmla="*/ 43 w 65"/>
                  <a:gd name="T49" fmla="*/ 6 h 45"/>
                  <a:gd name="T50" fmla="*/ 22 w 65"/>
                  <a:gd name="T5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45">
                    <a:moveTo>
                      <a:pt x="65" y="44"/>
                    </a:moveTo>
                    <a:cubicBezTo>
                      <a:pt x="65" y="44"/>
                      <a:pt x="65" y="44"/>
                      <a:pt x="65" y="45"/>
                    </a:cubicBezTo>
                    <a:cubicBezTo>
                      <a:pt x="65" y="45"/>
                      <a:pt x="65" y="44"/>
                      <a:pt x="65" y="44"/>
                    </a:cubicBezTo>
                    <a:cubicBezTo>
                      <a:pt x="65" y="44"/>
                      <a:pt x="65" y="44"/>
                      <a:pt x="65" y="44"/>
                    </a:cubicBezTo>
                    <a:moveTo>
                      <a:pt x="22" y="0"/>
                    </a:moveTo>
                    <a:cubicBezTo>
                      <a:pt x="15" y="0"/>
                      <a:pt x="8" y="2"/>
                      <a:pt x="2" y="7"/>
                    </a:cubicBezTo>
                    <a:cubicBezTo>
                      <a:pt x="1" y="8"/>
                      <a:pt x="0" y="9"/>
                      <a:pt x="0" y="10"/>
                    </a:cubicBezTo>
                    <a:cubicBezTo>
                      <a:pt x="0" y="11"/>
                      <a:pt x="1" y="13"/>
                      <a:pt x="3" y="13"/>
                    </a:cubicBezTo>
                    <a:cubicBezTo>
                      <a:pt x="4" y="14"/>
                      <a:pt x="4" y="14"/>
                      <a:pt x="5" y="14"/>
                    </a:cubicBezTo>
                    <a:cubicBezTo>
                      <a:pt x="6" y="14"/>
                      <a:pt x="7" y="13"/>
                      <a:pt x="8" y="13"/>
                    </a:cubicBezTo>
                    <a:cubicBezTo>
                      <a:pt x="10" y="13"/>
                      <a:pt x="12" y="13"/>
                      <a:pt x="14" y="13"/>
                    </a:cubicBezTo>
                    <a:cubicBezTo>
                      <a:pt x="25" y="13"/>
                      <a:pt x="36" y="16"/>
                      <a:pt x="45" y="22"/>
                    </a:cubicBezTo>
                    <a:cubicBezTo>
                      <a:pt x="44" y="21"/>
                      <a:pt x="43" y="20"/>
                      <a:pt x="41" y="19"/>
                    </a:cubicBezTo>
                    <a:cubicBezTo>
                      <a:pt x="33" y="14"/>
                      <a:pt x="25" y="11"/>
                      <a:pt x="19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2" y="11"/>
                      <a:pt x="11" y="11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9" y="10"/>
                      <a:pt x="11" y="10"/>
                    </a:cubicBezTo>
                    <a:cubicBezTo>
                      <a:pt x="13" y="10"/>
                      <a:pt x="15" y="9"/>
                      <a:pt x="18" y="9"/>
                    </a:cubicBezTo>
                    <a:cubicBezTo>
                      <a:pt x="18" y="9"/>
                      <a:pt x="18" y="9"/>
                      <a:pt x="19" y="9"/>
                    </a:cubicBezTo>
                    <a:cubicBezTo>
                      <a:pt x="25" y="9"/>
                      <a:pt x="34" y="12"/>
                      <a:pt x="42" y="18"/>
                    </a:cubicBezTo>
                    <a:cubicBezTo>
                      <a:pt x="51" y="23"/>
                      <a:pt x="56" y="30"/>
                      <a:pt x="60" y="36"/>
                    </a:cubicBezTo>
                    <a:cubicBezTo>
                      <a:pt x="63" y="39"/>
                      <a:pt x="64" y="42"/>
                      <a:pt x="65" y="44"/>
                    </a:cubicBezTo>
                    <a:cubicBezTo>
                      <a:pt x="64" y="29"/>
                      <a:pt x="55" y="15"/>
                      <a:pt x="43" y="6"/>
                    </a:cubicBezTo>
                    <a:cubicBezTo>
                      <a:pt x="37" y="2"/>
                      <a:pt x="30" y="0"/>
                      <a:pt x="22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Freeform 157">
                <a:extLst>
                  <a:ext uri="{FF2B5EF4-FFF2-40B4-BE49-F238E27FC236}">
                    <a16:creationId xmlns:a16="http://schemas.microsoft.com/office/drawing/2014/main" id="{D2819709-236F-47DB-BA13-01F697926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" y="1367"/>
                <a:ext cx="136" cy="83"/>
              </a:xfrm>
              <a:custGeom>
                <a:avLst/>
                <a:gdLst>
                  <a:gd name="T0" fmla="*/ 10 w 57"/>
                  <a:gd name="T1" fmla="*/ 0 h 35"/>
                  <a:gd name="T2" fmla="*/ 3 w 57"/>
                  <a:gd name="T3" fmla="*/ 1 h 35"/>
                  <a:gd name="T4" fmla="*/ 1 w 57"/>
                  <a:gd name="T5" fmla="*/ 2 h 35"/>
                  <a:gd name="T6" fmla="*/ 1 w 57"/>
                  <a:gd name="T7" fmla="*/ 2 h 35"/>
                  <a:gd name="T8" fmla="*/ 3 w 57"/>
                  <a:gd name="T9" fmla="*/ 2 h 35"/>
                  <a:gd name="T10" fmla="*/ 7 w 57"/>
                  <a:gd name="T11" fmla="*/ 2 h 35"/>
                  <a:gd name="T12" fmla="*/ 11 w 57"/>
                  <a:gd name="T13" fmla="*/ 2 h 35"/>
                  <a:gd name="T14" fmla="*/ 33 w 57"/>
                  <a:gd name="T15" fmla="*/ 10 h 35"/>
                  <a:gd name="T16" fmla="*/ 37 w 57"/>
                  <a:gd name="T17" fmla="*/ 13 h 35"/>
                  <a:gd name="T18" fmla="*/ 57 w 57"/>
                  <a:gd name="T19" fmla="*/ 35 h 35"/>
                  <a:gd name="T20" fmla="*/ 57 w 57"/>
                  <a:gd name="T21" fmla="*/ 35 h 35"/>
                  <a:gd name="T22" fmla="*/ 57 w 57"/>
                  <a:gd name="T23" fmla="*/ 35 h 35"/>
                  <a:gd name="T24" fmla="*/ 52 w 57"/>
                  <a:gd name="T25" fmla="*/ 27 h 35"/>
                  <a:gd name="T26" fmla="*/ 34 w 57"/>
                  <a:gd name="T27" fmla="*/ 9 h 35"/>
                  <a:gd name="T28" fmla="*/ 11 w 57"/>
                  <a:gd name="T29" fmla="*/ 0 h 35"/>
                  <a:gd name="T30" fmla="*/ 10 w 57"/>
                  <a:gd name="T3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7" h="35">
                    <a:moveTo>
                      <a:pt x="10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1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4" y="2"/>
                      <a:pt x="6" y="2"/>
                      <a:pt x="7" y="2"/>
                    </a:cubicBezTo>
                    <a:cubicBezTo>
                      <a:pt x="8" y="2"/>
                      <a:pt x="9" y="2"/>
                      <a:pt x="11" y="2"/>
                    </a:cubicBezTo>
                    <a:cubicBezTo>
                      <a:pt x="17" y="2"/>
                      <a:pt x="25" y="5"/>
                      <a:pt x="33" y="10"/>
                    </a:cubicBezTo>
                    <a:cubicBezTo>
                      <a:pt x="35" y="11"/>
                      <a:pt x="36" y="12"/>
                      <a:pt x="37" y="13"/>
                    </a:cubicBezTo>
                    <a:cubicBezTo>
                      <a:pt x="46" y="19"/>
                      <a:pt x="52" y="26"/>
                      <a:pt x="57" y="35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6" y="33"/>
                      <a:pt x="55" y="30"/>
                      <a:pt x="52" y="27"/>
                    </a:cubicBezTo>
                    <a:cubicBezTo>
                      <a:pt x="48" y="21"/>
                      <a:pt x="43" y="14"/>
                      <a:pt x="34" y="9"/>
                    </a:cubicBezTo>
                    <a:cubicBezTo>
                      <a:pt x="26" y="3"/>
                      <a:pt x="17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Freeform 158">
                <a:extLst>
                  <a:ext uri="{FF2B5EF4-FFF2-40B4-BE49-F238E27FC236}">
                    <a16:creationId xmlns:a16="http://schemas.microsoft.com/office/drawing/2014/main" id="{802534A7-459D-439E-BDDE-23E93753AD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73" y="1089"/>
                <a:ext cx="112" cy="119"/>
              </a:xfrm>
              <a:custGeom>
                <a:avLst/>
                <a:gdLst>
                  <a:gd name="T0" fmla="*/ 43 w 47"/>
                  <a:gd name="T1" fmla="*/ 2 h 50"/>
                  <a:gd name="T2" fmla="*/ 1 w 47"/>
                  <a:gd name="T3" fmla="*/ 42 h 50"/>
                  <a:gd name="T4" fmla="*/ 1 w 47"/>
                  <a:gd name="T5" fmla="*/ 49 h 50"/>
                  <a:gd name="T6" fmla="*/ 4 w 47"/>
                  <a:gd name="T7" fmla="*/ 50 h 50"/>
                  <a:gd name="T8" fmla="*/ 8 w 47"/>
                  <a:gd name="T9" fmla="*/ 48 h 50"/>
                  <a:gd name="T10" fmla="*/ 10 w 47"/>
                  <a:gd name="T11" fmla="*/ 45 h 50"/>
                  <a:gd name="T12" fmla="*/ 11 w 47"/>
                  <a:gd name="T13" fmla="*/ 39 h 50"/>
                  <a:gd name="T14" fmla="*/ 21 w 47"/>
                  <a:gd name="T15" fmla="*/ 18 h 50"/>
                  <a:gd name="T16" fmla="*/ 39 w 47"/>
                  <a:gd name="T17" fmla="*/ 3 h 50"/>
                  <a:gd name="T18" fmla="*/ 43 w 47"/>
                  <a:gd name="T19" fmla="*/ 2 h 50"/>
                  <a:gd name="T20" fmla="*/ 47 w 47"/>
                  <a:gd name="T21" fmla="*/ 0 h 50"/>
                  <a:gd name="T22" fmla="*/ 40 w 47"/>
                  <a:gd name="T23" fmla="*/ 5 h 50"/>
                  <a:gd name="T24" fmla="*/ 23 w 47"/>
                  <a:gd name="T25" fmla="*/ 20 h 50"/>
                  <a:gd name="T26" fmla="*/ 22 w 47"/>
                  <a:gd name="T27" fmla="*/ 22 h 50"/>
                  <a:gd name="T28" fmla="*/ 47 w 47"/>
                  <a:gd name="T29" fmla="*/ 1 h 50"/>
                  <a:gd name="T30" fmla="*/ 47 w 47"/>
                  <a:gd name="T3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7" h="50">
                    <a:moveTo>
                      <a:pt x="43" y="2"/>
                    </a:moveTo>
                    <a:cubicBezTo>
                      <a:pt x="24" y="8"/>
                      <a:pt x="8" y="23"/>
                      <a:pt x="1" y="42"/>
                    </a:cubicBezTo>
                    <a:cubicBezTo>
                      <a:pt x="0" y="44"/>
                      <a:pt x="0" y="47"/>
                      <a:pt x="1" y="49"/>
                    </a:cubicBezTo>
                    <a:cubicBezTo>
                      <a:pt x="2" y="50"/>
                      <a:pt x="3" y="50"/>
                      <a:pt x="4" y="50"/>
                    </a:cubicBezTo>
                    <a:cubicBezTo>
                      <a:pt x="5" y="50"/>
                      <a:pt x="7" y="49"/>
                      <a:pt x="8" y="48"/>
                    </a:cubicBezTo>
                    <a:cubicBezTo>
                      <a:pt x="9" y="47"/>
                      <a:pt x="9" y="46"/>
                      <a:pt x="10" y="45"/>
                    </a:cubicBezTo>
                    <a:cubicBezTo>
                      <a:pt x="10" y="43"/>
                      <a:pt x="11" y="41"/>
                      <a:pt x="11" y="39"/>
                    </a:cubicBezTo>
                    <a:cubicBezTo>
                      <a:pt x="13" y="34"/>
                      <a:pt x="16" y="26"/>
                      <a:pt x="21" y="18"/>
                    </a:cubicBezTo>
                    <a:cubicBezTo>
                      <a:pt x="27" y="11"/>
                      <a:pt x="34" y="6"/>
                      <a:pt x="39" y="3"/>
                    </a:cubicBezTo>
                    <a:cubicBezTo>
                      <a:pt x="40" y="3"/>
                      <a:pt x="42" y="2"/>
                      <a:pt x="43" y="2"/>
                    </a:cubicBezTo>
                    <a:moveTo>
                      <a:pt x="47" y="0"/>
                    </a:moveTo>
                    <a:cubicBezTo>
                      <a:pt x="46" y="1"/>
                      <a:pt x="43" y="2"/>
                      <a:pt x="40" y="5"/>
                    </a:cubicBezTo>
                    <a:cubicBezTo>
                      <a:pt x="35" y="8"/>
                      <a:pt x="28" y="12"/>
                      <a:pt x="23" y="20"/>
                    </a:cubicBezTo>
                    <a:cubicBezTo>
                      <a:pt x="23" y="20"/>
                      <a:pt x="22" y="21"/>
                      <a:pt x="22" y="22"/>
                    </a:cubicBezTo>
                    <a:cubicBezTo>
                      <a:pt x="28" y="13"/>
                      <a:pt x="37" y="6"/>
                      <a:pt x="47" y="1"/>
                    </a:cubicBezTo>
                    <a:cubicBezTo>
                      <a:pt x="47" y="1"/>
                      <a:pt x="47" y="1"/>
                      <a:pt x="47" y="0"/>
                    </a:cubicBezTo>
                  </a:path>
                </a:pathLst>
              </a:custGeom>
              <a:solidFill>
                <a:srgbClr val="8B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Freeform 159">
                <a:extLst>
                  <a:ext uri="{FF2B5EF4-FFF2-40B4-BE49-F238E27FC236}">
                    <a16:creationId xmlns:a16="http://schemas.microsoft.com/office/drawing/2014/main" id="{60ED0055-3B01-45BC-9708-2F3895A26C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5" y="1089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1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Freeform 160">
                <a:extLst>
                  <a:ext uri="{FF2B5EF4-FFF2-40B4-BE49-F238E27FC236}">
                    <a16:creationId xmlns:a16="http://schemas.microsoft.com/office/drawing/2014/main" id="{866D1DCF-D4CA-4A4B-8B42-4C941ECD2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" y="1089"/>
                <a:ext cx="90" cy="107"/>
              </a:xfrm>
              <a:custGeom>
                <a:avLst/>
                <a:gdLst>
                  <a:gd name="T0" fmla="*/ 38 w 38"/>
                  <a:gd name="T1" fmla="*/ 0 h 45"/>
                  <a:gd name="T2" fmla="*/ 33 w 38"/>
                  <a:gd name="T3" fmla="*/ 2 h 45"/>
                  <a:gd name="T4" fmla="*/ 29 w 38"/>
                  <a:gd name="T5" fmla="*/ 3 h 45"/>
                  <a:gd name="T6" fmla="*/ 11 w 38"/>
                  <a:gd name="T7" fmla="*/ 18 h 45"/>
                  <a:gd name="T8" fmla="*/ 1 w 38"/>
                  <a:gd name="T9" fmla="*/ 39 h 45"/>
                  <a:gd name="T10" fmla="*/ 0 w 38"/>
                  <a:gd name="T11" fmla="*/ 45 h 45"/>
                  <a:gd name="T12" fmla="*/ 1 w 38"/>
                  <a:gd name="T13" fmla="*/ 42 h 45"/>
                  <a:gd name="T14" fmla="*/ 12 w 38"/>
                  <a:gd name="T15" fmla="*/ 22 h 45"/>
                  <a:gd name="T16" fmla="*/ 13 w 38"/>
                  <a:gd name="T17" fmla="*/ 20 h 45"/>
                  <a:gd name="T18" fmla="*/ 30 w 38"/>
                  <a:gd name="T19" fmla="*/ 5 h 45"/>
                  <a:gd name="T20" fmla="*/ 37 w 38"/>
                  <a:gd name="T21" fmla="*/ 0 h 45"/>
                  <a:gd name="T22" fmla="*/ 38 w 38"/>
                  <a:gd name="T23" fmla="*/ 0 h 45"/>
                  <a:gd name="T24" fmla="*/ 38 w 38"/>
                  <a:gd name="T25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45">
                    <a:moveTo>
                      <a:pt x="38" y="0"/>
                    </a:moveTo>
                    <a:cubicBezTo>
                      <a:pt x="36" y="0"/>
                      <a:pt x="34" y="1"/>
                      <a:pt x="33" y="2"/>
                    </a:cubicBezTo>
                    <a:cubicBezTo>
                      <a:pt x="32" y="2"/>
                      <a:pt x="30" y="3"/>
                      <a:pt x="29" y="3"/>
                    </a:cubicBezTo>
                    <a:cubicBezTo>
                      <a:pt x="24" y="6"/>
                      <a:pt x="17" y="11"/>
                      <a:pt x="11" y="18"/>
                    </a:cubicBezTo>
                    <a:cubicBezTo>
                      <a:pt x="6" y="26"/>
                      <a:pt x="3" y="34"/>
                      <a:pt x="1" y="39"/>
                    </a:cubicBezTo>
                    <a:cubicBezTo>
                      <a:pt x="1" y="41"/>
                      <a:pt x="0" y="43"/>
                      <a:pt x="0" y="45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3" y="35"/>
                      <a:pt x="7" y="28"/>
                      <a:pt x="12" y="22"/>
                    </a:cubicBezTo>
                    <a:cubicBezTo>
                      <a:pt x="12" y="21"/>
                      <a:pt x="13" y="20"/>
                      <a:pt x="13" y="20"/>
                    </a:cubicBezTo>
                    <a:cubicBezTo>
                      <a:pt x="18" y="12"/>
                      <a:pt x="25" y="8"/>
                      <a:pt x="30" y="5"/>
                    </a:cubicBezTo>
                    <a:cubicBezTo>
                      <a:pt x="33" y="2"/>
                      <a:pt x="36" y="1"/>
                      <a:pt x="3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Freeform 161">
                <a:extLst>
                  <a:ext uri="{FF2B5EF4-FFF2-40B4-BE49-F238E27FC236}">
                    <a16:creationId xmlns:a16="http://schemas.microsoft.com/office/drawing/2014/main" id="{863A6C5A-C12E-4BF4-B84F-E446E149FD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2" y="733"/>
                <a:ext cx="221" cy="349"/>
              </a:xfrm>
              <a:custGeom>
                <a:avLst/>
                <a:gdLst>
                  <a:gd name="T0" fmla="*/ 19 w 93"/>
                  <a:gd name="T1" fmla="*/ 128 h 147"/>
                  <a:gd name="T2" fmla="*/ 20 w 93"/>
                  <a:gd name="T3" fmla="*/ 102 h 147"/>
                  <a:gd name="T4" fmla="*/ 20 w 93"/>
                  <a:gd name="T5" fmla="*/ 100 h 147"/>
                  <a:gd name="T6" fmla="*/ 26 w 93"/>
                  <a:gd name="T7" fmla="*/ 86 h 147"/>
                  <a:gd name="T8" fmla="*/ 1 w 93"/>
                  <a:gd name="T9" fmla="*/ 55 h 147"/>
                  <a:gd name="T10" fmla="*/ 7 w 93"/>
                  <a:gd name="T11" fmla="*/ 51 h 147"/>
                  <a:gd name="T12" fmla="*/ 32 w 93"/>
                  <a:gd name="T13" fmla="*/ 71 h 147"/>
                  <a:gd name="T14" fmla="*/ 39 w 93"/>
                  <a:gd name="T15" fmla="*/ 58 h 147"/>
                  <a:gd name="T16" fmla="*/ 20 w 93"/>
                  <a:gd name="T17" fmla="*/ 37 h 147"/>
                  <a:gd name="T18" fmla="*/ 26 w 93"/>
                  <a:gd name="T19" fmla="*/ 28 h 147"/>
                  <a:gd name="T20" fmla="*/ 49 w 93"/>
                  <a:gd name="T21" fmla="*/ 47 h 147"/>
                  <a:gd name="T22" fmla="*/ 53 w 93"/>
                  <a:gd name="T23" fmla="*/ 42 h 147"/>
                  <a:gd name="T24" fmla="*/ 40 w 93"/>
                  <a:gd name="T25" fmla="*/ 22 h 147"/>
                  <a:gd name="T26" fmla="*/ 41 w 93"/>
                  <a:gd name="T27" fmla="*/ 14 h 147"/>
                  <a:gd name="T28" fmla="*/ 53 w 93"/>
                  <a:gd name="T29" fmla="*/ 20 h 147"/>
                  <a:gd name="T30" fmla="*/ 63 w 93"/>
                  <a:gd name="T31" fmla="*/ 34 h 147"/>
                  <a:gd name="T32" fmla="*/ 67 w 93"/>
                  <a:gd name="T33" fmla="*/ 34 h 147"/>
                  <a:gd name="T34" fmla="*/ 73 w 93"/>
                  <a:gd name="T35" fmla="*/ 32 h 147"/>
                  <a:gd name="T36" fmla="*/ 72 w 93"/>
                  <a:gd name="T37" fmla="*/ 25 h 147"/>
                  <a:gd name="T38" fmla="*/ 63 w 93"/>
                  <a:gd name="T39" fmla="*/ 11 h 147"/>
                  <a:gd name="T40" fmla="*/ 63 w 93"/>
                  <a:gd name="T41" fmla="*/ 2 h 147"/>
                  <a:gd name="T42" fmla="*/ 73 w 93"/>
                  <a:gd name="T43" fmla="*/ 4 h 147"/>
                  <a:gd name="T44" fmla="*/ 78 w 93"/>
                  <a:gd name="T45" fmla="*/ 9 h 147"/>
                  <a:gd name="T46" fmla="*/ 86 w 93"/>
                  <a:gd name="T47" fmla="*/ 4 h 147"/>
                  <a:gd name="T48" fmla="*/ 89 w 93"/>
                  <a:gd name="T49" fmla="*/ 18 h 147"/>
                  <a:gd name="T50" fmla="*/ 85 w 93"/>
                  <a:gd name="T51" fmla="*/ 41 h 147"/>
                  <a:gd name="T52" fmla="*/ 84 w 93"/>
                  <a:gd name="T53" fmla="*/ 52 h 147"/>
                  <a:gd name="T54" fmla="*/ 79 w 93"/>
                  <a:gd name="T55" fmla="*/ 61 h 147"/>
                  <a:gd name="T56" fmla="*/ 58 w 93"/>
                  <a:gd name="T57" fmla="*/ 99 h 147"/>
                  <a:gd name="T58" fmla="*/ 58 w 93"/>
                  <a:gd name="T59" fmla="*/ 124 h 147"/>
                  <a:gd name="T60" fmla="*/ 54 w 93"/>
                  <a:gd name="T61" fmla="*/ 140 h 147"/>
                  <a:gd name="T62" fmla="*/ 38 w 93"/>
                  <a:gd name="T63" fmla="*/ 145 h 147"/>
                  <a:gd name="T64" fmla="*/ 19 w 93"/>
                  <a:gd name="T65" fmla="*/ 12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3" h="147">
                    <a:moveTo>
                      <a:pt x="19" y="128"/>
                    </a:moveTo>
                    <a:cubicBezTo>
                      <a:pt x="20" y="102"/>
                      <a:pt x="20" y="102"/>
                      <a:pt x="20" y="102"/>
                    </a:cubicBezTo>
                    <a:cubicBezTo>
                      <a:pt x="20" y="101"/>
                      <a:pt x="20" y="101"/>
                      <a:pt x="20" y="100"/>
                    </a:cubicBezTo>
                    <a:cubicBezTo>
                      <a:pt x="26" y="86"/>
                      <a:pt x="26" y="86"/>
                      <a:pt x="26" y="86"/>
                    </a:cubicBezTo>
                    <a:cubicBezTo>
                      <a:pt x="26" y="86"/>
                      <a:pt x="2" y="58"/>
                      <a:pt x="1" y="55"/>
                    </a:cubicBezTo>
                    <a:cubicBezTo>
                      <a:pt x="0" y="52"/>
                      <a:pt x="1" y="48"/>
                      <a:pt x="7" y="51"/>
                    </a:cubicBezTo>
                    <a:cubicBezTo>
                      <a:pt x="13" y="53"/>
                      <a:pt x="32" y="71"/>
                      <a:pt x="32" y="71"/>
                    </a:cubicBezTo>
                    <a:cubicBezTo>
                      <a:pt x="39" y="58"/>
                      <a:pt x="39" y="58"/>
                      <a:pt x="39" y="58"/>
                    </a:cubicBezTo>
                    <a:cubicBezTo>
                      <a:pt x="39" y="58"/>
                      <a:pt x="22" y="39"/>
                      <a:pt x="20" y="37"/>
                    </a:cubicBezTo>
                    <a:cubicBezTo>
                      <a:pt x="18" y="35"/>
                      <a:pt x="19" y="25"/>
                      <a:pt x="26" y="28"/>
                    </a:cubicBezTo>
                    <a:cubicBezTo>
                      <a:pt x="32" y="32"/>
                      <a:pt x="49" y="47"/>
                      <a:pt x="49" y="47"/>
                    </a:cubicBezTo>
                    <a:cubicBezTo>
                      <a:pt x="53" y="42"/>
                      <a:pt x="53" y="42"/>
                      <a:pt x="53" y="4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2"/>
                      <a:pt x="36" y="15"/>
                      <a:pt x="41" y="14"/>
                    </a:cubicBezTo>
                    <a:cubicBezTo>
                      <a:pt x="47" y="12"/>
                      <a:pt x="49" y="15"/>
                      <a:pt x="53" y="20"/>
                    </a:cubicBezTo>
                    <a:cubicBezTo>
                      <a:pt x="57" y="24"/>
                      <a:pt x="63" y="34"/>
                      <a:pt x="63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25"/>
                      <a:pt x="72" y="25"/>
                      <a:pt x="72" y="25"/>
                    </a:cubicBezTo>
                    <a:cubicBezTo>
                      <a:pt x="72" y="25"/>
                      <a:pt x="64" y="14"/>
                      <a:pt x="63" y="11"/>
                    </a:cubicBezTo>
                    <a:cubicBezTo>
                      <a:pt x="62" y="9"/>
                      <a:pt x="59" y="4"/>
                      <a:pt x="63" y="2"/>
                    </a:cubicBezTo>
                    <a:cubicBezTo>
                      <a:pt x="68" y="0"/>
                      <a:pt x="71" y="0"/>
                      <a:pt x="73" y="4"/>
                    </a:cubicBezTo>
                    <a:cubicBezTo>
                      <a:pt x="74" y="7"/>
                      <a:pt x="78" y="9"/>
                      <a:pt x="78" y="9"/>
                    </a:cubicBezTo>
                    <a:cubicBezTo>
                      <a:pt x="78" y="9"/>
                      <a:pt x="83" y="5"/>
                      <a:pt x="86" y="4"/>
                    </a:cubicBezTo>
                    <a:cubicBezTo>
                      <a:pt x="89" y="3"/>
                      <a:pt x="93" y="7"/>
                      <a:pt x="89" y="18"/>
                    </a:cubicBezTo>
                    <a:cubicBezTo>
                      <a:pt x="89" y="20"/>
                      <a:pt x="85" y="41"/>
                      <a:pt x="85" y="41"/>
                    </a:cubicBezTo>
                    <a:cubicBezTo>
                      <a:pt x="84" y="52"/>
                      <a:pt x="84" y="52"/>
                      <a:pt x="84" y="52"/>
                    </a:cubicBezTo>
                    <a:cubicBezTo>
                      <a:pt x="79" y="61"/>
                      <a:pt x="79" y="61"/>
                      <a:pt x="79" y="61"/>
                    </a:cubicBezTo>
                    <a:cubicBezTo>
                      <a:pt x="58" y="99"/>
                      <a:pt x="58" y="99"/>
                      <a:pt x="58" y="99"/>
                    </a:cubicBezTo>
                    <a:cubicBezTo>
                      <a:pt x="58" y="124"/>
                      <a:pt x="58" y="124"/>
                      <a:pt x="58" y="124"/>
                    </a:cubicBezTo>
                    <a:cubicBezTo>
                      <a:pt x="58" y="129"/>
                      <a:pt x="58" y="136"/>
                      <a:pt x="54" y="140"/>
                    </a:cubicBezTo>
                    <a:cubicBezTo>
                      <a:pt x="51" y="144"/>
                      <a:pt x="45" y="147"/>
                      <a:pt x="38" y="145"/>
                    </a:cubicBezTo>
                    <a:cubicBezTo>
                      <a:pt x="24" y="140"/>
                      <a:pt x="19" y="128"/>
                      <a:pt x="19" y="128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Freeform 162">
                <a:extLst>
                  <a:ext uri="{FF2B5EF4-FFF2-40B4-BE49-F238E27FC236}">
                    <a16:creationId xmlns:a16="http://schemas.microsoft.com/office/drawing/2014/main" id="{3B7C3248-7EF2-425D-8B10-6C8918F0D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2" y="821"/>
                <a:ext cx="48" cy="73"/>
              </a:xfrm>
              <a:custGeom>
                <a:avLst/>
                <a:gdLst>
                  <a:gd name="T0" fmla="*/ 19 w 20"/>
                  <a:gd name="T1" fmla="*/ 31 h 31"/>
                  <a:gd name="T2" fmla="*/ 18 w 20"/>
                  <a:gd name="T3" fmla="*/ 25 h 31"/>
                  <a:gd name="T4" fmla="*/ 16 w 20"/>
                  <a:gd name="T5" fmla="*/ 19 h 31"/>
                  <a:gd name="T6" fmla="*/ 15 w 20"/>
                  <a:gd name="T7" fmla="*/ 16 h 31"/>
                  <a:gd name="T8" fmla="*/ 15 w 20"/>
                  <a:gd name="T9" fmla="*/ 15 h 31"/>
                  <a:gd name="T10" fmla="*/ 15 w 20"/>
                  <a:gd name="T11" fmla="*/ 15 h 31"/>
                  <a:gd name="T12" fmla="*/ 15 w 20"/>
                  <a:gd name="T13" fmla="*/ 14 h 31"/>
                  <a:gd name="T14" fmla="*/ 16 w 20"/>
                  <a:gd name="T15" fmla="*/ 14 h 31"/>
                  <a:gd name="T16" fmla="*/ 17 w 20"/>
                  <a:gd name="T17" fmla="*/ 14 h 31"/>
                  <a:gd name="T18" fmla="*/ 17 w 20"/>
                  <a:gd name="T19" fmla="*/ 14 h 31"/>
                  <a:gd name="T20" fmla="*/ 17 w 20"/>
                  <a:gd name="T21" fmla="*/ 14 h 31"/>
                  <a:gd name="T22" fmla="*/ 17 w 20"/>
                  <a:gd name="T23" fmla="*/ 15 h 31"/>
                  <a:gd name="T24" fmla="*/ 17 w 20"/>
                  <a:gd name="T25" fmla="*/ 15 h 31"/>
                  <a:gd name="T26" fmla="*/ 17 w 20"/>
                  <a:gd name="T27" fmla="*/ 16 h 31"/>
                  <a:gd name="T28" fmla="*/ 17 w 20"/>
                  <a:gd name="T29" fmla="*/ 16 h 31"/>
                  <a:gd name="T30" fmla="*/ 17 w 20"/>
                  <a:gd name="T31" fmla="*/ 17 h 31"/>
                  <a:gd name="T32" fmla="*/ 16 w 20"/>
                  <a:gd name="T33" fmla="*/ 16 h 31"/>
                  <a:gd name="T34" fmla="*/ 16 w 20"/>
                  <a:gd name="T35" fmla="*/ 16 h 31"/>
                  <a:gd name="T36" fmla="*/ 16 w 20"/>
                  <a:gd name="T37" fmla="*/ 16 h 31"/>
                  <a:gd name="T38" fmla="*/ 15 w 20"/>
                  <a:gd name="T39" fmla="*/ 16 h 31"/>
                  <a:gd name="T40" fmla="*/ 15 w 20"/>
                  <a:gd name="T41" fmla="*/ 16 h 31"/>
                  <a:gd name="T42" fmla="*/ 15 w 20"/>
                  <a:gd name="T43" fmla="*/ 15 h 31"/>
                  <a:gd name="T44" fmla="*/ 14 w 20"/>
                  <a:gd name="T45" fmla="*/ 14 h 31"/>
                  <a:gd name="T46" fmla="*/ 4 w 20"/>
                  <a:gd name="T47" fmla="*/ 4 h 31"/>
                  <a:gd name="T48" fmla="*/ 0 w 20"/>
                  <a:gd name="T49" fmla="*/ 0 h 31"/>
                  <a:gd name="T50" fmla="*/ 5 w 20"/>
                  <a:gd name="T51" fmla="*/ 3 h 31"/>
                  <a:gd name="T52" fmla="*/ 16 w 20"/>
                  <a:gd name="T53" fmla="*/ 13 h 31"/>
                  <a:gd name="T54" fmla="*/ 17 w 20"/>
                  <a:gd name="T55" fmla="*/ 14 h 31"/>
                  <a:gd name="T56" fmla="*/ 17 w 20"/>
                  <a:gd name="T57" fmla="*/ 15 h 31"/>
                  <a:gd name="T58" fmla="*/ 17 w 20"/>
                  <a:gd name="T59" fmla="*/ 15 h 31"/>
                  <a:gd name="T60" fmla="*/ 17 w 20"/>
                  <a:gd name="T61" fmla="*/ 15 h 31"/>
                  <a:gd name="T62" fmla="*/ 16 w 20"/>
                  <a:gd name="T63" fmla="*/ 16 h 31"/>
                  <a:gd name="T64" fmla="*/ 15 w 20"/>
                  <a:gd name="T65" fmla="*/ 16 h 31"/>
                  <a:gd name="T66" fmla="*/ 15 w 20"/>
                  <a:gd name="T67" fmla="*/ 15 h 31"/>
                  <a:gd name="T68" fmla="*/ 15 w 20"/>
                  <a:gd name="T69" fmla="*/ 15 h 31"/>
                  <a:gd name="T70" fmla="*/ 16 w 20"/>
                  <a:gd name="T71" fmla="*/ 15 h 31"/>
                  <a:gd name="T72" fmla="*/ 16 w 20"/>
                  <a:gd name="T73" fmla="*/ 15 h 31"/>
                  <a:gd name="T74" fmla="*/ 17 w 20"/>
                  <a:gd name="T75" fmla="*/ 15 h 31"/>
                  <a:gd name="T76" fmla="*/ 17 w 20"/>
                  <a:gd name="T77" fmla="*/ 15 h 31"/>
                  <a:gd name="T78" fmla="*/ 17 w 20"/>
                  <a:gd name="T79" fmla="*/ 15 h 31"/>
                  <a:gd name="T80" fmla="*/ 17 w 20"/>
                  <a:gd name="T81" fmla="*/ 15 h 31"/>
                  <a:gd name="T82" fmla="*/ 18 w 20"/>
                  <a:gd name="T83" fmla="*/ 19 h 31"/>
                  <a:gd name="T84" fmla="*/ 19 w 20"/>
                  <a:gd name="T85" fmla="*/ 25 h 31"/>
                  <a:gd name="T86" fmla="*/ 19 w 20"/>
                  <a:gd name="T8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" h="31">
                    <a:moveTo>
                      <a:pt x="19" y="31"/>
                    </a:moveTo>
                    <a:cubicBezTo>
                      <a:pt x="19" y="31"/>
                      <a:pt x="19" y="29"/>
                      <a:pt x="18" y="25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6" y="18"/>
                      <a:pt x="16" y="17"/>
                      <a:pt x="15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6" y="14"/>
                      <a:pt x="16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6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7" y="16"/>
                      <a:pt x="17" y="16"/>
                      <a:pt x="17" y="17"/>
                    </a:cubicBezTo>
                    <a:cubicBezTo>
                      <a:pt x="16" y="17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4" y="14"/>
                      <a:pt x="14" y="14"/>
                    </a:cubicBezTo>
                    <a:cubicBezTo>
                      <a:pt x="11" y="10"/>
                      <a:pt x="7" y="7"/>
                      <a:pt x="4" y="4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3"/>
                    </a:cubicBezTo>
                    <a:cubicBezTo>
                      <a:pt x="8" y="5"/>
                      <a:pt x="12" y="8"/>
                      <a:pt x="16" y="13"/>
                    </a:cubicBezTo>
                    <a:cubicBezTo>
                      <a:pt x="16" y="13"/>
                      <a:pt x="17" y="14"/>
                      <a:pt x="17" y="14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8" y="16"/>
                      <a:pt x="18" y="18"/>
                      <a:pt x="18" y="19"/>
                    </a:cubicBezTo>
                    <a:cubicBezTo>
                      <a:pt x="19" y="21"/>
                      <a:pt x="19" y="23"/>
                      <a:pt x="19" y="25"/>
                    </a:cubicBezTo>
                    <a:cubicBezTo>
                      <a:pt x="20" y="29"/>
                      <a:pt x="20" y="31"/>
                      <a:pt x="19" y="3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163">
                <a:extLst>
                  <a:ext uri="{FF2B5EF4-FFF2-40B4-BE49-F238E27FC236}">
                    <a16:creationId xmlns:a16="http://schemas.microsoft.com/office/drawing/2014/main" id="{E455D328-4D05-4EED-977B-B7F4B5316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" y="806"/>
                <a:ext cx="23" cy="57"/>
              </a:xfrm>
              <a:custGeom>
                <a:avLst/>
                <a:gdLst>
                  <a:gd name="T0" fmla="*/ 8 w 10"/>
                  <a:gd name="T1" fmla="*/ 24 h 24"/>
                  <a:gd name="T2" fmla="*/ 6 w 10"/>
                  <a:gd name="T3" fmla="*/ 12 h 24"/>
                  <a:gd name="T4" fmla="*/ 0 w 10"/>
                  <a:gd name="T5" fmla="*/ 0 h 24"/>
                  <a:gd name="T6" fmla="*/ 8 w 10"/>
                  <a:gd name="T7" fmla="*/ 11 h 24"/>
                  <a:gd name="T8" fmla="*/ 9 w 10"/>
                  <a:gd name="T9" fmla="*/ 20 h 24"/>
                  <a:gd name="T10" fmla="*/ 8 w 10"/>
                  <a:gd name="T1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8" y="24"/>
                    </a:moveTo>
                    <a:cubicBezTo>
                      <a:pt x="7" y="24"/>
                      <a:pt x="9" y="18"/>
                      <a:pt x="6" y="12"/>
                    </a:cubicBezTo>
                    <a:cubicBezTo>
                      <a:pt x="4" y="5"/>
                      <a:pt x="0" y="1"/>
                      <a:pt x="0" y="0"/>
                    </a:cubicBezTo>
                    <a:cubicBezTo>
                      <a:pt x="1" y="0"/>
                      <a:pt x="6" y="4"/>
                      <a:pt x="8" y="11"/>
                    </a:cubicBezTo>
                    <a:cubicBezTo>
                      <a:pt x="10" y="14"/>
                      <a:pt x="10" y="18"/>
                      <a:pt x="9" y="20"/>
                    </a:cubicBezTo>
                    <a:cubicBezTo>
                      <a:pt x="9" y="23"/>
                      <a:pt x="8" y="24"/>
                      <a:pt x="8" y="2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164">
                <a:extLst>
                  <a:ext uri="{FF2B5EF4-FFF2-40B4-BE49-F238E27FC236}">
                    <a16:creationId xmlns:a16="http://schemas.microsoft.com/office/drawing/2014/main" id="{7234B340-3768-4067-AD78-9058D4415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" y="906"/>
                <a:ext cx="45" cy="52"/>
              </a:xfrm>
              <a:custGeom>
                <a:avLst/>
                <a:gdLst>
                  <a:gd name="T0" fmla="*/ 18 w 19"/>
                  <a:gd name="T1" fmla="*/ 22 h 22"/>
                  <a:gd name="T2" fmla="*/ 8 w 19"/>
                  <a:gd name="T3" fmla="*/ 12 h 22"/>
                  <a:gd name="T4" fmla="*/ 0 w 19"/>
                  <a:gd name="T5" fmla="*/ 1 h 22"/>
                  <a:gd name="T6" fmla="*/ 10 w 19"/>
                  <a:gd name="T7" fmla="*/ 11 h 22"/>
                  <a:gd name="T8" fmla="*/ 18 w 19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2">
                    <a:moveTo>
                      <a:pt x="18" y="22"/>
                    </a:moveTo>
                    <a:cubicBezTo>
                      <a:pt x="18" y="22"/>
                      <a:pt x="14" y="18"/>
                      <a:pt x="8" y="12"/>
                    </a:cubicBezTo>
                    <a:cubicBezTo>
                      <a:pt x="3" y="6"/>
                      <a:pt x="0" y="1"/>
                      <a:pt x="0" y="1"/>
                    </a:cubicBezTo>
                    <a:cubicBezTo>
                      <a:pt x="1" y="0"/>
                      <a:pt x="5" y="5"/>
                      <a:pt x="10" y="11"/>
                    </a:cubicBezTo>
                    <a:cubicBezTo>
                      <a:pt x="15" y="16"/>
                      <a:pt x="19" y="22"/>
                      <a:pt x="18" y="22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165">
                <a:extLst>
                  <a:ext uri="{FF2B5EF4-FFF2-40B4-BE49-F238E27FC236}">
                    <a16:creationId xmlns:a16="http://schemas.microsoft.com/office/drawing/2014/main" id="{7408DFEC-FD0A-4005-81C4-26AC5B02B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9" y="885"/>
                <a:ext cx="47" cy="45"/>
              </a:xfrm>
              <a:custGeom>
                <a:avLst/>
                <a:gdLst>
                  <a:gd name="T0" fmla="*/ 19 w 20"/>
                  <a:gd name="T1" fmla="*/ 18 h 19"/>
                  <a:gd name="T2" fmla="*/ 9 w 20"/>
                  <a:gd name="T3" fmla="*/ 10 h 19"/>
                  <a:gd name="T4" fmla="*/ 1 w 20"/>
                  <a:gd name="T5" fmla="*/ 0 h 19"/>
                  <a:gd name="T6" fmla="*/ 11 w 20"/>
                  <a:gd name="T7" fmla="*/ 9 h 19"/>
                  <a:gd name="T8" fmla="*/ 19 w 20"/>
                  <a:gd name="T9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9">
                    <a:moveTo>
                      <a:pt x="19" y="18"/>
                    </a:moveTo>
                    <a:cubicBezTo>
                      <a:pt x="19" y="19"/>
                      <a:pt x="14" y="15"/>
                      <a:pt x="9" y="10"/>
                    </a:cubicBezTo>
                    <a:cubicBezTo>
                      <a:pt x="4" y="5"/>
                      <a:pt x="0" y="1"/>
                      <a:pt x="1" y="0"/>
                    </a:cubicBezTo>
                    <a:cubicBezTo>
                      <a:pt x="1" y="0"/>
                      <a:pt x="6" y="4"/>
                      <a:pt x="11" y="9"/>
                    </a:cubicBezTo>
                    <a:cubicBezTo>
                      <a:pt x="16" y="14"/>
                      <a:pt x="20" y="18"/>
                      <a:pt x="19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166">
                <a:extLst>
                  <a:ext uri="{FF2B5EF4-FFF2-40B4-BE49-F238E27FC236}">
                    <a16:creationId xmlns:a16="http://schemas.microsoft.com/office/drawing/2014/main" id="{F253D992-D317-4D02-B592-EF1370DAE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" y="935"/>
                <a:ext cx="21" cy="80"/>
              </a:xfrm>
              <a:custGeom>
                <a:avLst/>
                <a:gdLst>
                  <a:gd name="T0" fmla="*/ 9 w 9"/>
                  <a:gd name="T1" fmla="*/ 34 h 34"/>
                  <a:gd name="T2" fmla="*/ 4 w 9"/>
                  <a:gd name="T3" fmla="*/ 31 h 34"/>
                  <a:gd name="T4" fmla="*/ 0 w 9"/>
                  <a:gd name="T5" fmla="*/ 18 h 34"/>
                  <a:gd name="T6" fmla="*/ 2 w 9"/>
                  <a:gd name="T7" fmla="*/ 10 h 34"/>
                  <a:gd name="T8" fmla="*/ 5 w 9"/>
                  <a:gd name="T9" fmla="*/ 5 h 34"/>
                  <a:gd name="T10" fmla="*/ 7 w 9"/>
                  <a:gd name="T11" fmla="*/ 0 h 34"/>
                  <a:gd name="T12" fmla="*/ 6 w 9"/>
                  <a:gd name="T13" fmla="*/ 6 h 34"/>
                  <a:gd name="T14" fmla="*/ 2 w 9"/>
                  <a:gd name="T15" fmla="*/ 18 h 34"/>
                  <a:gd name="T16" fmla="*/ 5 w 9"/>
                  <a:gd name="T17" fmla="*/ 30 h 34"/>
                  <a:gd name="T18" fmla="*/ 9 w 9"/>
                  <a:gd name="T1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4">
                    <a:moveTo>
                      <a:pt x="9" y="34"/>
                    </a:moveTo>
                    <a:cubicBezTo>
                      <a:pt x="9" y="34"/>
                      <a:pt x="7" y="33"/>
                      <a:pt x="4" y="31"/>
                    </a:cubicBezTo>
                    <a:cubicBezTo>
                      <a:pt x="2" y="28"/>
                      <a:pt x="0" y="23"/>
                      <a:pt x="0" y="18"/>
                    </a:cubicBezTo>
                    <a:cubicBezTo>
                      <a:pt x="0" y="15"/>
                      <a:pt x="1" y="13"/>
                      <a:pt x="2" y="10"/>
                    </a:cubicBezTo>
                    <a:cubicBezTo>
                      <a:pt x="3" y="8"/>
                      <a:pt x="4" y="7"/>
                      <a:pt x="5" y="5"/>
                    </a:cubicBezTo>
                    <a:cubicBezTo>
                      <a:pt x="7" y="3"/>
                      <a:pt x="7" y="0"/>
                      <a:pt x="7" y="0"/>
                    </a:cubicBezTo>
                    <a:cubicBezTo>
                      <a:pt x="7" y="0"/>
                      <a:pt x="8" y="3"/>
                      <a:pt x="6" y="6"/>
                    </a:cubicBezTo>
                    <a:cubicBezTo>
                      <a:pt x="5" y="9"/>
                      <a:pt x="2" y="13"/>
                      <a:pt x="2" y="18"/>
                    </a:cubicBezTo>
                    <a:cubicBezTo>
                      <a:pt x="2" y="23"/>
                      <a:pt x="4" y="27"/>
                      <a:pt x="5" y="30"/>
                    </a:cubicBezTo>
                    <a:cubicBezTo>
                      <a:pt x="7" y="33"/>
                      <a:pt x="9" y="34"/>
                      <a:pt x="9" y="3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167">
                <a:extLst>
                  <a:ext uri="{FF2B5EF4-FFF2-40B4-BE49-F238E27FC236}">
                    <a16:creationId xmlns:a16="http://schemas.microsoft.com/office/drawing/2014/main" id="{EDD5481D-0F7E-4CB7-A727-DAB12493E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3" y="966"/>
                <a:ext cx="57" cy="64"/>
              </a:xfrm>
              <a:custGeom>
                <a:avLst/>
                <a:gdLst>
                  <a:gd name="T0" fmla="*/ 24 w 24"/>
                  <a:gd name="T1" fmla="*/ 1 h 27"/>
                  <a:gd name="T2" fmla="*/ 15 w 24"/>
                  <a:gd name="T3" fmla="*/ 17 h 27"/>
                  <a:gd name="T4" fmla="*/ 10 w 24"/>
                  <a:gd name="T5" fmla="*/ 22 h 27"/>
                  <a:gd name="T6" fmla="*/ 5 w 24"/>
                  <a:gd name="T7" fmla="*/ 25 h 27"/>
                  <a:gd name="T8" fmla="*/ 0 w 24"/>
                  <a:gd name="T9" fmla="*/ 26 h 27"/>
                  <a:gd name="T10" fmla="*/ 5 w 24"/>
                  <a:gd name="T11" fmla="*/ 24 h 27"/>
                  <a:gd name="T12" fmla="*/ 13 w 24"/>
                  <a:gd name="T13" fmla="*/ 15 h 27"/>
                  <a:gd name="T14" fmla="*/ 24 w 24"/>
                  <a:gd name="T1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27">
                    <a:moveTo>
                      <a:pt x="24" y="1"/>
                    </a:moveTo>
                    <a:cubicBezTo>
                      <a:pt x="24" y="1"/>
                      <a:pt x="20" y="8"/>
                      <a:pt x="15" y="17"/>
                    </a:cubicBezTo>
                    <a:cubicBezTo>
                      <a:pt x="14" y="19"/>
                      <a:pt x="12" y="21"/>
                      <a:pt x="10" y="22"/>
                    </a:cubicBezTo>
                    <a:cubicBezTo>
                      <a:pt x="9" y="24"/>
                      <a:pt x="7" y="25"/>
                      <a:pt x="5" y="25"/>
                    </a:cubicBezTo>
                    <a:cubicBezTo>
                      <a:pt x="2" y="27"/>
                      <a:pt x="0" y="26"/>
                      <a:pt x="0" y="26"/>
                    </a:cubicBezTo>
                    <a:cubicBezTo>
                      <a:pt x="0" y="25"/>
                      <a:pt x="2" y="26"/>
                      <a:pt x="5" y="24"/>
                    </a:cubicBezTo>
                    <a:cubicBezTo>
                      <a:pt x="8" y="23"/>
                      <a:pt x="11" y="20"/>
                      <a:pt x="13" y="15"/>
                    </a:cubicBezTo>
                    <a:cubicBezTo>
                      <a:pt x="18" y="7"/>
                      <a:pt x="23" y="0"/>
                      <a:pt x="24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168">
                <a:extLst>
                  <a:ext uri="{FF2B5EF4-FFF2-40B4-BE49-F238E27FC236}">
                    <a16:creationId xmlns:a16="http://schemas.microsoft.com/office/drawing/2014/main" id="{34D2BE8A-2EDF-4B7A-A3D1-448E35842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" y="749"/>
                <a:ext cx="28" cy="72"/>
              </a:xfrm>
              <a:custGeom>
                <a:avLst/>
                <a:gdLst>
                  <a:gd name="T0" fmla="*/ 11 w 12"/>
                  <a:gd name="T1" fmla="*/ 30 h 30"/>
                  <a:gd name="T2" fmla="*/ 10 w 12"/>
                  <a:gd name="T3" fmla="*/ 19 h 30"/>
                  <a:gd name="T4" fmla="*/ 11 w 12"/>
                  <a:gd name="T5" fmla="*/ 20 h 30"/>
                  <a:gd name="T6" fmla="*/ 8 w 12"/>
                  <a:gd name="T7" fmla="*/ 15 h 30"/>
                  <a:gd name="T8" fmla="*/ 2 w 12"/>
                  <a:gd name="T9" fmla="*/ 5 h 30"/>
                  <a:gd name="T10" fmla="*/ 0 w 12"/>
                  <a:gd name="T11" fmla="*/ 1 h 30"/>
                  <a:gd name="T12" fmla="*/ 4 w 12"/>
                  <a:gd name="T13" fmla="*/ 4 h 30"/>
                  <a:gd name="T14" fmla="*/ 9 w 12"/>
                  <a:gd name="T15" fmla="*/ 14 h 30"/>
                  <a:gd name="T16" fmla="*/ 12 w 12"/>
                  <a:gd name="T17" fmla="*/ 19 h 30"/>
                  <a:gd name="T18" fmla="*/ 12 w 12"/>
                  <a:gd name="T19" fmla="*/ 19 h 30"/>
                  <a:gd name="T20" fmla="*/ 12 w 12"/>
                  <a:gd name="T21" fmla="*/ 19 h 30"/>
                  <a:gd name="T22" fmla="*/ 11 w 12"/>
                  <a:gd name="T2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30">
                    <a:moveTo>
                      <a:pt x="11" y="30"/>
                    </a:moveTo>
                    <a:cubicBezTo>
                      <a:pt x="11" y="30"/>
                      <a:pt x="11" y="26"/>
                      <a:pt x="10" y="19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0" y="19"/>
                      <a:pt x="9" y="17"/>
                      <a:pt x="8" y="15"/>
                    </a:cubicBezTo>
                    <a:cubicBezTo>
                      <a:pt x="5" y="11"/>
                      <a:pt x="4" y="8"/>
                      <a:pt x="2" y="5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2"/>
                      <a:pt x="4" y="4"/>
                    </a:cubicBezTo>
                    <a:cubicBezTo>
                      <a:pt x="5" y="7"/>
                      <a:pt x="7" y="10"/>
                      <a:pt x="9" y="14"/>
                    </a:cubicBezTo>
                    <a:cubicBezTo>
                      <a:pt x="10" y="16"/>
                      <a:pt x="11" y="17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6"/>
                      <a:pt x="12" y="30"/>
                      <a:pt x="11" y="3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169">
                <a:extLst>
                  <a:ext uri="{FF2B5EF4-FFF2-40B4-BE49-F238E27FC236}">
                    <a16:creationId xmlns:a16="http://schemas.microsoft.com/office/drawing/2014/main" id="{019F3112-BDC3-44F5-8B5C-8CEFBF49D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" y="742"/>
                <a:ext cx="36" cy="117"/>
              </a:xfrm>
              <a:custGeom>
                <a:avLst/>
                <a:gdLst>
                  <a:gd name="T0" fmla="*/ 10 w 15"/>
                  <a:gd name="T1" fmla="*/ 49 h 49"/>
                  <a:gd name="T2" fmla="*/ 10 w 15"/>
                  <a:gd name="T3" fmla="*/ 45 h 49"/>
                  <a:gd name="T4" fmla="*/ 11 w 15"/>
                  <a:gd name="T5" fmla="*/ 33 h 49"/>
                  <a:gd name="T6" fmla="*/ 11 w 15"/>
                  <a:gd name="T7" fmla="*/ 33 h 49"/>
                  <a:gd name="T8" fmla="*/ 11 w 15"/>
                  <a:gd name="T9" fmla="*/ 33 h 49"/>
                  <a:gd name="T10" fmla="*/ 13 w 15"/>
                  <a:gd name="T11" fmla="*/ 22 h 49"/>
                  <a:gd name="T12" fmla="*/ 13 w 15"/>
                  <a:gd name="T13" fmla="*/ 21 h 49"/>
                  <a:gd name="T14" fmla="*/ 13 w 15"/>
                  <a:gd name="T15" fmla="*/ 22 h 49"/>
                  <a:gd name="T16" fmla="*/ 9 w 15"/>
                  <a:gd name="T17" fmla="*/ 13 h 49"/>
                  <a:gd name="T18" fmla="*/ 4 w 15"/>
                  <a:gd name="T19" fmla="*/ 7 h 49"/>
                  <a:gd name="T20" fmla="*/ 0 w 15"/>
                  <a:gd name="T21" fmla="*/ 0 h 49"/>
                  <a:gd name="T22" fmla="*/ 5 w 15"/>
                  <a:gd name="T23" fmla="*/ 6 h 49"/>
                  <a:gd name="T24" fmla="*/ 10 w 15"/>
                  <a:gd name="T25" fmla="*/ 12 h 49"/>
                  <a:gd name="T26" fmla="*/ 13 w 15"/>
                  <a:gd name="T27" fmla="*/ 16 h 49"/>
                  <a:gd name="T28" fmla="*/ 15 w 15"/>
                  <a:gd name="T29" fmla="*/ 22 h 49"/>
                  <a:gd name="T30" fmla="*/ 15 w 15"/>
                  <a:gd name="T31" fmla="*/ 22 h 49"/>
                  <a:gd name="T32" fmla="*/ 15 w 15"/>
                  <a:gd name="T33" fmla="*/ 22 h 49"/>
                  <a:gd name="T34" fmla="*/ 15 w 15"/>
                  <a:gd name="T35" fmla="*/ 23 h 49"/>
                  <a:gd name="T36" fmla="*/ 12 w 15"/>
                  <a:gd name="T37" fmla="*/ 33 h 49"/>
                  <a:gd name="T38" fmla="*/ 13 w 15"/>
                  <a:gd name="T39" fmla="*/ 33 h 49"/>
                  <a:gd name="T40" fmla="*/ 12 w 15"/>
                  <a:gd name="T41" fmla="*/ 45 h 49"/>
                  <a:gd name="T42" fmla="*/ 10 w 15"/>
                  <a:gd name="T4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" h="49">
                    <a:moveTo>
                      <a:pt x="10" y="49"/>
                    </a:moveTo>
                    <a:cubicBezTo>
                      <a:pt x="10" y="49"/>
                      <a:pt x="10" y="47"/>
                      <a:pt x="10" y="45"/>
                    </a:cubicBezTo>
                    <a:cubicBezTo>
                      <a:pt x="11" y="42"/>
                      <a:pt x="11" y="38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1" y="30"/>
                      <a:pt x="12" y="26"/>
                      <a:pt x="13" y="2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19"/>
                      <a:pt x="11" y="16"/>
                      <a:pt x="9" y="13"/>
                    </a:cubicBezTo>
                    <a:cubicBezTo>
                      <a:pt x="7" y="11"/>
                      <a:pt x="6" y="9"/>
                      <a:pt x="4" y="7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0" y="0"/>
                      <a:pt x="2" y="2"/>
                      <a:pt x="5" y="6"/>
                    </a:cubicBezTo>
                    <a:cubicBezTo>
                      <a:pt x="7" y="8"/>
                      <a:pt x="8" y="10"/>
                      <a:pt x="10" y="12"/>
                    </a:cubicBezTo>
                    <a:cubicBezTo>
                      <a:pt x="11" y="13"/>
                      <a:pt x="12" y="15"/>
                      <a:pt x="13" y="16"/>
                    </a:cubicBezTo>
                    <a:cubicBezTo>
                      <a:pt x="14" y="18"/>
                      <a:pt x="15" y="20"/>
                      <a:pt x="15" y="22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4" y="26"/>
                      <a:pt x="13" y="30"/>
                      <a:pt x="12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2" y="38"/>
                      <a:pt x="12" y="42"/>
                      <a:pt x="12" y="45"/>
                    </a:cubicBezTo>
                    <a:cubicBezTo>
                      <a:pt x="11" y="47"/>
                      <a:pt x="10" y="49"/>
                      <a:pt x="10" y="49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170">
                <a:extLst>
                  <a:ext uri="{FF2B5EF4-FFF2-40B4-BE49-F238E27FC236}">
                    <a16:creationId xmlns:a16="http://schemas.microsoft.com/office/drawing/2014/main" id="{443A253A-A846-442B-BD71-099D7804B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4" y="868"/>
                <a:ext cx="10" cy="43"/>
              </a:xfrm>
              <a:custGeom>
                <a:avLst/>
                <a:gdLst>
                  <a:gd name="T0" fmla="*/ 2 w 4"/>
                  <a:gd name="T1" fmla="*/ 17 h 18"/>
                  <a:gd name="T2" fmla="*/ 2 w 4"/>
                  <a:gd name="T3" fmla="*/ 9 h 18"/>
                  <a:gd name="T4" fmla="*/ 0 w 4"/>
                  <a:gd name="T5" fmla="*/ 0 h 18"/>
                  <a:gd name="T6" fmla="*/ 4 w 4"/>
                  <a:gd name="T7" fmla="*/ 9 h 18"/>
                  <a:gd name="T8" fmla="*/ 2 w 4"/>
                  <a:gd name="T9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8">
                    <a:moveTo>
                      <a:pt x="2" y="17"/>
                    </a:moveTo>
                    <a:cubicBezTo>
                      <a:pt x="1" y="17"/>
                      <a:pt x="2" y="13"/>
                      <a:pt x="2" y="9"/>
                    </a:cubicBezTo>
                    <a:cubicBezTo>
                      <a:pt x="1" y="4"/>
                      <a:pt x="0" y="1"/>
                      <a:pt x="0" y="0"/>
                    </a:cubicBezTo>
                    <a:cubicBezTo>
                      <a:pt x="1" y="0"/>
                      <a:pt x="3" y="4"/>
                      <a:pt x="4" y="9"/>
                    </a:cubicBezTo>
                    <a:cubicBezTo>
                      <a:pt x="4" y="14"/>
                      <a:pt x="3" y="18"/>
                      <a:pt x="2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71">
                <a:extLst>
                  <a:ext uri="{FF2B5EF4-FFF2-40B4-BE49-F238E27FC236}">
                    <a16:creationId xmlns:a16="http://schemas.microsoft.com/office/drawing/2014/main" id="{D2803FA6-69DB-4838-895A-E0087B9EA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5" y="833"/>
                <a:ext cx="15" cy="42"/>
              </a:xfrm>
              <a:custGeom>
                <a:avLst/>
                <a:gdLst>
                  <a:gd name="T0" fmla="*/ 5 w 6"/>
                  <a:gd name="T1" fmla="*/ 18 h 18"/>
                  <a:gd name="T2" fmla="*/ 3 w 6"/>
                  <a:gd name="T3" fmla="*/ 9 h 18"/>
                  <a:gd name="T4" fmla="*/ 0 w 6"/>
                  <a:gd name="T5" fmla="*/ 0 h 18"/>
                  <a:gd name="T6" fmla="*/ 5 w 6"/>
                  <a:gd name="T7" fmla="*/ 8 h 18"/>
                  <a:gd name="T8" fmla="*/ 5 w 6"/>
                  <a:gd name="T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8">
                    <a:moveTo>
                      <a:pt x="5" y="18"/>
                    </a:moveTo>
                    <a:cubicBezTo>
                      <a:pt x="4" y="18"/>
                      <a:pt x="4" y="14"/>
                      <a:pt x="3" y="9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3"/>
                      <a:pt x="5" y="8"/>
                    </a:cubicBezTo>
                    <a:cubicBezTo>
                      <a:pt x="6" y="13"/>
                      <a:pt x="5" y="18"/>
                      <a:pt x="5" y="18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72">
                <a:extLst>
                  <a:ext uri="{FF2B5EF4-FFF2-40B4-BE49-F238E27FC236}">
                    <a16:creationId xmlns:a16="http://schemas.microsoft.com/office/drawing/2014/main" id="{1A3B2A01-6114-4A6E-BFD0-1C526A2DD7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19" y="1535"/>
                <a:ext cx="1322" cy="1845"/>
              </a:xfrm>
              <a:prstGeom prst="rect">
                <a:avLst/>
              </a:prstGeom>
              <a:solidFill>
                <a:srgbClr val="4443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Freeform 173">
                <a:extLst>
                  <a:ext uri="{FF2B5EF4-FFF2-40B4-BE49-F238E27FC236}">
                    <a16:creationId xmlns:a16="http://schemas.microsoft.com/office/drawing/2014/main" id="{4AC95674-9058-43C2-82CD-A9AD999EA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" y="1132"/>
                <a:ext cx="140" cy="420"/>
              </a:xfrm>
              <a:custGeom>
                <a:avLst/>
                <a:gdLst>
                  <a:gd name="T0" fmla="*/ 4 w 59"/>
                  <a:gd name="T1" fmla="*/ 177 h 177"/>
                  <a:gd name="T2" fmla="*/ 57 w 59"/>
                  <a:gd name="T3" fmla="*/ 0 h 177"/>
                  <a:gd name="T4" fmla="*/ 59 w 59"/>
                  <a:gd name="T5" fmla="*/ 1 h 177"/>
                  <a:gd name="T6" fmla="*/ 7 w 59"/>
                  <a:gd name="T7" fmla="*/ 176 h 177"/>
                  <a:gd name="T8" fmla="*/ 4 w 59"/>
                  <a:gd name="T9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77">
                    <a:moveTo>
                      <a:pt x="4" y="177"/>
                    </a:moveTo>
                    <a:cubicBezTo>
                      <a:pt x="0" y="114"/>
                      <a:pt x="19" y="50"/>
                      <a:pt x="57" y="0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22" y="51"/>
                      <a:pt x="3" y="115"/>
                      <a:pt x="7" y="176"/>
                    </a:cubicBezTo>
                    <a:lnTo>
                      <a:pt x="4" y="177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Freeform 174">
                <a:extLst>
                  <a:ext uri="{FF2B5EF4-FFF2-40B4-BE49-F238E27FC236}">
                    <a16:creationId xmlns:a16="http://schemas.microsoft.com/office/drawing/2014/main" id="{6ABC2744-204F-4902-B017-857CC0C5C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072"/>
                <a:ext cx="100" cy="114"/>
              </a:xfrm>
              <a:custGeom>
                <a:avLst/>
                <a:gdLst>
                  <a:gd name="T0" fmla="*/ 6 w 42"/>
                  <a:gd name="T1" fmla="*/ 44 h 48"/>
                  <a:gd name="T2" fmla="*/ 6 w 42"/>
                  <a:gd name="T3" fmla="*/ 44 h 48"/>
                  <a:gd name="T4" fmla="*/ 3 w 42"/>
                  <a:gd name="T5" fmla="*/ 28 h 48"/>
                  <a:gd name="T6" fmla="*/ 19 w 42"/>
                  <a:gd name="T7" fmla="*/ 6 h 48"/>
                  <a:gd name="T8" fmla="*/ 35 w 42"/>
                  <a:gd name="T9" fmla="*/ 3 h 48"/>
                  <a:gd name="T10" fmla="*/ 35 w 42"/>
                  <a:gd name="T11" fmla="*/ 4 h 48"/>
                  <a:gd name="T12" fmla="*/ 38 w 42"/>
                  <a:gd name="T13" fmla="*/ 20 h 48"/>
                  <a:gd name="T14" fmla="*/ 22 w 42"/>
                  <a:gd name="T15" fmla="*/ 42 h 48"/>
                  <a:gd name="T16" fmla="*/ 6 w 42"/>
                  <a:gd name="T17" fmla="*/ 4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48">
                    <a:moveTo>
                      <a:pt x="6" y="44"/>
                    </a:moveTo>
                    <a:cubicBezTo>
                      <a:pt x="6" y="44"/>
                      <a:pt x="6" y="44"/>
                      <a:pt x="6" y="44"/>
                    </a:cubicBezTo>
                    <a:cubicBezTo>
                      <a:pt x="1" y="40"/>
                      <a:pt x="0" y="33"/>
                      <a:pt x="3" y="28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"/>
                      <a:pt x="30" y="0"/>
                      <a:pt x="35" y="3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40" y="7"/>
                      <a:pt x="42" y="15"/>
                      <a:pt x="38" y="20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18" y="47"/>
                      <a:pt x="11" y="48"/>
                      <a:pt x="6" y="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175">
                <a:extLst>
                  <a:ext uri="{FF2B5EF4-FFF2-40B4-BE49-F238E27FC236}">
                    <a16:creationId xmlns:a16="http://schemas.microsoft.com/office/drawing/2014/main" id="{263ACAEC-EC6F-4DB0-916F-33A6EBD10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2" y="1535"/>
                <a:ext cx="1320" cy="1845"/>
              </a:xfrm>
              <a:prstGeom prst="rect">
                <a:avLst/>
              </a:prstGeom>
              <a:solidFill>
                <a:srgbClr val="605E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Freeform 176">
                <a:extLst>
                  <a:ext uri="{FF2B5EF4-FFF2-40B4-BE49-F238E27FC236}">
                    <a16:creationId xmlns:a16="http://schemas.microsoft.com/office/drawing/2014/main" id="{BD7BC9BD-1D74-4D96-B187-D539C3AB8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1" y="1535"/>
                <a:ext cx="366" cy="316"/>
              </a:xfrm>
              <a:custGeom>
                <a:avLst/>
                <a:gdLst>
                  <a:gd name="T0" fmla="*/ 154 w 154"/>
                  <a:gd name="T1" fmla="*/ 0 h 133"/>
                  <a:gd name="T2" fmla="*/ 154 w 154"/>
                  <a:gd name="T3" fmla="*/ 2 h 133"/>
                  <a:gd name="T4" fmla="*/ 152 w 154"/>
                  <a:gd name="T5" fmla="*/ 8 h 133"/>
                  <a:gd name="T6" fmla="*/ 151 w 154"/>
                  <a:gd name="T7" fmla="*/ 13 h 133"/>
                  <a:gd name="T8" fmla="*/ 149 w 154"/>
                  <a:gd name="T9" fmla="*/ 18 h 133"/>
                  <a:gd name="T10" fmla="*/ 144 w 154"/>
                  <a:gd name="T11" fmla="*/ 30 h 133"/>
                  <a:gd name="T12" fmla="*/ 140 w 154"/>
                  <a:gd name="T13" fmla="*/ 37 h 133"/>
                  <a:gd name="T14" fmla="*/ 136 w 154"/>
                  <a:gd name="T15" fmla="*/ 44 h 133"/>
                  <a:gd name="T16" fmla="*/ 126 w 154"/>
                  <a:gd name="T17" fmla="*/ 60 h 133"/>
                  <a:gd name="T18" fmla="*/ 98 w 154"/>
                  <a:gd name="T19" fmla="*/ 91 h 133"/>
                  <a:gd name="T20" fmla="*/ 63 w 154"/>
                  <a:gd name="T21" fmla="*/ 114 h 133"/>
                  <a:gd name="T22" fmla="*/ 46 w 154"/>
                  <a:gd name="T23" fmla="*/ 122 h 133"/>
                  <a:gd name="T24" fmla="*/ 39 w 154"/>
                  <a:gd name="T25" fmla="*/ 125 h 133"/>
                  <a:gd name="T26" fmla="*/ 31 w 154"/>
                  <a:gd name="T27" fmla="*/ 127 h 133"/>
                  <a:gd name="T28" fmla="*/ 19 w 154"/>
                  <a:gd name="T29" fmla="*/ 130 h 133"/>
                  <a:gd name="T30" fmla="*/ 13 w 154"/>
                  <a:gd name="T31" fmla="*/ 132 h 133"/>
                  <a:gd name="T32" fmla="*/ 9 w 154"/>
                  <a:gd name="T33" fmla="*/ 132 h 133"/>
                  <a:gd name="T34" fmla="*/ 3 w 154"/>
                  <a:gd name="T35" fmla="*/ 133 h 133"/>
                  <a:gd name="T36" fmla="*/ 0 w 154"/>
                  <a:gd name="T37" fmla="*/ 133 h 133"/>
                  <a:gd name="T38" fmla="*/ 2 w 154"/>
                  <a:gd name="T39" fmla="*/ 133 h 133"/>
                  <a:gd name="T40" fmla="*/ 9 w 154"/>
                  <a:gd name="T41" fmla="*/ 132 h 133"/>
                  <a:gd name="T42" fmla="*/ 13 w 154"/>
                  <a:gd name="T43" fmla="*/ 131 h 133"/>
                  <a:gd name="T44" fmla="*/ 18 w 154"/>
                  <a:gd name="T45" fmla="*/ 130 h 133"/>
                  <a:gd name="T46" fmla="*/ 31 w 154"/>
                  <a:gd name="T47" fmla="*/ 127 h 133"/>
                  <a:gd name="T48" fmla="*/ 39 w 154"/>
                  <a:gd name="T49" fmla="*/ 124 h 133"/>
                  <a:gd name="T50" fmla="*/ 46 w 154"/>
                  <a:gd name="T51" fmla="*/ 121 h 133"/>
                  <a:gd name="T52" fmla="*/ 63 w 154"/>
                  <a:gd name="T53" fmla="*/ 114 h 133"/>
                  <a:gd name="T54" fmla="*/ 97 w 154"/>
                  <a:gd name="T55" fmla="*/ 90 h 133"/>
                  <a:gd name="T56" fmla="*/ 126 w 154"/>
                  <a:gd name="T57" fmla="*/ 59 h 133"/>
                  <a:gd name="T58" fmla="*/ 136 w 154"/>
                  <a:gd name="T59" fmla="*/ 44 h 133"/>
                  <a:gd name="T60" fmla="*/ 140 w 154"/>
                  <a:gd name="T61" fmla="*/ 37 h 133"/>
                  <a:gd name="T62" fmla="*/ 143 w 154"/>
                  <a:gd name="T63" fmla="*/ 30 h 133"/>
                  <a:gd name="T64" fmla="*/ 148 w 154"/>
                  <a:gd name="T65" fmla="*/ 18 h 133"/>
                  <a:gd name="T66" fmla="*/ 150 w 154"/>
                  <a:gd name="T67" fmla="*/ 13 h 133"/>
                  <a:gd name="T68" fmla="*/ 152 w 154"/>
                  <a:gd name="T69" fmla="*/ 8 h 133"/>
                  <a:gd name="T70" fmla="*/ 153 w 154"/>
                  <a:gd name="T71" fmla="*/ 2 h 133"/>
                  <a:gd name="T72" fmla="*/ 154 w 154"/>
                  <a:gd name="T73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4" h="133">
                    <a:moveTo>
                      <a:pt x="154" y="0"/>
                    </a:moveTo>
                    <a:cubicBezTo>
                      <a:pt x="154" y="0"/>
                      <a:pt x="154" y="1"/>
                      <a:pt x="154" y="2"/>
                    </a:cubicBezTo>
                    <a:cubicBezTo>
                      <a:pt x="153" y="4"/>
                      <a:pt x="153" y="6"/>
                      <a:pt x="152" y="8"/>
                    </a:cubicBezTo>
                    <a:cubicBezTo>
                      <a:pt x="152" y="10"/>
                      <a:pt x="151" y="11"/>
                      <a:pt x="151" y="13"/>
                    </a:cubicBezTo>
                    <a:cubicBezTo>
                      <a:pt x="150" y="14"/>
                      <a:pt x="149" y="16"/>
                      <a:pt x="149" y="18"/>
                    </a:cubicBezTo>
                    <a:cubicBezTo>
                      <a:pt x="147" y="21"/>
                      <a:pt x="146" y="26"/>
                      <a:pt x="144" y="30"/>
                    </a:cubicBezTo>
                    <a:cubicBezTo>
                      <a:pt x="143" y="32"/>
                      <a:pt x="142" y="34"/>
                      <a:pt x="140" y="37"/>
                    </a:cubicBezTo>
                    <a:cubicBezTo>
                      <a:pt x="139" y="39"/>
                      <a:pt x="138" y="42"/>
                      <a:pt x="136" y="44"/>
                    </a:cubicBezTo>
                    <a:cubicBezTo>
                      <a:pt x="134" y="49"/>
                      <a:pt x="130" y="54"/>
                      <a:pt x="126" y="60"/>
                    </a:cubicBezTo>
                    <a:cubicBezTo>
                      <a:pt x="119" y="70"/>
                      <a:pt x="109" y="81"/>
                      <a:pt x="98" y="91"/>
                    </a:cubicBezTo>
                    <a:cubicBezTo>
                      <a:pt x="87" y="100"/>
                      <a:pt x="75" y="108"/>
                      <a:pt x="63" y="114"/>
                    </a:cubicBezTo>
                    <a:cubicBezTo>
                      <a:pt x="57" y="117"/>
                      <a:pt x="52" y="120"/>
                      <a:pt x="46" y="122"/>
                    </a:cubicBezTo>
                    <a:cubicBezTo>
                      <a:pt x="44" y="123"/>
                      <a:pt x="41" y="124"/>
                      <a:pt x="39" y="125"/>
                    </a:cubicBezTo>
                    <a:cubicBezTo>
                      <a:pt x="36" y="126"/>
                      <a:pt x="34" y="126"/>
                      <a:pt x="31" y="127"/>
                    </a:cubicBezTo>
                    <a:cubicBezTo>
                      <a:pt x="27" y="129"/>
                      <a:pt x="22" y="130"/>
                      <a:pt x="19" y="130"/>
                    </a:cubicBezTo>
                    <a:cubicBezTo>
                      <a:pt x="17" y="131"/>
                      <a:pt x="15" y="131"/>
                      <a:pt x="13" y="132"/>
                    </a:cubicBezTo>
                    <a:cubicBezTo>
                      <a:pt x="12" y="132"/>
                      <a:pt x="10" y="132"/>
                      <a:pt x="9" y="132"/>
                    </a:cubicBezTo>
                    <a:cubicBezTo>
                      <a:pt x="6" y="132"/>
                      <a:pt x="4" y="133"/>
                      <a:pt x="3" y="133"/>
                    </a:cubicBezTo>
                    <a:cubicBezTo>
                      <a:pt x="1" y="133"/>
                      <a:pt x="0" y="133"/>
                      <a:pt x="0" y="133"/>
                    </a:cubicBezTo>
                    <a:cubicBezTo>
                      <a:pt x="0" y="133"/>
                      <a:pt x="1" y="133"/>
                      <a:pt x="2" y="133"/>
                    </a:cubicBezTo>
                    <a:cubicBezTo>
                      <a:pt x="4" y="133"/>
                      <a:pt x="6" y="132"/>
                      <a:pt x="9" y="132"/>
                    </a:cubicBezTo>
                    <a:cubicBezTo>
                      <a:pt x="10" y="132"/>
                      <a:pt x="12" y="131"/>
                      <a:pt x="13" y="131"/>
                    </a:cubicBezTo>
                    <a:cubicBezTo>
                      <a:pt x="15" y="131"/>
                      <a:pt x="17" y="130"/>
                      <a:pt x="18" y="130"/>
                    </a:cubicBezTo>
                    <a:cubicBezTo>
                      <a:pt x="22" y="129"/>
                      <a:pt x="27" y="128"/>
                      <a:pt x="31" y="127"/>
                    </a:cubicBezTo>
                    <a:cubicBezTo>
                      <a:pt x="34" y="126"/>
                      <a:pt x="36" y="125"/>
                      <a:pt x="39" y="124"/>
                    </a:cubicBezTo>
                    <a:cubicBezTo>
                      <a:pt x="41" y="123"/>
                      <a:pt x="44" y="122"/>
                      <a:pt x="46" y="121"/>
                    </a:cubicBezTo>
                    <a:cubicBezTo>
                      <a:pt x="52" y="119"/>
                      <a:pt x="57" y="116"/>
                      <a:pt x="63" y="114"/>
                    </a:cubicBezTo>
                    <a:cubicBezTo>
                      <a:pt x="74" y="107"/>
                      <a:pt x="86" y="100"/>
                      <a:pt x="97" y="90"/>
                    </a:cubicBezTo>
                    <a:cubicBezTo>
                      <a:pt x="109" y="80"/>
                      <a:pt x="118" y="69"/>
                      <a:pt x="126" y="59"/>
                    </a:cubicBezTo>
                    <a:cubicBezTo>
                      <a:pt x="129" y="54"/>
                      <a:pt x="133" y="49"/>
                      <a:pt x="136" y="44"/>
                    </a:cubicBezTo>
                    <a:cubicBezTo>
                      <a:pt x="137" y="41"/>
                      <a:pt x="139" y="39"/>
                      <a:pt x="140" y="37"/>
                    </a:cubicBezTo>
                    <a:cubicBezTo>
                      <a:pt x="141" y="34"/>
                      <a:pt x="142" y="32"/>
                      <a:pt x="143" y="30"/>
                    </a:cubicBezTo>
                    <a:cubicBezTo>
                      <a:pt x="146" y="25"/>
                      <a:pt x="147" y="21"/>
                      <a:pt x="148" y="18"/>
                    </a:cubicBezTo>
                    <a:cubicBezTo>
                      <a:pt x="149" y="16"/>
                      <a:pt x="150" y="14"/>
                      <a:pt x="150" y="13"/>
                    </a:cubicBezTo>
                    <a:cubicBezTo>
                      <a:pt x="151" y="11"/>
                      <a:pt x="151" y="10"/>
                      <a:pt x="152" y="8"/>
                    </a:cubicBezTo>
                    <a:cubicBezTo>
                      <a:pt x="152" y="6"/>
                      <a:pt x="153" y="4"/>
                      <a:pt x="153" y="2"/>
                    </a:cubicBezTo>
                    <a:cubicBezTo>
                      <a:pt x="154" y="1"/>
                      <a:pt x="154" y="0"/>
                      <a:pt x="15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177">
                <a:extLst>
                  <a:ext uri="{FF2B5EF4-FFF2-40B4-BE49-F238E27FC236}">
                    <a16:creationId xmlns:a16="http://schemas.microsoft.com/office/drawing/2014/main" id="{DAA5A417-20A8-4222-A62E-3F63B3FC6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1540"/>
                <a:ext cx="238" cy="266"/>
              </a:xfrm>
              <a:custGeom>
                <a:avLst/>
                <a:gdLst>
                  <a:gd name="T0" fmla="*/ 100 w 100"/>
                  <a:gd name="T1" fmla="*/ 0 h 112"/>
                  <a:gd name="T2" fmla="*/ 100 w 100"/>
                  <a:gd name="T3" fmla="*/ 1 h 112"/>
                  <a:gd name="T4" fmla="*/ 99 w 100"/>
                  <a:gd name="T5" fmla="*/ 6 h 112"/>
                  <a:gd name="T6" fmla="*/ 97 w 100"/>
                  <a:gd name="T7" fmla="*/ 13 h 112"/>
                  <a:gd name="T8" fmla="*/ 95 w 100"/>
                  <a:gd name="T9" fmla="*/ 23 h 112"/>
                  <a:gd name="T10" fmla="*/ 93 w 100"/>
                  <a:gd name="T11" fmla="*/ 28 h 112"/>
                  <a:gd name="T12" fmla="*/ 91 w 100"/>
                  <a:gd name="T13" fmla="*/ 34 h 112"/>
                  <a:gd name="T14" fmla="*/ 85 w 100"/>
                  <a:gd name="T15" fmla="*/ 46 h 112"/>
                  <a:gd name="T16" fmla="*/ 67 w 100"/>
                  <a:gd name="T17" fmla="*/ 71 h 112"/>
                  <a:gd name="T18" fmla="*/ 44 w 100"/>
                  <a:gd name="T19" fmla="*/ 92 h 112"/>
                  <a:gd name="T20" fmla="*/ 33 w 100"/>
                  <a:gd name="T21" fmla="*/ 99 h 112"/>
                  <a:gd name="T22" fmla="*/ 27 w 100"/>
                  <a:gd name="T23" fmla="*/ 102 h 112"/>
                  <a:gd name="T24" fmla="*/ 22 w 100"/>
                  <a:gd name="T25" fmla="*/ 105 h 112"/>
                  <a:gd name="T26" fmla="*/ 13 w 100"/>
                  <a:gd name="T27" fmla="*/ 108 h 112"/>
                  <a:gd name="T28" fmla="*/ 6 w 100"/>
                  <a:gd name="T29" fmla="*/ 111 h 112"/>
                  <a:gd name="T30" fmla="*/ 2 w 100"/>
                  <a:gd name="T31" fmla="*/ 112 h 112"/>
                  <a:gd name="T32" fmla="*/ 0 w 100"/>
                  <a:gd name="T33" fmla="*/ 112 h 112"/>
                  <a:gd name="T34" fmla="*/ 2 w 100"/>
                  <a:gd name="T35" fmla="*/ 112 h 112"/>
                  <a:gd name="T36" fmla="*/ 6 w 100"/>
                  <a:gd name="T37" fmla="*/ 110 h 112"/>
                  <a:gd name="T38" fmla="*/ 13 w 100"/>
                  <a:gd name="T39" fmla="*/ 108 h 112"/>
                  <a:gd name="T40" fmla="*/ 22 w 100"/>
                  <a:gd name="T41" fmla="*/ 104 h 112"/>
                  <a:gd name="T42" fmla="*/ 27 w 100"/>
                  <a:gd name="T43" fmla="*/ 102 h 112"/>
                  <a:gd name="T44" fmla="*/ 32 w 100"/>
                  <a:gd name="T45" fmla="*/ 99 h 112"/>
                  <a:gd name="T46" fmla="*/ 44 w 100"/>
                  <a:gd name="T47" fmla="*/ 91 h 112"/>
                  <a:gd name="T48" fmla="*/ 66 w 100"/>
                  <a:gd name="T49" fmla="*/ 71 h 112"/>
                  <a:gd name="T50" fmla="*/ 84 w 100"/>
                  <a:gd name="T51" fmla="*/ 45 h 112"/>
                  <a:gd name="T52" fmla="*/ 90 w 100"/>
                  <a:gd name="T53" fmla="*/ 33 h 112"/>
                  <a:gd name="T54" fmla="*/ 92 w 100"/>
                  <a:gd name="T55" fmla="*/ 28 h 112"/>
                  <a:gd name="T56" fmla="*/ 94 w 100"/>
                  <a:gd name="T57" fmla="*/ 22 h 112"/>
                  <a:gd name="T58" fmla="*/ 97 w 100"/>
                  <a:gd name="T59" fmla="*/ 13 h 112"/>
                  <a:gd name="T60" fmla="*/ 99 w 100"/>
                  <a:gd name="T61" fmla="*/ 6 h 112"/>
                  <a:gd name="T62" fmla="*/ 99 w 100"/>
                  <a:gd name="T63" fmla="*/ 1 h 112"/>
                  <a:gd name="T64" fmla="*/ 100 w 100"/>
                  <a:gd name="T6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" h="112">
                    <a:moveTo>
                      <a:pt x="100" y="0"/>
                    </a:moveTo>
                    <a:cubicBezTo>
                      <a:pt x="100" y="0"/>
                      <a:pt x="100" y="0"/>
                      <a:pt x="100" y="1"/>
                    </a:cubicBezTo>
                    <a:cubicBezTo>
                      <a:pt x="99" y="3"/>
                      <a:pt x="99" y="4"/>
                      <a:pt x="99" y="6"/>
                    </a:cubicBezTo>
                    <a:cubicBezTo>
                      <a:pt x="99" y="8"/>
                      <a:pt x="98" y="10"/>
                      <a:pt x="97" y="13"/>
                    </a:cubicBezTo>
                    <a:cubicBezTo>
                      <a:pt x="97" y="16"/>
                      <a:pt x="96" y="19"/>
                      <a:pt x="95" y="23"/>
                    </a:cubicBezTo>
                    <a:cubicBezTo>
                      <a:pt x="94" y="24"/>
                      <a:pt x="94" y="26"/>
                      <a:pt x="93" y="28"/>
                    </a:cubicBezTo>
                    <a:cubicBezTo>
                      <a:pt x="92" y="30"/>
                      <a:pt x="92" y="32"/>
                      <a:pt x="91" y="34"/>
                    </a:cubicBezTo>
                    <a:cubicBezTo>
                      <a:pt x="89" y="38"/>
                      <a:pt x="87" y="42"/>
                      <a:pt x="85" y="46"/>
                    </a:cubicBezTo>
                    <a:cubicBezTo>
                      <a:pt x="80" y="54"/>
                      <a:pt x="74" y="63"/>
                      <a:pt x="67" y="71"/>
                    </a:cubicBezTo>
                    <a:cubicBezTo>
                      <a:pt x="60" y="79"/>
                      <a:pt x="52" y="86"/>
                      <a:pt x="44" y="92"/>
                    </a:cubicBezTo>
                    <a:cubicBezTo>
                      <a:pt x="40" y="95"/>
                      <a:pt x="37" y="97"/>
                      <a:pt x="33" y="99"/>
                    </a:cubicBezTo>
                    <a:cubicBezTo>
                      <a:pt x="31" y="100"/>
                      <a:pt x="29" y="101"/>
                      <a:pt x="27" y="102"/>
                    </a:cubicBezTo>
                    <a:cubicBezTo>
                      <a:pt x="26" y="103"/>
                      <a:pt x="24" y="104"/>
                      <a:pt x="22" y="105"/>
                    </a:cubicBezTo>
                    <a:cubicBezTo>
                      <a:pt x="19" y="106"/>
                      <a:pt x="16" y="107"/>
                      <a:pt x="13" y="108"/>
                    </a:cubicBezTo>
                    <a:cubicBezTo>
                      <a:pt x="11" y="110"/>
                      <a:pt x="8" y="110"/>
                      <a:pt x="6" y="111"/>
                    </a:cubicBezTo>
                    <a:cubicBezTo>
                      <a:pt x="5" y="111"/>
                      <a:pt x="3" y="112"/>
                      <a:pt x="2" y="112"/>
                    </a:cubicBezTo>
                    <a:cubicBezTo>
                      <a:pt x="1" y="112"/>
                      <a:pt x="0" y="112"/>
                      <a:pt x="0" y="112"/>
                    </a:cubicBezTo>
                    <a:cubicBezTo>
                      <a:pt x="0" y="112"/>
                      <a:pt x="1" y="112"/>
                      <a:pt x="2" y="112"/>
                    </a:cubicBezTo>
                    <a:cubicBezTo>
                      <a:pt x="3" y="112"/>
                      <a:pt x="5" y="111"/>
                      <a:pt x="6" y="110"/>
                    </a:cubicBezTo>
                    <a:cubicBezTo>
                      <a:pt x="8" y="110"/>
                      <a:pt x="11" y="109"/>
                      <a:pt x="13" y="108"/>
                    </a:cubicBezTo>
                    <a:cubicBezTo>
                      <a:pt x="16" y="107"/>
                      <a:pt x="19" y="106"/>
                      <a:pt x="22" y="104"/>
                    </a:cubicBezTo>
                    <a:cubicBezTo>
                      <a:pt x="24" y="103"/>
                      <a:pt x="25" y="103"/>
                      <a:pt x="27" y="102"/>
                    </a:cubicBezTo>
                    <a:cubicBezTo>
                      <a:pt x="29" y="101"/>
                      <a:pt x="31" y="100"/>
                      <a:pt x="32" y="99"/>
                    </a:cubicBezTo>
                    <a:cubicBezTo>
                      <a:pt x="36" y="97"/>
                      <a:pt x="40" y="94"/>
                      <a:pt x="44" y="91"/>
                    </a:cubicBezTo>
                    <a:cubicBezTo>
                      <a:pt x="51" y="86"/>
                      <a:pt x="59" y="79"/>
                      <a:pt x="66" y="71"/>
                    </a:cubicBezTo>
                    <a:cubicBezTo>
                      <a:pt x="74" y="62"/>
                      <a:pt x="80" y="54"/>
                      <a:pt x="84" y="45"/>
                    </a:cubicBezTo>
                    <a:cubicBezTo>
                      <a:pt x="86" y="41"/>
                      <a:pt x="89" y="37"/>
                      <a:pt x="90" y="33"/>
                    </a:cubicBezTo>
                    <a:cubicBezTo>
                      <a:pt x="91" y="31"/>
                      <a:pt x="92" y="30"/>
                      <a:pt x="92" y="28"/>
                    </a:cubicBezTo>
                    <a:cubicBezTo>
                      <a:pt x="93" y="26"/>
                      <a:pt x="94" y="24"/>
                      <a:pt x="94" y="22"/>
                    </a:cubicBezTo>
                    <a:cubicBezTo>
                      <a:pt x="96" y="19"/>
                      <a:pt x="96" y="16"/>
                      <a:pt x="97" y="13"/>
                    </a:cubicBezTo>
                    <a:cubicBezTo>
                      <a:pt x="98" y="10"/>
                      <a:pt x="98" y="8"/>
                      <a:pt x="99" y="6"/>
                    </a:cubicBezTo>
                    <a:cubicBezTo>
                      <a:pt x="99" y="4"/>
                      <a:pt x="99" y="3"/>
                      <a:pt x="99" y="1"/>
                    </a:cubicBezTo>
                    <a:cubicBezTo>
                      <a:pt x="100" y="0"/>
                      <a:pt x="100" y="0"/>
                      <a:pt x="10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Freeform 178">
                <a:extLst>
                  <a:ext uri="{FF2B5EF4-FFF2-40B4-BE49-F238E27FC236}">
                    <a16:creationId xmlns:a16="http://schemas.microsoft.com/office/drawing/2014/main" id="{5D945DB1-E1D4-479A-99B9-CA6F0FDFC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1576"/>
                <a:ext cx="814" cy="361"/>
              </a:xfrm>
              <a:custGeom>
                <a:avLst/>
                <a:gdLst>
                  <a:gd name="T0" fmla="*/ 255 w 343"/>
                  <a:gd name="T1" fmla="*/ 76 h 152"/>
                  <a:gd name="T2" fmla="*/ 255 w 343"/>
                  <a:gd name="T3" fmla="*/ 84 h 152"/>
                  <a:gd name="T4" fmla="*/ 276 w 343"/>
                  <a:gd name="T5" fmla="*/ 86 h 152"/>
                  <a:gd name="T6" fmla="*/ 302 w 343"/>
                  <a:gd name="T7" fmla="*/ 70 h 152"/>
                  <a:gd name="T8" fmla="*/ 299 w 343"/>
                  <a:gd name="T9" fmla="*/ 52 h 152"/>
                  <a:gd name="T10" fmla="*/ 231 w 343"/>
                  <a:gd name="T11" fmla="*/ 60 h 152"/>
                  <a:gd name="T12" fmla="*/ 190 w 343"/>
                  <a:gd name="T13" fmla="*/ 98 h 152"/>
                  <a:gd name="T14" fmla="*/ 200 w 343"/>
                  <a:gd name="T15" fmla="*/ 124 h 152"/>
                  <a:gd name="T16" fmla="*/ 298 w 343"/>
                  <a:gd name="T17" fmla="*/ 117 h 152"/>
                  <a:gd name="T18" fmla="*/ 340 w 343"/>
                  <a:gd name="T19" fmla="*/ 61 h 152"/>
                  <a:gd name="T20" fmla="*/ 294 w 343"/>
                  <a:gd name="T21" fmla="*/ 2 h 152"/>
                  <a:gd name="T22" fmla="*/ 235 w 343"/>
                  <a:gd name="T23" fmla="*/ 10 h 152"/>
                  <a:gd name="T24" fmla="*/ 156 w 343"/>
                  <a:gd name="T25" fmla="*/ 53 h 152"/>
                  <a:gd name="T26" fmla="*/ 64 w 343"/>
                  <a:gd name="T27" fmla="*/ 120 h 152"/>
                  <a:gd name="T28" fmla="*/ 18 w 343"/>
                  <a:gd name="T29" fmla="*/ 145 h 152"/>
                  <a:gd name="T30" fmla="*/ 0 w 343"/>
                  <a:gd name="T31" fmla="*/ 152 h 152"/>
                  <a:gd name="T32" fmla="*/ 18 w 343"/>
                  <a:gd name="T33" fmla="*/ 145 h 152"/>
                  <a:gd name="T34" fmla="*/ 64 w 343"/>
                  <a:gd name="T35" fmla="*/ 119 h 152"/>
                  <a:gd name="T36" fmla="*/ 156 w 343"/>
                  <a:gd name="T37" fmla="*/ 52 h 152"/>
                  <a:gd name="T38" fmla="*/ 235 w 343"/>
                  <a:gd name="T39" fmla="*/ 9 h 152"/>
                  <a:gd name="T40" fmla="*/ 294 w 343"/>
                  <a:gd name="T41" fmla="*/ 2 h 152"/>
                  <a:gd name="T42" fmla="*/ 341 w 343"/>
                  <a:gd name="T43" fmla="*/ 61 h 152"/>
                  <a:gd name="T44" fmla="*/ 298 w 343"/>
                  <a:gd name="T45" fmla="*/ 117 h 152"/>
                  <a:gd name="T46" fmla="*/ 200 w 343"/>
                  <a:gd name="T47" fmla="*/ 125 h 152"/>
                  <a:gd name="T48" fmla="*/ 190 w 343"/>
                  <a:gd name="T49" fmla="*/ 98 h 152"/>
                  <a:gd name="T50" fmla="*/ 230 w 343"/>
                  <a:gd name="T51" fmla="*/ 59 h 152"/>
                  <a:gd name="T52" fmla="*/ 299 w 343"/>
                  <a:gd name="T53" fmla="*/ 52 h 152"/>
                  <a:gd name="T54" fmla="*/ 302 w 343"/>
                  <a:gd name="T55" fmla="*/ 71 h 152"/>
                  <a:gd name="T56" fmla="*/ 276 w 343"/>
                  <a:gd name="T57" fmla="*/ 86 h 152"/>
                  <a:gd name="T58" fmla="*/ 254 w 343"/>
                  <a:gd name="T59" fmla="*/ 84 h 152"/>
                  <a:gd name="T60" fmla="*/ 253 w 343"/>
                  <a:gd name="T61" fmla="*/ 79 h 152"/>
                  <a:gd name="T62" fmla="*/ 258 w 343"/>
                  <a:gd name="T63" fmla="*/ 75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3" h="152">
                    <a:moveTo>
                      <a:pt x="258" y="75"/>
                    </a:moveTo>
                    <a:cubicBezTo>
                      <a:pt x="258" y="75"/>
                      <a:pt x="257" y="75"/>
                      <a:pt x="255" y="76"/>
                    </a:cubicBezTo>
                    <a:cubicBezTo>
                      <a:pt x="255" y="77"/>
                      <a:pt x="254" y="78"/>
                      <a:pt x="253" y="79"/>
                    </a:cubicBezTo>
                    <a:cubicBezTo>
                      <a:pt x="253" y="81"/>
                      <a:pt x="253" y="83"/>
                      <a:pt x="255" y="84"/>
                    </a:cubicBezTo>
                    <a:cubicBezTo>
                      <a:pt x="255" y="84"/>
                      <a:pt x="255" y="84"/>
                      <a:pt x="255" y="84"/>
                    </a:cubicBezTo>
                    <a:cubicBezTo>
                      <a:pt x="260" y="85"/>
                      <a:pt x="267" y="86"/>
                      <a:pt x="276" y="86"/>
                    </a:cubicBezTo>
                    <a:cubicBezTo>
                      <a:pt x="280" y="86"/>
                      <a:pt x="285" y="85"/>
                      <a:pt x="290" y="83"/>
                    </a:cubicBezTo>
                    <a:cubicBezTo>
                      <a:pt x="295" y="80"/>
                      <a:pt x="299" y="76"/>
                      <a:pt x="302" y="70"/>
                    </a:cubicBezTo>
                    <a:cubicBezTo>
                      <a:pt x="303" y="68"/>
                      <a:pt x="303" y="64"/>
                      <a:pt x="303" y="61"/>
                    </a:cubicBezTo>
                    <a:cubicBezTo>
                      <a:pt x="303" y="58"/>
                      <a:pt x="301" y="55"/>
                      <a:pt x="299" y="52"/>
                    </a:cubicBezTo>
                    <a:cubicBezTo>
                      <a:pt x="294" y="47"/>
                      <a:pt x="286" y="46"/>
                      <a:pt x="279" y="47"/>
                    </a:cubicBezTo>
                    <a:cubicBezTo>
                      <a:pt x="263" y="48"/>
                      <a:pt x="247" y="52"/>
                      <a:pt x="231" y="60"/>
                    </a:cubicBezTo>
                    <a:cubicBezTo>
                      <a:pt x="223" y="64"/>
                      <a:pt x="215" y="68"/>
                      <a:pt x="207" y="74"/>
                    </a:cubicBezTo>
                    <a:cubicBezTo>
                      <a:pt x="200" y="80"/>
                      <a:pt x="193" y="88"/>
                      <a:pt x="190" y="98"/>
                    </a:cubicBezTo>
                    <a:cubicBezTo>
                      <a:pt x="189" y="102"/>
                      <a:pt x="189" y="108"/>
                      <a:pt x="191" y="113"/>
                    </a:cubicBezTo>
                    <a:cubicBezTo>
                      <a:pt x="192" y="117"/>
                      <a:pt x="196" y="121"/>
                      <a:pt x="200" y="124"/>
                    </a:cubicBezTo>
                    <a:cubicBezTo>
                      <a:pt x="209" y="130"/>
                      <a:pt x="221" y="131"/>
                      <a:pt x="231" y="131"/>
                    </a:cubicBezTo>
                    <a:cubicBezTo>
                      <a:pt x="253" y="131"/>
                      <a:pt x="277" y="128"/>
                      <a:pt x="298" y="117"/>
                    </a:cubicBezTo>
                    <a:cubicBezTo>
                      <a:pt x="308" y="111"/>
                      <a:pt x="318" y="104"/>
                      <a:pt x="326" y="94"/>
                    </a:cubicBezTo>
                    <a:cubicBezTo>
                      <a:pt x="333" y="85"/>
                      <a:pt x="339" y="74"/>
                      <a:pt x="340" y="61"/>
                    </a:cubicBezTo>
                    <a:cubicBezTo>
                      <a:pt x="342" y="47"/>
                      <a:pt x="338" y="32"/>
                      <a:pt x="329" y="21"/>
                    </a:cubicBezTo>
                    <a:cubicBezTo>
                      <a:pt x="321" y="10"/>
                      <a:pt x="307" y="4"/>
                      <a:pt x="294" y="2"/>
                    </a:cubicBezTo>
                    <a:cubicBezTo>
                      <a:pt x="280" y="0"/>
                      <a:pt x="267" y="2"/>
                      <a:pt x="254" y="5"/>
                    </a:cubicBezTo>
                    <a:cubicBezTo>
                      <a:pt x="247" y="6"/>
                      <a:pt x="241" y="8"/>
                      <a:pt x="235" y="10"/>
                    </a:cubicBezTo>
                    <a:cubicBezTo>
                      <a:pt x="229" y="12"/>
                      <a:pt x="223" y="14"/>
                      <a:pt x="217" y="17"/>
                    </a:cubicBezTo>
                    <a:cubicBezTo>
                      <a:pt x="194" y="27"/>
                      <a:pt x="174" y="40"/>
                      <a:pt x="156" y="53"/>
                    </a:cubicBezTo>
                    <a:cubicBezTo>
                      <a:pt x="138" y="66"/>
                      <a:pt x="121" y="79"/>
                      <a:pt x="106" y="90"/>
                    </a:cubicBezTo>
                    <a:cubicBezTo>
                      <a:pt x="91" y="102"/>
                      <a:pt x="77" y="111"/>
                      <a:pt x="64" y="120"/>
                    </a:cubicBezTo>
                    <a:cubicBezTo>
                      <a:pt x="52" y="128"/>
                      <a:pt x="40" y="134"/>
                      <a:pt x="31" y="139"/>
                    </a:cubicBezTo>
                    <a:cubicBezTo>
                      <a:pt x="26" y="141"/>
                      <a:pt x="22" y="144"/>
                      <a:pt x="18" y="145"/>
                    </a:cubicBezTo>
                    <a:cubicBezTo>
                      <a:pt x="14" y="147"/>
                      <a:pt x="11" y="148"/>
                      <a:pt x="8" y="149"/>
                    </a:cubicBezTo>
                    <a:cubicBezTo>
                      <a:pt x="3" y="151"/>
                      <a:pt x="0" y="152"/>
                      <a:pt x="0" y="152"/>
                    </a:cubicBezTo>
                    <a:cubicBezTo>
                      <a:pt x="0" y="152"/>
                      <a:pt x="3" y="151"/>
                      <a:pt x="8" y="149"/>
                    </a:cubicBezTo>
                    <a:cubicBezTo>
                      <a:pt x="11" y="148"/>
                      <a:pt x="14" y="147"/>
                      <a:pt x="18" y="145"/>
                    </a:cubicBezTo>
                    <a:cubicBezTo>
                      <a:pt x="22" y="143"/>
                      <a:pt x="26" y="141"/>
                      <a:pt x="31" y="139"/>
                    </a:cubicBezTo>
                    <a:cubicBezTo>
                      <a:pt x="40" y="134"/>
                      <a:pt x="51" y="128"/>
                      <a:pt x="64" y="119"/>
                    </a:cubicBezTo>
                    <a:cubicBezTo>
                      <a:pt x="77" y="111"/>
                      <a:pt x="91" y="101"/>
                      <a:pt x="106" y="89"/>
                    </a:cubicBezTo>
                    <a:cubicBezTo>
                      <a:pt x="121" y="78"/>
                      <a:pt x="137" y="65"/>
                      <a:pt x="156" y="52"/>
                    </a:cubicBezTo>
                    <a:cubicBezTo>
                      <a:pt x="174" y="39"/>
                      <a:pt x="194" y="26"/>
                      <a:pt x="217" y="16"/>
                    </a:cubicBezTo>
                    <a:cubicBezTo>
                      <a:pt x="223" y="14"/>
                      <a:pt x="229" y="11"/>
                      <a:pt x="235" y="9"/>
                    </a:cubicBezTo>
                    <a:cubicBezTo>
                      <a:pt x="241" y="7"/>
                      <a:pt x="247" y="5"/>
                      <a:pt x="254" y="4"/>
                    </a:cubicBezTo>
                    <a:cubicBezTo>
                      <a:pt x="266" y="1"/>
                      <a:pt x="280" y="0"/>
                      <a:pt x="294" y="2"/>
                    </a:cubicBezTo>
                    <a:cubicBezTo>
                      <a:pt x="307" y="3"/>
                      <a:pt x="321" y="10"/>
                      <a:pt x="330" y="21"/>
                    </a:cubicBezTo>
                    <a:cubicBezTo>
                      <a:pt x="339" y="32"/>
                      <a:pt x="343" y="47"/>
                      <a:pt x="341" y="61"/>
                    </a:cubicBezTo>
                    <a:cubicBezTo>
                      <a:pt x="340" y="74"/>
                      <a:pt x="334" y="86"/>
                      <a:pt x="326" y="95"/>
                    </a:cubicBezTo>
                    <a:cubicBezTo>
                      <a:pt x="319" y="105"/>
                      <a:pt x="309" y="112"/>
                      <a:pt x="298" y="117"/>
                    </a:cubicBezTo>
                    <a:cubicBezTo>
                      <a:pt x="277" y="128"/>
                      <a:pt x="253" y="131"/>
                      <a:pt x="231" y="132"/>
                    </a:cubicBezTo>
                    <a:cubicBezTo>
                      <a:pt x="220" y="132"/>
                      <a:pt x="209" y="131"/>
                      <a:pt x="200" y="125"/>
                    </a:cubicBezTo>
                    <a:cubicBezTo>
                      <a:pt x="195" y="122"/>
                      <a:pt x="192" y="118"/>
                      <a:pt x="190" y="113"/>
                    </a:cubicBezTo>
                    <a:cubicBezTo>
                      <a:pt x="188" y="108"/>
                      <a:pt x="188" y="102"/>
                      <a:pt x="190" y="98"/>
                    </a:cubicBezTo>
                    <a:cubicBezTo>
                      <a:pt x="193" y="88"/>
                      <a:pt x="199" y="80"/>
                      <a:pt x="207" y="74"/>
                    </a:cubicBezTo>
                    <a:cubicBezTo>
                      <a:pt x="214" y="68"/>
                      <a:pt x="222" y="63"/>
                      <a:pt x="230" y="59"/>
                    </a:cubicBezTo>
                    <a:cubicBezTo>
                      <a:pt x="247" y="51"/>
                      <a:pt x="263" y="47"/>
                      <a:pt x="279" y="46"/>
                    </a:cubicBezTo>
                    <a:cubicBezTo>
                      <a:pt x="286" y="46"/>
                      <a:pt x="294" y="47"/>
                      <a:pt x="299" y="52"/>
                    </a:cubicBezTo>
                    <a:cubicBezTo>
                      <a:pt x="302" y="54"/>
                      <a:pt x="303" y="58"/>
                      <a:pt x="304" y="61"/>
                    </a:cubicBezTo>
                    <a:cubicBezTo>
                      <a:pt x="304" y="64"/>
                      <a:pt x="303" y="68"/>
                      <a:pt x="302" y="71"/>
                    </a:cubicBezTo>
                    <a:cubicBezTo>
                      <a:pt x="300" y="76"/>
                      <a:pt x="295" y="81"/>
                      <a:pt x="290" y="83"/>
                    </a:cubicBezTo>
                    <a:cubicBezTo>
                      <a:pt x="285" y="85"/>
                      <a:pt x="280" y="86"/>
                      <a:pt x="276" y="86"/>
                    </a:cubicBezTo>
                    <a:cubicBezTo>
                      <a:pt x="267" y="87"/>
                      <a:pt x="260" y="85"/>
                      <a:pt x="254" y="84"/>
                    </a:cubicBezTo>
                    <a:cubicBezTo>
                      <a:pt x="254" y="84"/>
                      <a:pt x="254" y="84"/>
                      <a:pt x="254" y="84"/>
                    </a:cubicBezTo>
                    <a:cubicBezTo>
                      <a:pt x="254" y="84"/>
                      <a:pt x="254" y="84"/>
                      <a:pt x="254" y="84"/>
                    </a:cubicBezTo>
                    <a:cubicBezTo>
                      <a:pt x="253" y="83"/>
                      <a:pt x="253" y="81"/>
                      <a:pt x="253" y="79"/>
                    </a:cubicBezTo>
                    <a:cubicBezTo>
                      <a:pt x="254" y="78"/>
                      <a:pt x="254" y="77"/>
                      <a:pt x="255" y="76"/>
                    </a:cubicBezTo>
                    <a:cubicBezTo>
                      <a:pt x="257" y="75"/>
                      <a:pt x="258" y="75"/>
                      <a:pt x="258" y="7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Freeform 179">
                <a:extLst>
                  <a:ext uri="{FF2B5EF4-FFF2-40B4-BE49-F238E27FC236}">
                    <a16:creationId xmlns:a16="http://schemas.microsoft.com/office/drawing/2014/main" id="{67126256-F41E-40A1-9932-E5B49BE0A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1538"/>
                <a:ext cx="1153" cy="532"/>
              </a:xfrm>
              <a:custGeom>
                <a:avLst/>
                <a:gdLst>
                  <a:gd name="T0" fmla="*/ 486 w 486"/>
                  <a:gd name="T1" fmla="*/ 0 h 224"/>
                  <a:gd name="T2" fmla="*/ 481 w 486"/>
                  <a:gd name="T3" fmla="*/ 2 h 224"/>
                  <a:gd name="T4" fmla="*/ 466 w 486"/>
                  <a:gd name="T5" fmla="*/ 11 h 224"/>
                  <a:gd name="T6" fmla="*/ 449 w 486"/>
                  <a:gd name="T7" fmla="*/ 30 h 224"/>
                  <a:gd name="T8" fmla="*/ 429 w 486"/>
                  <a:gd name="T9" fmla="*/ 59 h 224"/>
                  <a:gd name="T10" fmla="*/ 405 w 486"/>
                  <a:gd name="T11" fmla="*/ 93 h 224"/>
                  <a:gd name="T12" fmla="*/ 374 w 486"/>
                  <a:gd name="T13" fmla="*/ 131 h 224"/>
                  <a:gd name="T14" fmla="*/ 353 w 486"/>
                  <a:gd name="T15" fmla="*/ 147 h 224"/>
                  <a:gd name="T16" fmla="*/ 330 w 486"/>
                  <a:gd name="T17" fmla="*/ 161 h 224"/>
                  <a:gd name="T18" fmla="*/ 275 w 486"/>
                  <a:gd name="T19" fmla="*/ 180 h 224"/>
                  <a:gd name="T20" fmla="*/ 165 w 486"/>
                  <a:gd name="T21" fmla="*/ 189 h 224"/>
                  <a:gd name="T22" fmla="*/ 74 w 486"/>
                  <a:gd name="T23" fmla="*/ 191 h 224"/>
                  <a:gd name="T24" fmla="*/ 17 w 486"/>
                  <a:gd name="T25" fmla="*/ 210 h 224"/>
                  <a:gd name="T26" fmla="*/ 4 w 486"/>
                  <a:gd name="T27" fmla="*/ 220 h 224"/>
                  <a:gd name="T28" fmla="*/ 0 w 486"/>
                  <a:gd name="T29" fmla="*/ 224 h 224"/>
                  <a:gd name="T30" fmla="*/ 4 w 486"/>
                  <a:gd name="T31" fmla="*/ 220 h 224"/>
                  <a:gd name="T32" fmla="*/ 17 w 486"/>
                  <a:gd name="T33" fmla="*/ 210 h 224"/>
                  <a:gd name="T34" fmla="*/ 74 w 486"/>
                  <a:gd name="T35" fmla="*/ 191 h 224"/>
                  <a:gd name="T36" fmla="*/ 165 w 486"/>
                  <a:gd name="T37" fmla="*/ 188 h 224"/>
                  <a:gd name="T38" fmla="*/ 275 w 486"/>
                  <a:gd name="T39" fmla="*/ 179 h 224"/>
                  <a:gd name="T40" fmla="*/ 329 w 486"/>
                  <a:gd name="T41" fmla="*/ 160 h 224"/>
                  <a:gd name="T42" fmla="*/ 353 w 486"/>
                  <a:gd name="T43" fmla="*/ 147 h 224"/>
                  <a:gd name="T44" fmla="*/ 373 w 486"/>
                  <a:gd name="T45" fmla="*/ 130 h 224"/>
                  <a:gd name="T46" fmla="*/ 404 w 486"/>
                  <a:gd name="T47" fmla="*/ 93 h 224"/>
                  <a:gd name="T48" fmla="*/ 429 w 486"/>
                  <a:gd name="T49" fmla="*/ 59 h 224"/>
                  <a:gd name="T50" fmla="*/ 448 w 486"/>
                  <a:gd name="T51" fmla="*/ 30 h 224"/>
                  <a:gd name="T52" fmla="*/ 466 w 486"/>
                  <a:gd name="T53" fmla="*/ 10 h 224"/>
                  <a:gd name="T54" fmla="*/ 480 w 486"/>
                  <a:gd name="T55" fmla="*/ 2 h 224"/>
                  <a:gd name="T56" fmla="*/ 486 w 486"/>
                  <a:gd name="T57" fmla="*/ 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6" h="224">
                    <a:moveTo>
                      <a:pt x="486" y="0"/>
                    </a:moveTo>
                    <a:cubicBezTo>
                      <a:pt x="486" y="0"/>
                      <a:pt x="484" y="1"/>
                      <a:pt x="481" y="2"/>
                    </a:cubicBezTo>
                    <a:cubicBezTo>
                      <a:pt x="477" y="4"/>
                      <a:pt x="472" y="6"/>
                      <a:pt x="466" y="11"/>
                    </a:cubicBezTo>
                    <a:cubicBezTo>
                      <a:pt x="461" y="15"/>
                      <a:pt x="455" y="22"/>
                      <a:pt x="449" y="30"/>
                    </a:cubicBezTo>
                    <a:cubicBezTo>
                      <a:pt x="443" y="38"/>
                      <a:pt x="437" y="49"/>
                      <a:pt x="429" y="59"/>
                    </a:cubicBezTo>
                    <a:cubicBezTo>
                      <a:pt x="422" y="69"/>
                      <a:pt x="414" y="81"/>
                      <a:pt x="405" y="93"/>
                    </a:cubicBezTo>
                    <a:cubicBezTo>
                      <a:pt x="396" y="106"/>
                      <a:pt x="386" y="119"/>
                      <a:pt x="374" y="131"/>
                    </a:cubicBezTo>
                    <a:cubicBezTo>
                      <a:pt x="368" y="137"/>
                      <a:pt x="361" y="142"/>
                      <a:pt x="353" y="147"/>
                    </a:cubicBezTo>
                    <a:cubicBezTo>
                      <a:pt x="346" y="152"/>
                      <a:pt x="338" y="157"/>
                      <a:pt x="330" y="161"/>
                    </a:cubicBezTo>
                    <a:cubicBezTo>
                      <a:pt x="313" y="169"/>
                      <a:pt x="295" y="176"/>
                      <a:pt x="275" y="180"/>
                    </a:cubicBezTo>
                    <a:cubicBezTo>
                      <a:pt x="237" y="188"/>
                      <a:pt x="199" y="189"/>
                      <a:pt x="165" y="189"/>
                    </a:cubicBezTo>
                    <a:cubicBezTo>
                      <a:pt x="131" y="189"/>
                      <a:pt x="100" y="189"/>
                      <a:pt x="74" y="191"/>
                    </a:cubicBezTo>
                    <a:cubicBezTo>
                      <a:pt x="48" y="193"/>
                      <a:pt x="29" y="202"/>
                      <a:pt x="17" y="210"/>
                    </a:cubicBezTo>
                    <a:cubicBezTo>
                      <a:pt x="11" y="214"/>
                      <a:pt x="7" y="218"/>
                      <a:pt x="4" y="220"/>
                    </a:cubicBezTo>
                    <a:cubicBezTo>
                      <a:pt x="1" y="223"/>
                      <a:pt x="0" y="224"/>
                      <a:pt x="0" y="224"/>
                    </a:cubicBezTo>
                    <a:cubicBezTo>
                      <a:pt x="0" y="224"/>
                      <a:pt x="1" y="223"/>
                      <a:pt x="4" y="220"/>
                    </a:cubicBezTo>
                    <a:cubicBezTo>
                      <a:pt x="6" y="218"/>
                      <a:pt x="11" y="214"/>
                      <a:pt x="17" y="210"/>
                    </a:cubicBezTo>
                    <a:cubicBezTo>
                      <a:pt x="29" y="202"/>
                      <a:pt x="48" y="193"/>
                      <a:pt x="74" y="191"/>
                    </a:cubicBezTo>
                    <a:cubicBezTo>
                      <a:pt x="100" y="188"/>
                      <a:pt x="131" y="188"/>
                      <a:pt x="165" y="188"/>
                    </a:cubicBezTo>
                    <a:cubicBezTo>
                      <a:pt x="199" y="188"/>
                      <a:pt x="237" y="188"/>
                      <a:pt x="275" y="179"/>
                    </a:cubicBezTo>
                    <a:cubicBezTo>
                      <a:pt x="294" y="175"/>
                      <a:pt x="313" y="169"/>
                      <a:pt x="329" y="160"/>
                    </a:cubicBezTo>
                    <a:cubicBezTo>
                      <a:pt x="338" y="156"/>
                      <a:pt x="346" y="152"/>
                      <a:pt x="353" y="147"/>
                    </a:cubicBezTo>
                    <a:cubicBezTo>
                      <a:pt x="360" y="141"/>
                      <a:pt x="367" y="136"/>
                      <a:pt x="373" y="130"/>
                    </a:cubicBezTo>
                    <a:cubicBezTo>
                      <a:pt x="385" y="118"/>
                      <a:pt x="395" y="105"/>
                      <a:pt x="404" y="93"/>
                    </a:cubicBezTo>
                    <a:cubicBezTo>
                      <a:pt x="413" y="81"/>
                      <a:pt x="421" y="69"/>
                      <a:pt x="429" y="59"/>
                    </a:cubicBezTo>
                    <a:cubicBezTo>
                      <a:pt x="436" y="48"/>
                      <a:pt x="442" y="38"/>
                      <a:pt x="448" y="30"/>
                    </a:cubicBezTo>
                    <a:cubicBezTo>
                      <a:pt x="454" y="21"/>
                      <a:pt x="460" y="15"/>
                      <a:pt x="466" y="10"/>
                    </a:cubicBezTo>
                    <a:cubicBezTo>
                      <a:pt x="472" y="6"/>
                      <a:pt x="477" y="4"/>
                      <a:pt x="480" y="2"/>
                    </a:cubicBezTo>
                    <a:cubicBezTo>
                      <a:pt x="484" y="1"/>
                      <a:pt x="486" y="0"/>
                      <a:pt x="48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Freeform 180">
                <a:extLst>
                  <a:ext uri="{FF2B5EF4-FFF2-40B4-BE49-F238E27FC236}">
                    <a16:creationId xmlns:a16="http://schemas.microsoft.com/office/drawing/2014/main" id="{8BF09ECB-13D8-4CCE-A40A-7425615DB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1538"/>
                <a:ext cx="1229" cy="881"/>
              </a:xfrm>
              <a:custGeom>
                <a:avLst/>
                <a:gdLst>
                  <a:gd name="T0" fmla="*/ 0 w 518"/>
                  <a:gd name="T1" fmla="*/ 371 h 371"/>
                  <a:gd name="T2" fmla="*/ 1 w 518"/>
                  <a:gd name="T3" fmla="*/ 364 h 371"/>
                  <a:gd name="T4" fmla="*/ 4 w 518"/>
                  <a:gd name="T5" fmla="*/ 356 h 371"/>
                  <a:gd name="T6" fmla="*/ 8 w 518"/>
                  <a:gd name="T7" fmla="*/ 345 h 371"/>
                  <a:gd name="T8" fmla="*/ 22 w 518"/>
                  <a:gd name="T9" fmla="*/ 318 h 371"/>
                  <a:gd name="T10" fmla="*/ 50 w 518"/>
                  <a:gd name="T11" fmla="*/ 287 h 371"/>
                  <a:gd name="T12" fmla="*/ 148 w 518"/>
                  <a:gd name="T13" fmla="*/ 245 h 371"/>
                  <a:gd name="T14" fmla="*/ 211 w 518"/>
                  <a:gd name="T15" fmla="*/ 237 h 371"/>
                  <a:gd name="T16" fmla="*/ 279 w 518"/>
                  <a:gd name="T17" fmla="*/ 227 h 371"/>
                  <a:gd name="T18" fmla="*/ 341 w 518"/>
                  <a:gd name="T19" fmla="*/ 202 h 371"/>
                  <a:gd name="T20" fmla="*/ 388 w 518"/>
                  <a:gd name="T21" fmla="*/ 159 h 371"/>
                  <a:gd name="T22" fmla="*/ 421 w 518"/>
                  <a:gd name="T23" fmla="*/ 112 h 371"/>
                  <a:gd name="T24" fmla="*/ 449 w 518"/>
                  <a:gd name="T25" fmla="*/ 71 h 371"/>
                  <a:gd name="T26" fmla="*/ 462 w 518"/>
                  <a:gd name="T27" fmla="*/ 53 h 371"/>
                  <a:gd name="T28" fmla="*/ 468 w 518"/>
                  <a:gd name="T29" fmla="*/ 45 h 371"/>
                  <a:gd name="T30" fmla="*/ 474 w 518"/>
                  <a:gd name="T31" fmla="*/ 38 h 371"/>
                  <a:gd name="T32" fmla="*/ 486 w 518"/>
                  <a:gd name="T33" fmla="*/ 25 h 371"/>
                  <a:gd name="T34" fmla="*/ 491 w 518"/>
                  <a:gd name="T35" fmla="*/ 20 h 371"/>
                  <a:gd name="T36" fmla="*/ 496 w 518"/>
                  <a:gd name="T37" fmla="*/ 16 h 371"/>
                  <a:gd name="T38" fmla="*/ 505 w 518"/>
                  <a:gd name="T39" fmla="*/ 9 h 371"/>
                  <a:gd name="T40" fmla="*/ 512 w 518"/>
                  <a:gd name="T41" fmla="*/ 4 h 371"/>
                  <a:gd name="T42" fmla="*/ 518 w 518"/>
                  <a:gd name="T43" fmla="*/ 0 h 371"/>
                  <a:gd name="T44" fmla="*/ 512 w 518"/>
                  <a:gd name="T45" fmla="*/ 4 h 371"/>
                  <a:gd name="T46" fmla="*/ 505 w 518"/>
                  <a:gd name="T47" fmla="*/ 9 h 371"/>
                  <a:gd name="T48" fmla="*/ 497 w 518"/>
                  <a:gd name="T49" fmla="*/ 16 h 371"/>
                  <a:gd name="T50" fmla="*/ 492 w 518"/>
                  <a:gd name="T51" fmla="*/ 20 h 371"/>
                  <a:gd name="T52" fmla="*/ 486 w 518"/>
                  <a:gd name="T53" fmla="*/ 26 h 371"/>
                  <a:gd name="T54" fmla="*/ 475 w 518"/>
                  <a:gd name="T55" fmla="*/ 38 h 371"/>
                  <a:gd name="T56" fmla="*/ 469 w 518"/>
                  <a:gd name="T57" fmla="*/ 45 h 371"/>
                  <a:gd name="T58" fmla="*/ 462 w 518"/>
                  <a:gd name="T59" fmla="*/ 53 h 371"/>
                  <a:gd name="T60" fmla="*/ 450 w 518"/>
                  <a:gd name="T61" fmla="*/ 71 h 371"/>
                  <a:gd name="T62" fmla="*/ 422 w 518"/>
                  <a:gd name="T63" fmla="*/ 113 h 371"/>
                  <a:gd name="T64" fmla="*/ 389 w 518"/>
                  <a:gd name="T65" fmla="*/ 160 h 371"/>
                  <a:gd name="T66" fmla="*/ 342 w 518"/>
                  <a:gd name="T67" fmla="*/ 203 h 371"/>
                  <a:gd name="T68" fmla="*/ 279 w 518"/>
                  <a:gd name="T69" fmla="*/ 228 h 371"/>
                  <a:gd name="T70" fmla="*/ 211 w 518"/>
                  <a:gd name="T71" fmla="*/ 237 h 371"/>
                  <a:gd name="T72" fmla="*/ 148 w 518"/>
                  <a:gd name="T73" fmla="*/ 245 h 371"/>
                  <a:gd name="T74" fmla="*/ 50 w 518"/>
                  <a:gd name="T75" fmla="*/ 288 h 371"/>
                  <a:gd name="T76" fmla="*/ 8 w 518"/>
                  <a:gd name="T77" fmla="*/ 346 h 371"/>
                  <a:gd name="T78" fmla="*/ 4 w 518"/>
                  <a:gd name="T79" fmla="*/ 356 h 371"/>
                  <a:gd name="T80" fmla="*/ 2 w 518"/>
                  <a:gd name="T81" fmla="*/ 364 h 371"/>
                  <a:gd name="T82" fmla="*/ 0 w 518"/>
                  <a:gd name="T83" fmla="*/ 371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8" h="371">
                    <a:moveTo>
                      <a:pt x="0" y="371"/>
                    </a:moveTo>
                    <a:cubicBezTo>
                      <a:pt x="0" y="371"/>
                      <a:pt x="0" y="369"/>
                      <a:pt x="1" y="364"/>
                    </a:cubicBezTo>
                    <a:cubicBezTo>
                      <a:pt x="2" y="362"/>
                      <a:pt x="3" y="359"/>
                      <a:pt x="4" y="356"/>
                    </a:cubicBezTo>
                    <a:cubicBezTo>
                      <a:pt x="5" y="353"/>
                      <a:pt x="6" y="349"/>
                      <a:pt x="8" y="345"/>
                    </a:cubicBezTo>
                    <a:cubicBezTo>
                      <a:pt x="11" y="337"/>
                      <a:pt x="15" y="328"/>
                      <a:pt x="22" y="318"/>
                    </a:cubicBezTo>
                    <a:cubicBezTo>
                      <a:pt x="29" y="308"/>
                      <a:pt x="38" y="297"/>
                      <a:pt x="50" y="287"/>
                    </a:cubicBezTo>
                    <a:cubicBezTo>
                      <a:pt x="74" y="268"/>
                      <a:pt x="108" y="252"/>
                      <a:pt x="148" y="245"/>
                    </a:cubicBezTo>
                    <a:cubicBezTo>
                      <a:pt x="168" y="241"/>
                      <a:pt x="189" y="239"/>
                      <a:pt x="211" y="237"/>
                    </a:cubicBezTo>
                    <a:cubicBezTo>
                      <a:pt x="233" y="234"/>
                      <a:pt x="256" y="232"/>
                      <a:pt x="279" y="227"/>
                    </a:cubicBezTo>
                    <a:cubicBezTo>
                      <a:pt x="301" y="222"/>
                      <a:pt x="323" y="214"/>
                      <a:pt x="341" y="202"/>
                    </a:cubicBezTo>
                    <a:cubicBezTo>
                      <a:pt x="360" y="190"/>
                      <a:pt x="375" y="175"/>
                      <a:pt x="388" y="159"/>
                    </a:cubicBezTo>
                    <a:cubicBezTo>
                      <a:pt x="401" y="144"/>
                      <a:pt x="411" y="127"/>
                      <a:pt x="421" y="112"/>
                    </a:cubicBezTo>
                    <a:cubicBezTo>
                      <a:pt x="431" y="97"/>
                      <a:pt x="440" y="83"/>
                      <a:pt x="449" y="71"/>
                    </a:cubicBezTo>
                    <a:cubicBezTo>
                      <a:pt x="454" y="64"/>
                      <a:pt x="458" y="58"/>
                      <a:pt x="462" y="53"/>
                    </a:cubicBezTo>
                    <a:cubicBezTo>
                      <a:pt x="464" y="50"/>
                      <a:pt x="466" y="48"/>
                      <a:pt x="468" y="45"/>
                    </a:cubicBezTo>
                    <a:cubicBezTo>
                      <a:pt x="470" y="43"/>
                      <a:pt x="472" y="40"/>
                      <a:pt x="474" y="38"/>
                    </a:cubicBezTo>
                    <a:cubicBezTo>
                      <a:pt x="478" y="33"/>
                      <a:pt x="482" y="29"/>
                      <a:pt x="486" y="25"/>
                    </a:cubicBezTo>
                    <a:cubicBezTo>
                      <a:pt x="488" y="24"/>
                      <a:pt x="490" y="22"/>
                      <a:pt x="491" y="20"/>
                    </a:cubicBezTo>
                    <a:cubicBezTo>
                      <a:pt x="493" y="19"/>
                      <a:pt x="495" y="17"/>
                      <a:pt x="496" y="16"/>
                    </a:cubicBezTo>
                    <a:cubicBezTo>
                      <a:pt x="500" y="13"/>
                      <a:pt x="502" y="10"/>
                      <a:pt x="505" y="9"/>
                    </a:cubicBezTo>
                    <a:cubicBezTo>
                      <a:pt x="508" y="7"/>
                      <a:pt x="510" y="5"/>
                      <a:pt x="512" y="4"/>
                    </a:cubicBezTo>
                    <a:cubicBezTo>
                      <a:pt x="516" y="1"/>
                      <a:pt x="518" y="0"/>
                      <a:pt x="518" y="0"/>
                    </a:cubicBezTo>
                    <a:cubicBezTo>
                      <a:pt x="518" y="0"/>
                      <a:pt x="516" y="1"/>
                      <a:pt x="512" y="4"/>
                    </a:cubicBezTo>
                    <a:cubicBezTo>
                      <a:pt x="510" y="5"/>
                      <a:pt x="508" y="7"/>
                      <a:pt x="505" y="9"/>
                    </a:cubicBezTo>
                    <a:cubicBezTo>
                      <a:pt x="503" y="11"/>
                      <a:pt x="500" y="13"/>
                      <a:pt x="497" y="16"/>
                    </a:cubicBezTo>
                    <a:cubicBezTo>
                      <a:pt x="495" y="17"/>
                      <a:pt x="493" y="19"/>
                      <a:pt x="492" y="20"/>
                    </a:cubicBezTo>
                    <a:cubicBezTo>
                      <a:pt x="490" y="22"/>
                      <a:pt x="488" y="24"/>
                      <a:pt x="486" y="26"/>
                    </a:cubicBezTo>
                    <a:cubicBezTo>
                      <a:pt x="483" y="30"/>
                      <a:pt x="479" y="33"/>
                      <a:pt x="475" y="38"/>
                    </a:cubicBezTo>
                    <a:cubicBezTo>
                      <a:pt x="473" y="41"/>
                      <a:pt x="471" y="43"/>
                      <a:pt x="469" y="45"/>
                    </a:cubicBezTo>
                    <a:cubicBezTo>
                      <a:pt x="467" y="48"/>
                      <a:pt x="465" y="51"/>
                      <a:pt x="462" y="53"/>
                    </a:cubicBezTo>
                    <a:cubicBezTo>
                      <a:pt x="458" y="59"/>
                      <a:pt x="454" y="65"/>
                      <a:pt x="450" y="71"/>
                    </a:cubicBezTo>
                    <a:cubicBezTo>
                      <a:pt x="441" y="84"/>
                      <a:pt x="432" y="98"/>
                      <a:pt x="422" y="113"/>
                    </a:cubicBezTo>
                    <a:cubicBezTo>
                      <a:pt x="412" y="128"/>
                      <a:pt x="401" y="144"/>
                      <a:pt x="389" y="160"/>
                    </a:cubicBezTo>
                    <a:cubicBezTo>
                      <a:pt x="376" y="175"/>
                      <a:pt x="361" y="191"/>
                      <a:pt x="342" y="203"/>
                    </a:cubicBezTo>
                    <a:cubicBezTo>
                      <a:pt x="323" y="215"/>
                      <a:pt x="302" y="223"/>
                      <a:pt x="279" y="228"/>
                    </a:cubicBezTo>
                    <a:cubicBezTo>
                      <a:pt x="256" y="233"/>
                      <a:pt x="233" y="235"/>
                      <a:pt x="211" y="237"/>
                    </a:cubicBezTo>
                    <a:cubicBezTo>
                      <a:pt x="189" y="239"/>
                      <a:pt x="168" y="242"/>
                      <a:pt x="148" y="245"/>
                    </a:cubicBezTo>
                    <a:cubicBezTo>
                      <a:pt x="108" y="253"/>
                      <a:pt x="74" y="269"/>
                      <a:pt x="50" y="288"/>
                    </a:cubicBezTo>
                    <a:cubicBezTo>
                      <a:pt x="27" y="307"/>
                      <a:pt x="14" y="330"/>
                      <a:pt x="8" y="346"/>
                    </a:cubicBezTo>
                    <a:cubicBezTo>
                      <a:pt x="6" y="350"/>
                      <a:pt x="5" y="353"/>
                      <a:pt x="4" y="356"/>
                    </a:cubicBezTo>
                    <a:cubicBezTo>
                      <a:pt x="3" y="359"/>
                      <a:pt x="2" y="362"/>
                      <a:pt x="2" y="364"/>
                    </a:cubicBezTo>
                    <a:cubicBezTo>
                      <a:pt x="0" y="369"/>
                      <a:pt x="0" y="371"/>
                      <a:pt x="0" y="3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Freeform 181">
                <a:extLst>
                  <a:ext uri="{FF2B5EF4-FFF2-40B4-BE49-F238E27FC236}">
                    <a16:creationId xmlns:a16="http://schemas.microsoft.com/office/drawing/2014/main" id="{292FAF4D-C319-4A81-BCFE-ED02D4A0B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" y="1611"/>
                <a:ext cx="413" cy="940"/>
              </a:xfrm>
              <a:custGeom>
                <a:avLst/>
                <a:gdLst>
                  <a:gd name="T0" fmla="*/ 117 w 174"/>
                  <a:gd name="T1" fmla="*/ 283 h 396"/>
                  <a:gd name="T2" fmla="*/ 101 w 174"/>
                  <a:gd name="T3" fmla="*/ 307 h 396"/>
                  <a:gd name="T4" fmla="*/ 82 w 174"/>
                  <a:gd name="T5" fmla="*/ 301 h 396"/>
                  <a:gd name="T6" fmla="*/ 71 w 174"/>
                  <a:gd name="T7" fmla="*/ 285 h 396"/>
                  <a:gd name="T8" fmla="*/ 66 w 174"/>
                  <a:gd name="T9" fmla="*/ 216 h 396"/>
                  <a:gd name="T10" fmla="*/ 85 w 174"/>
                  <a:gd name="T11" fmla="*/ 164 h 396"/>
                  <a:gd name="T12" fmla="*/ 120 w 174"/>
                  <a:gd name="T13" fmla="*/ 151 h 396"/>
                  <a:gd name="T14" fmla="*/ 147 w 174"/>
                  <a:gd name="T15" fmla="*/ 210 h 396"/>
                  <a:gd name="T16" fmla="*/ 158 w 174"/>
                  <a:gd name="T17" fmla="*/ 332 h 396"/>
                  <a:gd name="T18" fmla="*/ 141 w 174"/>
                  <a:gd name="T19" fmla="*/ 380 h 396"/>
                  <a:gd name="T20" fmla="*/ 93 w 174"/>
                  <a:gd name="T21" fmla="*/ 393 h 396"/>
                  <a:gd name="T22" fmla="*/ 50 w 174"/>
                  <a:gd name="T23" fmla="*/ 364 h 396"/>
                  <a:gd name="T24" fmla="*/ 5 w 174"/>
                  <a:gd name="T25" fmla="*/ 305 h 396"/>
                  <a:gd name="T26" fmla="*/ 10 w 174"/>
                  <a:gd name="T27" fmla="*/ 236 h 396"/>
                  <a:gd name="T28" fmla="*/ 21 w 174"/>
                  <a:gd name="T29" fmla="*/ 204 h 396"/>
                  <a:gd name="T30" fmla="*/ 33 w 174"/>
                  <a:gd name="T31" fmla="*/ 175 h 396"/>
                  <a:gd name="T32" fmla="*/ 143 w 174"/>
                  <a:gd name="T33" fmla="*/ 26 h 396"/>
                  <a:gd name="T34" fmla="*/ 174 w 174"/>
                  <a:gd name="T35" fmla="*/ 0 h 396"/>
                  <a:gd name="T36" fmla="*/ 143 w 174"/>
                  <a:gd name="T37" fmla="*/ 26 h 396"/>
                  <a:gd name="T38" fmla="*/ 34 w 174"/>
                  <a:gd name="T39" fmla="*/ 176 h 396"/>
                  <a:gd name="T40" fmla="*/ 21 w 174"/>
                  <a:gd name="T41" fmla="*/ 205 h 396"/>
                  <a:gd name="T42" fmla="*/ 11 w 174"/>
                  <a:gd name="T43" fmla="*/ 236 h 396"/>
                  <a:gd name="T44" fmla="*/ 6 w 174"/>
                  <a:gd name="T45" fmla="*/ 305 h 396"/>
                  <a:gd name="T46" fmla="*/ 50 w 174"/>
                  <a:gd name="T47" fmla="*/ 363 h 396"/>
                  <a:gd name="T48" fmla="*/ 93 w 174"/>
                  <a:gd name="T49" fmla="*/ 392 h 396"/>
                  <a:gd name="T50" fmla="*/ 141 w 174"/>
                  <a:gd name="T51" fmla="*/ 380 h 396"/>
                  <a:gd name="T52" fmla="*/ 157 w 174"/>
                  <a:gd name="T53" fmla="*/ 332 h 396"/>
                  <a:gd name="T54" fmla="*/ 146 w 174"/>
                  <a:gd name="T55" fmla="*/ 211 h 396"/>
                  <a:gd name="T56" fmla="*/ 119 w 174"/>
                  <a:gd name="T57" fmla="*/ 151 h 396"/>
                  <a:gd name="T58" fmla="*/ 86 w 174"/>
                  <a:gd name="T59" fmla="*/ 164 h 396"/>
                  <a:gd name="T60" fmla="*/ 66 w 174"/>
                  <a:gd name="T61" fmla="*/ 216 h 396"/>
                  <a:gd name="T62" fmla="*/ 72 w 174"/>
                  <a:gd name="T63" fmla="*/ 285 h 396"/>
                  <a:gd name="T64" fmla="*/ 82 w 174"/>
                  <a:gd name="T65" fmla="*/ 300 h 396"/>
                  <a:gd name="T66" fmla="*/ 101 w 174"/>
                  <a:gd name="T67" fmla="*/ 307 h 396"/>
                  <a:gd name="T68" fmla="*/ 117 w 174"/>
                  <a:gd name="T69" fmla="*/ 283 h 396"/>
                  <a:gd name="T70" fmla="*/ 118 w 174"/>
                  <a:gd name="T71" fmla="*/ 273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74" h="396">
                    <a:moveTo>
                      <a:pt x="118" y="273"/>
                    </a:moveTo>
                    <a:cubicBezTo>
                      <a:pt x="118" y="273"/>
                      <a:pt x="118" y="276"/>
                      <a:pt x="117" y="283"/>
                    </a:cubicBezTo>
                    <a:cubicBezTo>
                      <a:pt x="117" y="286"/>
                      <a:pt x="116" y="291"/>
                      <a:pt x="114" y="295"/>
                    </a:cubicBezTo>
                    <a:cubicBezTo>
                      <a:pt x="112" y="300"/>
                      <a:pt x="108" y="305"/>
                      <a:pt x="101" y="307"/>
                    </a:cubicBezTo>
                    <a:cubicBezTo>
                      <a:pt x="98" y="308"/>
                      <a:pt x="95" y="308"/>
                      <a:pt x="91" y="307"/>
                    </a:cubicBezTo>
                    <a:cubicBezTo>
                      <a:pt x="88" y="305"/>
                      <a:pt x="84" y="303"/>
                      <a:pt x="82" y="301"/>
                    </a:cubicBezTo>
                    <a:cubicBezTo>
                      <a:pt x="79" y="298"/>
                      <a:pt x="76" y="294"/>
                      <a:pt x="74" y="291"/>
                    </a:cubicBezTo>
                    <a:cubicBezTo>
                      <a:pt x="73" y="289"/>
                      <a:pt x="72" y="287"/>
                      <a:pt x="71" y="285"/>
                    </a:cubicBezTo>
                    <a:cubicBezTo>
                      <a:pt x="70" y="283"/>
                      <a:pt x="69" y="281"/>
                      <a:pt x="69" y="278"/>
                    </a:cubicBezTo>
                    <a:cubicBezTo>
                      <a:pt x="63" y="261"/>
                      <a:pt x="61" y="239"/>
                      <a:pt x="66" y="216"/>
                    </a:cubicBezTo>
                    <a:cubicBezTo>
                      <a:pt x="68" y="205"/>
                      <a:pt x="72" y="193"/>
                      <a:pt x="77" y="181"/>
                    </a:cubicBezTo>
                    <a:cubicBezTo>
                      <a:pt x="79" y="175"/>
                      <a:pt x="82" y="169"/>
                      <a:pt x="85" y="164"/>
                    </a:cubicBezTo>
                    <a:cubicBezTo>
                      <a:pt x="89" y="158"/>
                      <a:pt x="93" y="153"/>
                      <a:pt x="100" y="150"/>
                    </a:cubicBezTo>
                    <a:cubicBezTo>
                      <a:pt x="106" y="146"/>
                      <a:pt x="114" y="147"/>
                      <a:pt x="120" y="151"/>
                    </a:cubicBezTo>
                    <a:cubicBezTo>
                      <a:pt x="126" y="155"/>
                      <a:pt x="130" y="161"/>
                      <a:pt x="133" y="168"/>
                    </a:cubicBezTo>
                    <a:cubicBezTo>
                      <a:pt x="139" y="181"/>
                      <a:pt x="143" y="196"/>
                      <a:pt x="147" y="210"/>
                    </a:cubicBezTo>
                    <a:cubicBezTo>
                      <a:pt x="155" y="240"/>
                      <a:pt x="159" y="273"/>
                      <a:pt x="159" y="306"/>
                    </a:cubicBezTo>
                    <a:cubicBezTo>
                      <a:pt x="159" y="315"/>
                      <a:pt x="158" y="323"/>
                      <a:pt x="158" y="332"/>
                    </a:cubicBezTo>
                    <a:cubicBezTo>
                      <a:pt x="157" y="340"/>
                      <a:pt x="156" y="349"/>
                      <a:pt x="154" y="357"/>
                    </a:cubicBezTo>
                    <a:cubicBezTo>
                      <a:pt x="151" y="365"/>
                      <a:pt x="147" y="374"/>
                      <a:pt x="141" y="380"/>
                    </a:cubicBezTo>
                    <a:cubicBezTo>
                      <a:pt x="136" y="387"/>
                      <a:pt x="128" y="392"/>
                      <a:pt x="119" y="394"/>
                    </a:cubicBezTo>
                    <a:cubicBezTo>
                      <a:pt x="110" y="396"/>
                      <a:pt x="101" y="395"/>
                      <a:pt x="93" y="393"/>
                    </a:cubicBezTo>
                    <a:cubicBezTo>
                      <a:pt x="84" y="390"/>
                      <a:pt x="77" y="386"/>
                      <a:pt x="70" y="381"/>
                    </a:cubicBezTo>
                    <a:cubicBezTo>
                      <a:pt x="63" y="375"/>
                      <a:pt x="56" y="370"/>
                      <a:pt x="50" y="364"/>
                    </a:cubicBezTo>
                    <a:cubicBezTo>
                      <a:pt x="44" y="358"/>
                      <a:pt x="37" y="352"/>
                      <a:pt x="32" y="346"/>
                    </a:cubicBezTo>
                    <a:cubicBezTo>
                      <a:pt x="20" y="334"/>
                      <a:pt x="10" y="321"/>
                      <a:pt x="5" y="305"/>
                    </a:cubicBezTo>
                    <a:cubicBezTo>
                      <a:pt x="0" y="289"/>
                      <a:pt x="2" y="273"/>
                      <a:pt x="5" y="258"/>
                    </a:cubicBezTo>
                    <a:cubicBezTo>
                      <a:pt x="6" y="250"/>
                      <a:pt x="8" y="243"/>
                      <a:pt x="10" y="236"/>
                    </a:cubicBezTo>
                    <a:cubicBezTo>
                      <a:pt x="12" y="229"/>
                      <a:pt x="15" y="222"/>
                      <a:pt x="17" y="215"/>
                    </a:cubicBezTo>
                    <a:cubicBezTo>
                      <a:pt x="18" y="211"/>
                      <a:pt x="19" y="208"/>
                      <a:pt x="21" y="204"/>
                    </a:cubicBezTo>
                    <a:cubicBezTo>
                      <a:pt x="22" y="201"/>
                      <a:pt x="23" y="198"/>
                      <a:pt x="25" y="194"/>
                    </a:cubicBezTo>
                    <a:cubicBezTo>
                      <a:pt x="27" y="188"/>
                      <a:pt x="30" y="181"/>
                      <a:pt x="33" y="175"/>
                    </a:cubicBezTo>
                    <a:cubicBezTo>
                      <a:pt x="44" y="150"/>
                      <a:pt x="57" y="128"/>
                      <a:pt x="70" y="109"/>
                    </a:cubicBezTo>
                    <a:cubicBezTo>
                      <a:pt x="97" y="70"/>
                      <a:pt x="123" y="43"/>
                      <a:pt x="143" y="26"/>
                    </a:cubicBezTo>
                    <a:cubicBezTo>
                      <a:pt x="152" y="17"/>
                      <a:pt x="160" y="11"/>
                      <a:pt x="166" y="6"/>
                    </a:cubicBezTo>
                    <a:cubicBezTo>
                      <a:pt x="171" y="2"/>
                      <a:pt x="174" y="0"/>
                      <a:pt x="174" y="0"/>
                    </a:cubicBezTo>
                    <a:cubicBezTo>
                      <a:pt x="174" y="0"/>
                      <a:pt x="171" y="2"/>
                      <a:pt x="166" y="7"/>
                    </a:cubicBezTo>
                    <a:cubicBezTo>
                      <a:pt x="160" y="11"/>
                      <a:pt x="153" y="17"/>
                      <a:pt x="143" y="26"/>
                    </a:cubicBezTo>
                    <a:cubicBezTo>
                      <a:pt x="124" y="43"/>
                      <a:pt x="97" y="71"/>
                      <a:pt x="71" y="109"/>
                    </a:cubicBezTo>
                    <a:cubicBezTo>
                      <a:pt x="58" y="128"/>
                      <a:pt x="45" y="151"/>
                      <a:pt x="34" y="176"/>
                    </a:cubicBezTo>
                    <a:cubicBezTo>
                      <a:pt x="31" y="182"/>
                      <a:pt x="28" y="188"/>
                      <a:pt x="25" y="195"/>
                    </a:cubicBezTo>
                    <a:cubicBezTo>
                      <a:pt x="24" y="198"/>
                      <a:pt x="23" y="201"/>
                      <a:pt x="21" y="205"/>
                    </a:cubicBezTo>
                    <a:cubicBezTo>
                      <a:pt x="20" y="208"/>
                      <a:pt x="19" y="211"/>
                      <a:pt x="18" y="215"/>
                    </a:cubicBezTo>
                    <a:cubicBezTo>
                      <a:pt x="15" y="222"/>
                      <a:pt x="13" y="229"/>
                      <a:pt x="11" y="236"/>
                    </a:cubicBezTo>
                    <a:cubicBezTo>
                      <a:pt x="9" y="243"/>
                      <a:pt x="7" y="251"/>
                      <a:pt x="5" y="258"/>
                    </a:cubicBezTo>
                    <a:cubicBezTo>
                      <a:pt x="2" y="273"/>
                      <a:pt x="1" y="289"/>
                      <a:pt x="6" y="305"/>
                    </a:cubicBezTo>
                    <a:cubicBezTo>
                      <a:pt x="10" y="320"/>
                      <a:pt x="21" y="334"/>
                      <a:pt x="32" y="346"/>
                    </a:cubicBezTo>
                    <a:cubicBezTo>
                      <a:pt x="38" y="352"/>
                      <a:pt x="44" y="357"/>
                      <a:pt x="50" y="363"/>
                    </a:cubicBezTo>
                    <a:cubicBezTo>
                      <a:pt x="57" y="369"/>
                      <a:pt x="63" y="375"/>
                      <a:pt x="70" y="380"/>
                    </a:cubicBezTo>
                    <a:cubicBezTo>
                      <a:pt x="77" y="385"/>
                      <a:pt x="85" y="389"/>
                      <a:pt x="93" y="392"/>
                    </a:cubicBezTo>
                    <a:cubicBezTo>
                      <a:pt x="101" y="394"/>
                      <a:pt x="110" y="395"/>
                      <a:pt x="119" y="393"/>
                    </a:cubicBezTo>
                    <a:cubicBezTo>
                      <a:pt x="128" y="392"/>
                      <a:pt x="135" y="386"/>
                      <a:pt x="141" y="380"/>
                    </a:cubicBezTo>
                    <a:cubicBezTo>
                      <a:pt x="146" y="373"/>
                      <a:pt x="150" y="365"/>
                      <a:pt x="153" y="357"/>
                    </a:cubicBezTo>
                    <a:cubicBezTo>
                      <a:pt x="155" y="349"/>
                      <a:pt x="156" y="340"/>
                      <a:pt x="157" y="332"/>
                    </a:cubicBezTo>
                    <a:cubicBezTo>
                      <a:pt x="158" y="323"/>
                      <a:pt x="158" y="315"/>
                      <a:pt x="158" y="306"/>
                    </a:cubicBezTo>
                    <a:cubicBezTo>
                      <a:pt x="158" y="273"/>
                      <a:pt x="154" y="240"/>
                      <a:pt x="146" y="211"/>
                    </a:cubicBezTo>
                    <a:cubicBezTo>
                      <a:pt x="142" y="196"/>
                      <a:pt x="138" y="181"/>
                      <a:pt x="132" y="168"/>
                    </a:cubicBezTo>
                    <a:cubicBezTo>
                      <a:pt x="129" y="161"/>
                      <a:pt x="125" y="155"/>
                      <a:pt x="119" y="151"/>
                    </a:cubicBezTo>
                    <a:cubicBezTo>
                      <a:pt x="114" y="147"/>
                      <a:pt x="106" y="147"/>
                      <a:pt x="100" y="150"/>
                    </a:cubicBezTo>
                    <a:cubicBezTo>
                      <a:pt x="94" y="153"/>
                      <a:pt x="89" y="159"/>
                      <a:pt x="86" y="164"/>
                    </a:cubicBezTo>
                    <a:cubicBezTo>
                      <a:pt x="82" y="170"/>
                      <a:pt x="80" y="176"/>
                      <a:pt x="77" y="181"/>
                    </a:cubicBezTo>
                    <a:cubicBezTo>
                      <a:pt x="72" y="193"/>
                      <a:pt x="69" y="205"/>
                      <a:pt x="66" y="216"/>
                    </a:cubicBezTo>
                    <a:cubicBezTo>
                      <a:pt x="62" y="239"/>
                      <a:pt x="63" y="261"/>
                      <a:pt x="69" y="278"/>
                    </a:cubicBezTo>
                    <a:cubicBezTo>
                      <a:pt x="70" y="280"/>
                      <a:pt x="71" y="282"/>
                      <a:pt x="72" y="285"/>
                    </a:cubicBezTo>
                    <a:cubicBezTo>
                      <a:pt x="72" y="287"/>
                      <a:pt x="73" y="289"/>
                      <a:pt x="74" y="290"/>
                    </a:cubicBezTo>
                    <a:cubicBezTo>
                      <a:pt x="76" y="294"/>
                      <a:pt x="79" y="297"/>
                      <a:pt x="82" y="300"/>
                    </a:cubicBezTo>
                    <a:cubicBezTo>
                      <a:pt x="85" y="303"/>
                      <a:pt x="88" y="305"/>
                      <a:pt x="91" y="306"/>
                    </a:cubicBezTo>
                    <a:cubicBezTo>
                      <a:pt x="95" y="308"/>
                      <a:pt x="98" y="307"/>
                      <a:pt x="101" y="307"/>
                    </a:cubicBezTo>
                    <a:cubicBezTo>
                      <a:pt x="108" y="305"/>
                      <a:pt x="111" y="300"/>
                      <a:pt x="113" y="295"/>
                    </a:cubicBezTo>
                    <a:cubicBezTo>
                      <a:pt x="115" y="291"/>
                      <a:pt x="116" y="286"/>
                      <a:pt x="117" y="283"/>
                    </a:cubicBezTo>
                    <a:cubicBezTo>
                      <a:pt x="118" y="280"/>
                      <a:pt x="118" y="277"/>
                      <a:pt x="118" y="275"/>
                    </a:cubicBezTo>
                    <a:cubicBezTo>
                      <a:pt x="118" y="274"/>
                      <a:pt x="118" y="273"/>
                      <a:pt x="118" y="27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Freeform 182">
                <a:extLst>
                  <a:ext uri="{FF2B5EF4-FFF2-40B4-BE49-F238E27FC236}">
                    <a16:creationId xmlns:a16="http://schemas.microsoft.com/office/drawing/2014/main" id="{C0B870FF-913A-4D5B-8EDA-73E82BCD12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2124"/>
                <a:ext cx="828" cy="378"/>
              </a:xfrm>
              <a:custGeom>
                <a:avLst/>
                <a:gdLst>
                  <a:gd name="T0" fmla="*/ 349 w 349"/>
                  <a:gd name="T1" fmla="*/ 0 h 159"/>
                  <a:gd name="T2" fmla="*/ 345 w 349"/>
                  <a:gd name="T3" fmla="*/ 2 h 159"/>
                  <a:gd name="T4" fmla="*/ 336 w 349"/>
                  <a:gd name="T5" fmla="*/ 9 h 159"/>
                  <a:gd name="T6" fmla="*/ 295 w 349"/>
                  <a:gd name="T7" fmla="*/ 26 h 159"/>
                  <a:gd name="T8" fmla="*/ 231 w 349"/>
                  <a:gd name="T9" fmla="*/ 33 h 159"/>
                  <a:gd name="T10" fmla="*/ 151 w 349"/>
                  <a:gd name="T11" fmla="*/ 38 h 159"/>
                  <a:gd name="T12" fmla="*/ 77 w 349"/>
                  <a:gd name="T13" fmla="*/ 64 h 159"/>
                  <a:gd name="T14" fmla="*/ 28 w 349"/>
                  <a:gd name="T15" fmla="*/ 107 h 159"/>
                  <a:gd name="T16" fmla="*/ 6 w 349"/>
                  <a:gd name="T17" fmla="*/ 144 h 159"/>
                  <a:gd name="T18" fmla="*/ 1 w 349"/>
                  <a:gd name="T19" fmla="*/ 155 h 159"/>
                  <a:gd name="T20" fmla="*/ 0 w 349"/>
                  <a:gd name="T21" fmla="*/ 159 h 159"/>
                  <a:gd name="T22" fmla="*/ 1 w 349"/>
                  <a:gd name="T23" fmla="*/ 155 h 159"/>
                  <a:gd name="T24" fmla="*/ 5 w 349"/>
                  <a:gd name="T25" fmla="*/ 144 h 159"/>
                  <a:gd name="T26" fmla="*/ 28 w 349"/>
                  <a:gd name="T27" fmla="*/ 106 h 159"/>
                  <a:gd name="T28" fmla="*/ 76 w 349"/>
                  <a:gd name="T29" fmla="*/ 63 h 159"/>
                  <a:gd name="T30" fmla="*/ 151 w 349"/>
                  <a:gd name="T31" fmla="*/ 37 h 159"/>
                  <a:gd name="T32" fmla="*/ 231 w 349"/>
                  <a:gd name="T33" fmla="*/ 32 h 159"/>
                  <a:gd name="T34" fmla="*/ 295 w 349"/>
                  <a:gd name="T35" fmla="*/ 25 h 159"/>
                  <a:gd name="T36" fmla="*/ 335 w 349"/>
                  <a:gd name="T37" fmla="*/ 9 h 159"/>
                  <a:gd name="T38" fmla="*/ 345 w 349"/>
                  <a:gd name="T39" fmla="*/ 2 h 159"/>
                  <a:gd name="T40" fmla="*/ 349 w 349"/>
                  <a:gd name="T41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9" h="159">
                    <a:moveTo>
                      <a:pt x="349" y="0"/>
                    </a:moveTo>
                    <a:cubicBezTo>
                      <a:pt x="349" y="0"/>
                      <a:pt x="347" y="1"/>
                      <a:pt x="345" y="2"/>
                    </a:cubicBezTo>
                    <a:cubicBezTo>
                      <a:pt x="343" y="4"/>
                      <a:pt x="340" y="6"/>
                      <a:pt x="336" y="9"/>
                    </a:cubicBezTo>
                    <a:cubicBezTo>
                      <a:pt x="327" y="15"/>
                      <a:pt x="313" y="21"/>
                      <a:pt x="295" y="26"/>
                    </a:cubicBezTo>
                    <a:cubicBezTo>
                      <a:pt x="277" y="30"/>
                      <a:pt x="255" y="32"/>
                      <a:pt x="231" y="33"/>
                    </a:cubicBezTo>
                    <a:cubicBezTo>
                      <a:pt x="206" y="34"/>
                      <a:pt x="179" y="33"/>
                      <a:pt x="151" y="38"/>
                    </a:cubicBezTo>
                    <a:cubicBezTo>
                      <a:pt x="123" y="42"/>
                      <a:pt x="98" y="51"/>
                      <a:pt x="77" y="64"/>
                    </a:cubicBezTo>
                    <a:cubicBezTo>
                      <a:pt x="56" y="77"/>
                      <a:pt x="40" y="92"/>
                      <a:pt x="28" y="107"/>
                    </a:cubicBezTo>
                    <a:cubicBezTo>
                      <a:pt x="17" y="121"/>
                      <a:pt x="10" y="134"/>
                      <a:pt x="6" y="144"/>
                    </a:cubicBezTo>
                    <a:cubicBezTo>
                      <a:pt x="3" y="149"/>
                      <a:pt x="2" y="152"/>
                      <a:pt x="1" y="155"/>
                    </a:cubicBezTo>
                    <a:cubicBezTo>
                      <a:pt x="0" y="157"/>
                      <a:pt x="0" y="159"/>
                      <a:pt x="0" y="159"/>
                    </a:cubicBezTo>
                    <a:cubicBezTo>
                      <a:pt x="0" y="159"/>
                      <a:pt x="0" y="157"/>
                      <a:pt x="1" y="155"/>
                    </a:cubicBezTo>
                    <a:cubicBezTo>
                      <a:pt x="2" y="152"/>
                      <a:pt x="3" y="148"/>
                      <a:pt x="5" y="144"/>
                    </a:cubicBezTo>
                    <a:cubicBezTo>
                      <a:pt x="9" y="134"/>
                      <a:pt x="16" y="121"/>
                      <a:pt x="28" y="106"/>
                    </a:cubicBezTo>
                    <a:cubicBezTo>
                      <a:pt x="39" y="92"/>
                      <a:pt x="55" y="76"/>
                      <a:pt x="76" y="63"/>
                    </a:cubicBezTo>
                    <a:cubicBezTo>
                      <a:pt x="97" y="51"/>
                      <a:pt x="123" y="41"/>
                      <a:pt x="151" y="37"/>
                    </a:cubicBezTo>
                    <a:cubicBezTo>
                      <a:pt x="179" y="32"/>
                      <a:pt x="206" y="33"/>
                      <a:pt x="231" y="32"/>
                    </a:cubicBezTo>
                    <a:cubicBezTo>
                      <a:pt x="255" y="32"/>
                      <a:pt x="277" y="30"/>
                      <a:pt x="295" y="25"/>
                    </a:cubicBezTo>
                    <a:cubicBezTo>
                      <a:pt x="313" y="21"/>
                      <a:pt x="327" y="14"/>
                      <a:pt x="335" y="9"/>
                    </a:cubicBezTo>
                    <a:cubicBezTo>
                      <a:pt x="340" y="6"/>
                      <a:pt x="343" y="4"/>
                      <a:pt x="345" y="2"/>
                    </a:cubicBezTo>
                    <a:cubicBezTo>
                      <a:pt x="347" y="0"/>
                      <a:pt x="349" y="0"/>
                      <a:pt x="34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Freeform 183">
                <a:extLst>
                  <a:ext uri="{FF2B5EF4-FFF2-40B4-BE49-F238E27FC236}">
                    <a16:creationId xmlns:a16="http://schemas.microsoft.com/office/drawing/2014/main" id="{ECB6C7D1-4871-4038-87BB-A1FFDE3ED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4" y="2290"/>
                <a:ext cx="760" cy="981"/>
              </a:xfrm>
              <a:custGeom>
                <a:avLst/>
                <a:gdLst>
                  <a:gd name="T0" fmla="*/ 1 w 320"/>
                  <a:gd name="T1" fmla="*/ 413 h 413"/>
                  <a:gd name="T2" fmla="*/ 11 w 320"/>
                  <a:gd name="T3" fmla="*/ 413 h 413"/>
                  <a:gd name="T4" fmla="*/ 40 w 320"/>
                  <a:gd name="T5" fmla="*/ 410 h 413"/>
                  <a:gd name="T6" fmla="*/ 84 w 320"/>
                  <a:gd name="T7" fmla="*/ 401 h 413"/>
                  <a:gd name="T8" fmla="*/ 139 w 320"/>
                  <a:gd name="T9" fmla="*/ 377 h 413"/>
                  <a:gd name="T10" fmla="*/ 198 w 320"/>
                  <a:gd name="T11" fmla="*/ 335 h 413"/>
                  <a:gd name="T12" fmla="*/ 225 w 320"/>
                  <a:gd name="T13" fmla="*/ 305 h 413"/>
                  <a:gd name="T14" fmla="*/ 250 w 320"/>
                  <a:gd name="T15" fmla="*/ 271 h 413"/>
                  <a:gd name="T16" fmla="*/ 312 w 320"/>
                  <a:gd name="T17" fmla="*/ 91 h 413"/>
                  <a:gd name="T18" fmla="*/ 319 w 320"/>
                  <a:gd name="T19" fmla="*/ 1 h 413"/>
                  <a:gd name="T20" fmla="*/ 320 w 320"/>
                  <a:gd name="T21" fmla="*/ 1 h 413"/>
                  <a:gd name="T22" fmla="*/ 164 w 320"/>
                  <a:gd name="T23" fmla="*/ 29 h 413"/>
                  <a:gd name="T24" fmla="*/ 58 w 320"/>
                  <a:gd name="T25" fmla="*/ 96 h 413"/>
                  <a:gd name="T26" fmla="*/ 28 w 320"/>
                  <a:gd name="T27" fmla="*/ 133 h 413"/>
                  <a:gd name="T28" fmla="*/ 8 w 320"/>
                  <a:gd name="T29" fmla="*/ 164 h 413"/>
                  <a:gd name="T30" fmla="*/ 0 w 320"/>
                  <a:gd name="T31" fmla="*/ 185 h 413"/>
                  <a:gd name="T32" fmla="*/ 0 w 320"/>
                  <a:gd name="T33" fmla="*/ 190 h 413"/>
                  <a:gd name="T34" fmla="*/ 0 w 320"/>
                  <a:gd name="T35" fmla="*/ 192 h 413"/>
                  <a:gd name="T36" fmla="*/ 0 w 320"/>
                  <a:gd name="T37" fmla="*/ 190 h 413"/>
                  <a:gd name="T38" fmla="*/ 0 w 320"/>
                  <a:gd name="T39" fmla="*/ 185 h 413"/>
                  <a:gd name="T40" fmla="*/ 8 w 320"/>
                  <a:gd name="T41" fmla="*/ 163 h 413"/>
                  <a:gd name="T42" fmla="*/ 27 w 320"/>
                  <a:gd name="T43" fmla="*/ 133 h 413"/>
                  <a:gd name="T44" fmla="*/ 58 w 320"/>
                  <a:gd name="T45" fmla="*/ 96 h 413"/>
                  <a:gd name="T46" fmla="*/ 164 w 320"/>
                  <a:gd name="T47" fmla="*/ 28 h 413"/>
                  <a:gd name="T48" fmla="*/ 320 w 320"/>
                  <a:gd name="T49" fmla="*/ 0 h 413"/>
                  <a:gd name="T50" fmla="*/ 320 w 320"/>
                  <a:gd name="T51" fmla="*/ 0 h 413"/>
                  <a:gd name="T52" fmla="*/ 320 w 320"/>
                  <a:gd name="T53" fmla="*/ 1 h 413"/>
                  <a:gd name="T54" fmla="*/ 312 w 320"/>
                  <a:gd name="T55" fmla="*/ 91 h 413"/>
                  <a:gd name="T56" fmla="*/ 251 w 320"/>
                  <a:gd name="T57" fmla="*/ 271 h 413"/>
                  <a:gd name="T58" fmla="*/ 226 w 320"/>
                  <a:gd name="T59" fmla="*/ 306 h 413"/>
                  <a:gd name="T60" fmla="*/ 198 w 320"/>
                  <a:gd name="T61" fmla="*/ 335 h 413"/>
                  <a:gd name="T62" fmla="*/ 139 w 320"/>
                  <a:gd name="T63" fmla="*/ 377 h 413"/>
                  <a:gd name="T64" fmla="*/ 84 w 320"/>
                  <a:gd name="T65" fmla="*/ 401 h 413"/>
                  <a:gd name="T66" fmla="*/ 40 w 320"/>
                  <a:gd name="T67" fmla="*/ 411 h 413"/>
                  <a:gd name="T68" fmla="*/ 11 w 320"/>
                  <a:gd name="T69" fmla="*/ 413 h 413"/>
                  <a:gd name="T70" fmla="*/ 1 w 320"/>
                  <a:gd name="T71" fmla="*/ 413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0" h="413">
                    <a:moveTo>
                      <a:pt x="1" y="413"/>
                    </a:moveTo>
                    <a:cubicBezTo>
                      <a:pt x="1" y="413"/>
                      <a:pt x="5" y="413"/>
                      <a:pt x="11" y="413"/>
                    </a:cubicBezTo>
                    <a:cubicBezTo>
                      <a:pt x="18" y="412"/>
                      <a:pt x="28" y="412"/>
                      <a:pt x="40" y="410"/>
                    </a:cubicBezTo>
                    <a:cubicBezTo>
                      <a:pt x="52" y="409"/>
                      <a:pt x="67" y="406"/>
                      <a:pt x="84" y="401"/>
                    </a:cubicBezTo>
                    <a:cubicBezTo>
                      <a:pt x="101" y="396"/>
                      <a:pt x="119" y="388"/>
                      <a:pt x="139" y="377"/>
                    </a:cubicBezTo>
                    <a:cubicBezTo>
                      <a:pt x="158" y="366"/>
                      <a:pt x="179" y="353"/>
                      <a:pt x="198" y="335"/>
                    </a:cubicBezTo>
                    <a:cubicBezTo>
                      <a:pt x="207" y="326"/>
                      <a:pt x="216" y="316"/>
                      <a:pt x="225" y="305"/>
                    </a:cubicBezTo>
                    <a:cubicBezTo>
                      <a:pt x="234" y="295"/>
                      <a:pt x="243" y="283"/>
                      <a:pt x="250" y="271"/>
                    </a:cubicBezTo>
                    <a:cubicBezTo>
                      <a:pt x="282" y="221"/>
                      <a:pt x="302" y="158"/>
                      <a:pt x="312" y="91"/>
                    </a:cubicBezTo>
                    <a:cubicBezTo>
                      <a:pt x="316" y="60"/>
                      <a:pt x="318" y="30"/>
                      <a:pt x="319" y="1"/>
                    </a:cubicBezTo>
                    <a:cubicBezTo>
                      <a:pt x="320" y="1"/>
                      <a:pt x="320" y="1"/>
                      <a:pt x="320" y="1"/>
                    </a:cubicBezTo>
                    <a:cubicBezTo>
                      <a:pt x="263" y="2"/>
                      <a:pt x="209" y="11"/>
                      <a:pt x="164" y="29"/>
                    </a:cubicBezTo>
                    <a:cubicBezTo>
                      <a:pt x="119" y="46"/>
                      <a:pt x="83" y="71"/>
                      <a:pt x="58" y="96"/>
                    </a:cubicBezTo>
                    <a:cubicBezTo>
                      <a:pt x="45" y="109"/>
                      <a:pt x="36" y="122"/>
                      <a:pt x="28" y="133"/>
                    </a:cubicBezTo>
                    <a:cubicBezTo>
                      <a:pt x="20" y="145"/>
                      <a:pt x="13" y="155"/>
                      <a:pt x="8" y="164"/>
                    </a:cubicBezTo>
                    <a:cubicBezTo>
                      <a:pt x="4" y="172"/>
                      <a:pt x="1" y="180"/>
                      <a:pt x="0" y="185"/>
                    </a:cubicBezTo>
                    <a:cubicBezTo>
                      <a:pt x="0" y="187"/>
                      <a:pt x="0" y="189"/>
                      <a:pt x="0" y="190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0" y="192"/>
                      <a:pt x="0" y="192"/>
                      <a:pt x="0" y="190"/>
                    </a:cubicBezTo>
                    <a:cubicBezTo>
                      <a:pt x="0" y="189"/>
                      <a:pt x="0" y="187"/>
                      <a:pt x="0" y="185"/>
                    </a:cubicBezTo>
                    <a:cubicBezTo>
                      <a:pt x="1" y="180"/>
                      <a:pt x="3" y="172"/>
                      <a:pt x="8" y="163"/>
                    </a:cubicBezTo>
                    <a:cubicBezTo>
                      <a:pt x="12" y="155"/>
                      <a:pt x="19" y="145"/>
                      <a:pt x="27" y="133"/>
                    </a:cubicBezTo>
                    <a:cubicBezTo>
                      <a:pt x="35" y="121"/>
                      <a:pt x="45" y="108"/>
                      <a:pt x="58" y="96"/>
                    </a:cubicBezTo>
                    <a:cubicBezTo>
                      <a:pt x="83" y="70"/>
                      <a:pt x="119" y="45"/>
                      <a:pt x="164" y="28"/>
                    </a:cubicBezTo>
                    <a:cubicBezTo>
                      <a:pt x="209" y="10"/>
                      <a:pt x="263" y="1"/>
                      <a:pt x="320" y="0"/>
                    </a:cubicBezTo>
                    <a:cubicBezTo>
                      <a:pt x="320" y="0"/>
                      <a:pt x="320" y="0"/>
                      <a:pt x="320" y="0"/>
                    </a:cubicBezTo>
                    <a:cubicBezTo>
                      <a:pt x="320" y="1"/>
                      <a:pt x="320" y="1"/>
                      <a:pt x="320" y="1"/>
                    </a:cubicBezTo>
                    <a:cubicBezTo>
                      <a:pt x="319" y="30"/>
                      <a:pt x="317" y="60"/>
                      <a:pt x="312" y="91"/>
                    </a:cubicBezTo>
                    <a:cubicBezTo>
                      <a:pt x="303" y="158"/>
                      <a:pt x="283" y="221"/>
                      <a:pt x="251" y="271"/>
                    </a:cubicBezTo>
                    <a:cubicBezTo>
                      <a:pt x="243" y="283"/>
                      <a:pt x="235" y="295"/>
                      <a:pt x="226" y="306"/>
                    </a:cubicBezTo>
                    <a:cubicBezTo>
                      <a:pt x="217" y="316"/>
                      <a:pt x="208" y="326"/>
                      <a:pt x="198" y="335"/>
                    </a:cubicBezTo>
                    <a:cubicBezTo>
                      <a:pt x="179" y="353"/>
                      <a:pt x="159" y="367"/>
                      <a:pt x="139" y="377"/>
                    </a:cubicBezTo>
                    <a:cubicBezTo>
                      <a:pt x="120" y="388"/>
                      <a:pt x="101" y="396"/>
                      <a:pt x="84" y="401"/>
                    </a:cubicBezTo>
                    <a:cubicBezTo>
                      <a:pt x="67" y="407"/>
                      <a:pt x="52" y="409"/>
                      <a:pt x="40" y="411"/>
                    </a:cubicBezTo>
                    <a:cubicBezTo>
                      <a:pt x="28" y="412"/>
                      <a:pt x="18" y="412"/>
                      <a:pt x="11" y="413"/>
                    </a:cubicBezTo>
                    <a:cubicBezTo>
                      <a:pt x="5" y="413"/>
                      <a:pt x="1" y="413"/>
                      <a:pt x="1" y="4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Freeform 184">
                <a:extLst>
                  <a:ext uri="{FF2B5EF4-FFF2-40B4-BE49-F238E27FC236}">
                    <a16:creationId xmlns:a16="http://schemas.microsoft.com/office/drawing/2014/main" id="{1A83E84A-8345-4E0A-9310-6A538981F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471"/>
                <a:ext cx="612" cy="676"/>
              </a:xfrm>
              <a:custGeom>
                <a:avLst/>
                <a:gdLst>
                  <a:gd name="T0" fmla="*/ 127 w 258"/>
                  <a:gd name="T1" fmla="*/ 105 h 285"/>
                  <a:gd name="T2" fmla="*/ 133 w 258"/>
                  <a:gd name="T3" fmla="*/ 97 h 285"/>
                  <a:gd name="T4" fmla="*/ 141 w 258"/>
                  <a:gd name="T5" fmla="*/ 89 h 285"/>
                  <a:gd name="T6" fmla="*/ 148 w 258"/>
                  <a:gd name="T7" fmla="*/ 86 h 285"/>
                  <a:gd name="T8" fmla="*/ 157 w 258"/>
                  <a:gd name="T9" fmla="*/ 86 h 285"/>
                  <a:gd name="T10" fmla="*/ 165 w 258"/>
                  <a:gd name="T11" fmla="*/ 91 h 285"/>
                  <a:gd name="T12" fmla="*/ 168 w 258"/>
                  <a:gd name="T13" fmla="*/ 101 h 285"/>
                  <a:gd name="T14" fmla="*/ 163 w 258"/>
                  <a:gd name="T15" fmla="*/ 111 h 285"/>
                  <a:gd name="T16" fmla="*/ 155 w 258"/>
                  <a:gd name="T17" fmla="*/ 121 h 285"/>
                  <a:gd name="T18" fmla="*/ 113 w 258"/>
                  <a:gd name="T19" fmla="*/ 162 h 285"/>
                  <a:gd name="T20" fmla="*/ 84 w 258"/>
                  <a:gd name="T21" fmla="*/ 181 h 285"/>
                  <a:gd name="T22" fmla="*/ 50 w 258"/>
                  <a:gd name="T23" fmla="*/ 193 h 285"/>
                  <a:gd name="T24" fmla="*/ 31 w 258"/>
                  <a:gd name="T25" fmla="*/ 188 h 285"/>
                  <a:gd name="T26" fmla="*/ 22 w 258"/>
                  <a:gd name="T27" fmla="*/ 171 h 285"/>
                  <a:gd name="T28" fmla="*/ 32 w 258"/>
                  <a:gd name="T29" fmla="*/ 130 h 285"/>
                  <a:gd name="T30" fmla="*/ 88 w 258"/>
                  <a:gd name="T31" fmla="*/ 60 h 285"/>
                  <a:gd name="T32" fmla="*/ 127 w 258"/>
                  <a:gd name="T33" fmla="*/ 32 h 285"/>
                  <a:gd name="T34" fmla="*/ 170 w 258"/>
                  <a:gd name="T35" fmla="*/ 10 h 285"/>
                  <a:gd name="T36" fmla="*/ 219 w 258"/>
                  <a:gd name="T37" fmla="*/ 2 h 285"/>
                  <a:gd name="T38" fmla="*/ 241 w 258"/>
                  <a:gd name="T39" fmla="*/ 11 h 285"/>
                  <a:gd name="T40" fmla="*/ 255 w 258"/>
                  <a:gd name="T41" fmla="*/ 29 h 285"/>
                  <a:gd name="T42" fmla="*/ 256 w 258"/>
                  <a:gd name="T43" fmla="*/ 53 h 285"/>
                  <a:gd name="T44" fmla="*/ 250 w 258"/>
                  <a:gd name="T45" fmla="*/ 75 h 285"/>
                  <a:gd name="T46" fmla="*/ 230 w 258"/>
                  <a:gd name="T47" fmla="*/ 114 h 285"/>
                  <a:gd name="T48" fmla="*/ 181 w 258"/>
                  <a:gd name="T49" fmla="*/ 179 h 285"/>
                  <a:gd name="T50" fmla="*/ 127 w 258"/>
                  <a:gd name="T51" fmla="*/ 225 h 285"/>
                  <a:gd name="T52" fmla="*/ 36 w 258"/>
                  <a:gd name="T53" fmla="*/ 273 h 285"/>
                  <a:gd name="T54" fmla="*/ 10 w 258"/>
                  <a:gd name="T55" fmla="*/ 282 h 285"/>
                  <a:gd name="T56" fmla="*/ 0 w 258"/>
                  <a:gd name="T57" fmla="*/ 285 h 285"/>
                  <a:gd name="T58" fmla="*/ 10 w 258"/>
                  <a:gd name="T59" fmla="*/ 282 h 285"/>
                  <a:gd name="T60" fmla="*/ 36 w 258"/>
                  <a:gd name="T61" fmla="*/ 273 h 285"/>
                  <a:gd name="T62" fmla="*/ 127 w 258"/>
                  <a:gd name="T63" fmla="*/ 225 h 285"/>
                  <a:gd name="T64" fmla="*/ 181 w 258"/>
                  <a:gd name="T65" fmla="*/ 179 h 285"/>
                  <a:gd name="T66" fmla="*/ 230 w 258"/>
                  <a:gd name="T67" fmla="*/ 114 h 285"/>
                  <a:gd name="T68" fmla="*/ 249 w 258"/>
                  <a:gd name="T69" fmla="*/ 74 h 285"/>
                  <a:gd name="T70" fmla="*/ 255 w 258"/>
                  <a:gd name="T71" fmla="*/ 52 h 285"/>
                  <a:gd name="T72" fmla="*/ 255 w 258"/>
                  <a:gd name="T73" fmla="*/ 30 h 285"/>
                  <a:gd name="T74" fmla="*/ 241 w 258"/>
                  <a:gd name="T75" fmla="*/ 11 h 285"/>
                  <a:gd name="T76" fmla="*/ 219 w 258"/>
                  <a:gd name="T77" fmla="*/ 3 h 285"/>
                  <a:gd name="T78" fmla="*/ 171 w 258"/>
                  <a:gd name="T79" fmla="*/ 10 h 285"/>
                  <a:gd name="T80" fmla="*/ 127 w 258"/>
                  <a:gd name="T81" fmla="*/ 33 h 285"/>
                  <a:gd name="T82" fmla="*/ 89 w 258"/>
                  <a:gd name="T83" fmla="*/ 61 h 285"/>
                  <a:gd name="T84" fmla="*/ 33 w 258"/>
                  <a:gd name="T85" fmla="*/ 130 h 285"/>
                  <a:gd name="T86" fmla="*/ 23 w 258"/>
                  <a:gd name="T87" fmla="*/ 171 h 285"/>
                  <a:gd name="T88" fmla="*/ 32 w 258"/>
                  <a:gd name="T89" fmla="*/ 188 h 285"/>
                  <a:gd name="T90" fmla="*/ 50 w 258"/>
                  <a:gd name="T91" fmla="*/ 193 h 285"/>
                  <a:gd name="T92" fmla="*/ 84 w 258"/>
                  <a:gd name="T93" fmla="*/ 180 h 285"/>
                  <a:gd name="T94" fmla="*/ 113 w 258"/>
                  <a:gd name="T95" fmla="*/ 162 h 285"/>
                  <a:gd name="T96" fmla="*/ 155 w 258"/>
                  <a:gd name="T97" fmla="*/ 121 h 285"/>
                  <a:gd name="T98" fmla="*/ 162 w 258"/>
                  <a:gd name="T99" fmla="*/ 111 h 285"/>
                  <a:gd name="T100" fmla="*/ 167 w 258"/>
                  <a:gd name="T101" fmla="*/ 101 h 285"/>
                  <a:gd name="T102" fmla="*/ 165 w 258"/>
                  <a:gd name="T103" fmla="*/ 91 h 285"/>
                  <a:gd name="T104" fmla="*/ 157 w 258"/>
                  <a:gd name="T105" fmla="*/ 87 h 285"/>
                  <a:gd name="T106" fmla="*/ 148 w 258"/>
                  <a:gd name="T107" fmla="*/ 86 h 285"/>
                  <a:gd name="T108" fmla="*/ 142 w 258"/>
                  <a:gd name="T109" fmla="*/ 89 h 285"/>
                  <a:gd name="T110" fmla="*/ 133 w 258"/>
                  <a:gd name="T111" fmla="*/ 97 h 285"/>
                  <a:gd name="T112" fmla="*/ 128 w 258"/>
                  <a:gd name="T113" fmla="*/ 103 h 285"/>
                  <a:gd name="T114" fmla="*/ 127 w 258"/>
                  <a:gd name="T115" fmla="*/ 10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8" h="285">
                    <a:moveTo>
                      <a:pt x="127" y="105"/>
                    </a:moveTo>
                    <a:cubicBezTo>
                      <a:pt x="127" y="105"/>
                      <a:pt x="128" y="102"/>
                      <a:pt x="133" y="97"/>
                    </a:cubicBezTo>
                    <a:cubicBezTo>
                      <a:pt x="135" y="95"/>
                      <a:pt x="137" y="92"/>
                      <a:pt x="141" y="89"/>
                    </a:cubicBezTo>
                    <a:cubicBezTo>
                      <a:pt x="143" y="88"/>
                      <a:pt x="146" y="87"/>
                      <a:pt x="148" y="86"/>
                    </a:cubicBezTo>
                    <a:cubicBezTo>
                      <a:pt x="151" y="85"/>
                      <a:pt x="154" y="85"/>
                      <a:pt x="157" y="86"/>
                    </a:cubicBezTo>
                    <a:cubicBezTo>
                      <a:pt x="160" y="87"/>
                      <a:pt x="163" y="88"/>
                      <a:pt x="165" y="91"/>
                    </a:cubicBezTo>
                    <a:cubicBezTo>
                      <a:pt x="168" y="93"/>
                      <a:pt x="169" y="97"/>
                      <a:pt x="168" y="101"/>
                    </a:cubicBezTo>
                    <a:cubicBezTo>
                      <a:pt x="167" y="105"/>
                      <a:pt x="165" y="108"/>
                      <a:pt x="163" y="111"/>
                    </a:cubicBezTo>
                    <a:cubicBezTo>
                      <a:pt x="160" y="115"/>
                      <a:pt x="158" y="118"/>
                      <a:pt x="155" y="121"/>
                    </a:cubicBezTo>
                    <a:cubicBezTo>
                      <a:pt x="144" y="135"/>
                      <a:pt x="130" y="149"/>
                      <a:pt x="113" y="162"/>
                    </a:cubicBezTo>
                    <a:cubicBezTo>
                      <a:pt x="104" y="169"/>
                      <a:pt x="95" y="175"/>
                      <a:pt x="84" y="181"/>
                    </a:cubicBezTo>
                    <a:cubicBezTo>
                      <a:pt x="74" y="186"/>
                      <a:pt x="63" y="192"/>
                      <a:pt x="50" y="193"/>
                    </a:cubicBezTo>
                    <a:cubicBezTo>
                      <a:pt x="44" y="194"/>
                      <a:pt x="37" y="193"/>
                      <a:pt x="31" y="188"/>
                    </a:cubicBezTo>
                    <a:cubicBezTo>
                      <a:pt x="26" y="184"/>
                      <a:pt x="23" y="178"/>
                      <a:pt x="22" y="171"/>
                    </a:cubicBezTo>
                    <a:cubicBezTo>
                      <a:pt x="21" y="157"/>
                      <a:pt x="27" y="143"/>
                      <a:pt x="32" y="130"/>
                    </a:cubicBezTo>
                    <a:cubicBezTo>
                      <a:pt x="44" y="104"/>
                      <a:pt x="64" y="80"/>
                      <a:pt x="88" y="60"/>
                    </a:cubicBezTo>
                    <a:cubicBezTo>
                      <a:pt x="100" y="50"/>
                      <a:pt x="113" y="41"/>
                      <a:pt x="127" y="32"/>
                    </a:cubicBezTo>
                    <a:cubicBezTo>
                      <a:pt x="141" y="24"/>
                      <a:pt x="155" y="15"/>
                      <a:pt x="170" y="10"/>
                    </a:cubicBezTo>
                    <a:cubicBezTo>
                      <a:pt x="186" y="4"/>
                      <a:pt x="203" y="0"/>
                      <a:pt x="219" y="2"/>
                    </a:cubicBezTo>
                    <a:cubicBezTo>
                      <a:pt x="227" y="4"/>
                      <a:pt x="235" y="6"/>
                      <a:pt x="241" y="11"/>
                    </a:cubicBezTo>
                    <a:cubicBezTo>
                      <a:pt x="248" y="15"/>
                      <a:pt x="253" y="22"/>
                      <a:pt x="255" y="29"/>
                    </a:cubicBezTo>
                    <a:cubicBezTo>
                      <a:pt x="258" y="37"/>
                      <a:pt x="257" y="45"/>
                      <a:pt x="256" y="53"/>
                    </a:cubicBezTo>
                    <a:cubicBezTo>
                      <a:pt x="255" y="60"/>
                      <a:pt x="253" y="68"/>
                      <a:pt x="250" y="75"/>
                    </a:cubicBezTo>
                    <a:cubicBezTo>
                      <a:pt x="244" y="89"/>
                      <a:pt x="238" y="102"/>
                      <a:pt x="230" y="114"/>
                    </a:cubicBezTo>
                    <a:cubicBezTo>
                      <a:pt x="216" y="139"/>
                      <a:pt x="199" y="161"/>
                      <a:pt x="181" y="179"/>
                    </a:cubicBezTo>
                    <a:cubicBezTo>
                      <a:pt x="163" y="197"/>
                      <a:pt x="145" y="213"/>
                      <a:pt x="127" y="225"/>
                    </a:cubicBezTo>
                    <a:cubicBezTo>
                      <a:pt x="91" y="250"/>
                      <a:pt x="59" y="264"/>
                      <a:pt x="36" y="273"/>
                    </a:cubicBezTo>
                    <a:cubicBezTo>
                      <a:pt x="25" y="277"/>
                      <a:pt x="16" y="280"/>
                      <a:pt x="10" y="282"/>
                    </a:cubicBezTo>
                    <a:cubicBezTo>
                      <a:pt x="4" y="284"/>
                      <a:pt x="0" y="285"/>
                      <a:pt x="0" y="285"/>
                    </a:cubicBezTo>
                    <a:cubicBezTo>
                      <a:pt x="0" y="285"/>
                      <a:pt x="4" y="284"/>
                      <a:pt x="10" y="282"/>
                    </a:cubicBezTo>
                    <a:cubicBezTo>
                      <a:pt x="16" y="280"/>
                      <a:pt x="25" y="277"/>
                      <a:pt x="36" y="273"/>
                    </a:cubicBezTo>
                    <a:cubicBezTo>
                      <a:pt x="59" y="264"/>
                      <a:pt x="91" y="250"/>
                      <a:pt x="127" y="225"/>
                    </a:cubicBezTo>
                    <a:cubicBezTo>
                      <a:pt x="145" y="212"/>
                      <a:pt x="163" y="197"/>
                      <a:pt x="181" y="179"/>
                    </a:cubicBezTo>
                    <a:cubicBezTo>
                      <a:pt x="198" y="160"/>
                      <a:pt x="215" y="139"/>
                      <a:pt x="230" y="114"/>
                    </a:cubicBezTo>
                    <a:cubicBezTo>
                      <a:pt x="237" y="101"/>
                      <a:pt x="243" y="88"/>
                      <a:pt x="249" y="74"/>
                    </a:cubicBezTo>
                    <a:cubicBezTo>
                      <a:pt x="252" y="67"/>
                      <a:pt x="254" y="60"/>
                      <a:pt x="255" y="52"/>
                    </a:cubicBezTo>
                    <a:cubicBezTo>
                      <a:pt x="257" y="45"/>
                      <a:pt x="257" y="37"/>
                      <a:pt x="255" y="30"/>
                    </a:cubicBezTo>
                    <a:cubicBezTo>
                      <a:pt x="252" y="22"/>
                      <a:pt x="247" y="16"/>
                      <a:pt x="241" y="11"/>
                    </a:cubicBezTo>
                    <a:cubicBezTo>
                      <a:pt x="234" y="7"/>
                      <a:pt x="227" y="4"/>
                      <a:pt x="219" y="3"/>
                    </a:cubicBezTo>
                    <a:cubicBezTo>
                      <a:pt x="203" y="1"/>
                      <a:pt x="186" y="5"/>
                      <a:pt x="171" y="10"/>
                    </a:cubicBezTo>
                    <a:cubicBezTo>
                      <a:pt x="155" y="16"/>
                      <a:pt x="141" y="24"/>
                      <a:pt x="127" y="33"/>
                    </a:cubicBezTo>
                    <a:cubicBezTo>
                      <a:pt x="114" y="42"/>
                      <a:pt x="101" y="51"/>
                      <a:pt x="89" y="61"/>
                    </a:cubicBezTo>
                    <a:cubicBezTo>
                      <a:pt x="65" y="81"/>
                      <a:pt x="45" y="104"/>
                      <a:pt x="33" y="130"/>
                    </a:cubicBezTo>
                    <a:cubicBezTo>
                      <a:pt x="27" y="143"/>
                      <a:pt x="22" y="157"/>
                      <a:pt x="23" y="171"/>
                    </a:cubicBezTo>
                    <a:cubicBezTo>
                      <a:pt x="24" y="177"/>
                      <a:pt x="27" y="184"/>
                      <a:pt x="32" y="188"/>
                    </a:cubicBezTo>
                    <a:cubicBezTo>
                      <a:pt x="37" y="192"/>
                      <a:pt x="44" y="193"/>
                      <a:pt x="50" y="193"/>
                    </a:cubicBezTo>
                    <a:cubicBezTo>
                      <a:pt x="63" y="192"/>
                      <a:pt x="74" y="185"/>
                      <a:pt x="84" y="180"/>
                    </a:cubicBezTo>
                    <a:cubicBezTo>
                      <a:pt x="95" y="174"/>
                      <a:pt x="104" y="168"/>
                      <a:pt x="113" y="162"/>
                    </a:cubicBezTo>
                    <a:cubicBezTo>
                      <a:pt x="130" y="149"/>
                      <a:pt x="144" y="134"/>
                      <a:pt x="155" y="121"/>
                    </a:cubicBezTo>
                    <a:cubicBezTo>
                      <a:pt x="157" y="118"/>
                      <a:pt x="160" y="114"/>
                      <a:pt x="162" y="111"/>
                    </a:cubicBezTo>
                    <a:cubicBezTo>
                      <a:pt x="165" y="108"/>
                      <a:pt x="167" y="105"/>
                      <a:pt x="167" y="101"/>
                    </a:cubicBezTo>
                    <a:cubicBezTo>
                      <a:pt x="168" y="97"/>
                      <a:pt x="167" y="94"/>
                      <a:pt x="165" y="91"/>
                    </a:cubicBezTo>
                    <a:cubicBezTo>
                      <a:pt x="163" y="89"/>
                      <a:pt x="160" y="87"/>
                      <a:pt x="157" y="87"/>
                    </a:cubicBezTo>
                    <a:cubicBezTo>
                      <a:pt x="154" y="86"/>
                      <a:pt x="151" y="86"/>
                      <a:pt x="148" y="86"/>
                    </a:cubicBezTo>
                    <a:cubicBezTo>
                      <a:pt x="146" y="87"/>
                      <a:pt x="144" y="88"/>
                      <a:pt x="142" y="89"/>
                    </a:cubicBezTo>
                    <a:cubicBezTo>
                      <a:pt x="138" y="92"/>
                      <a:pt x="135" y="95"/>
                      <a:pt x="133" y="97"/>
                    </a:cubicBezTo>
                    <a:cubicBezTo>
                      <a:pt x="131" y="100"/>
                      <a:pt x="129" y="101"/>
                      <a:pt x="128" y="103"/>
                    </a:cubicBezTo>
                    <a:cubicBezTo>
                      <a:pt x="127" y="104"/>
                      <a:pt x="127" y="105"/>
                      <a:pt x="127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Freeform 185">
                <a:extLst>
                  <a:ext uri="{FF2B5EF4-FFF2-40B4-BE49-F238E27FC236}">
                    <a16:creationId xmlns:a16="http://schemas.microsoft.com/office/drawing/2014/main" id="{7D405EB5-8141-4688-9572-F05DBAE6A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2551"/>
                <a:ext cx="945" cy="820"/>
              </a:xfrm>
              <a:custGeom>
                <a:avLst/>
                <a:gdLst>
                  <a:gd name="T0" fmla="*/ 398 w 398"/>
                  <a:gd name="T1" fmla="*/ 48 h 345"/>
                  <a:gd name="T2" fmla="*/ 393 w 398"/>
                  <a:gd name="T3" fmla="*/ 45 h 345"/>
                  <a:gd name="T4" fmla="*/ 377 w 398"/>
                  <a:gd name="T5" fmla="*/ 36 h 345"/>
                  <a:gd name="T6" fmla="*/ 353 w 398"/>
                  <a:gd name="T7" fmla="*/ 23 h 345"/>
                  <a:gd name="T8" fmla="*/ 320 w 398"/>
                  <a:gd name="T9" fmla="*/ 8 h 345"/>
                  <a:gd name="T10" fmla="*/ 276 w 398"/>
                  <a:gd name="T11" fmla="*/ 1 h 345"/>
                  <a:gd name="T12" fmla="*/ 252 w 398"/>
                  <a:gd name="T13" fmla="*/ 4 h 345"/>
                  <a:gd name="T14" fmla="*/ 227 w 398"/>
                  <a:gd name="T15" fmla="*/ 13 h 345"/>
                  <a:gd name="T16" fmla="*/ 189 w 398"/>
                  <a:gd name="T17" fmla="*/ 53 h 345"/>
                  <a:gd name="T18" fmla="*/ 167 w 398"/>
                  <a:gd name="T19" fmla="*/ 109 h 345"/>
                  <a:gd name="T20" fmla="*/ 151 w 398"/>
                  <a:gd name="T21" fmla="*/ 168 h 345"/>
                  <a:gd name="T22" fmla="*/ 130 w 398"/>
                  <a:gd name="T23" fmla="*/ 220 h 345"/>
                  <a:gd name="T24" fmla="*/ 102 w 398"/>
                  <a:gd name="T25" fmla="*/ 262 h 345"/>
                  <a:gd name="T26" fmla="*/ 71 w 398"/>
                  <a:gd name="T27" fmla="*/ 294 h 345"/>
                  <a:gd name="T28" fmla="*/ 20 w 398"/>
                  <a:gd name="T29" fmla="*/ 333 h 345"/>
                  <a:gd name="T30" fmla="*/ 5 w 398"/>
                  <a:gd name="T31" fmla="*/ 342 h 345"/>
                  <a:gd name="T32" fmla="*/ 0 w 398"/>
                  <a:gd name="T33" fmla="*/ 345 h 345"/>
                  <a:gd name="T34" fmla="*/ 5 w 398"/>
                  <a:gd name="T35" fmla="*/ 342 h 345"/>
                  <a:gd name="T36" fmla="*/ 20 w 398"/>
                  <a:gd name="T37" fmla="*/ 333 h 345"/>
                  <a:gd name="T38" fmla="*/ 71 w 398"/>
                  <a:gd name="T39" fmla="*/ 294 h 345"/>
                  <a:gd name="T40" fmla="*/ 101 w 398"/>
                  <a:gd name="T41" fmla="*/ 262 h 345"/>
                  <a:gd name="T42" fmla="*/ 129 w 398"/>
                  <a:gd name="T43" fmla="*/ 219 h 345"/>
                  <a:gd name="T44" fmla="*/ 151 w 398"/>
                  <a:gd name="T45" fmla="*/ 167 h 345"/>
                  <a:gd name="T46" fmla="*/ 166 w 398"/>
                  <a:gd name="T47" fmla="*/ 109 h 345"/>
                  <a:gd name="T48" fmla="*/ 188 w 398"/>
                  <a:gd name="T49" fmla="*/ 53 h 345"/>
                  <a:gd name="T50" fmla="*/ 227 w 398"/>
                  <a:gd name="T51" fmla="*/ 12 h 345"/>
                  <a:gd name="T52" fmla="*/ 251 w 398"/>
                  <a:gd name="T53" fmla="*/ 3 h 345"/>
                  <a:gd name="T54" fmla="*/ 276 w 398"/>
                  <a:gd name="T55" fmla="*/ 0 h 345"/>
                  <a:gd name="T56" fmla="*/ 320 w 398"/>
                  <a:gd name="T57" fmla="*/ 8 h 345"/>
                  <a:gd name="T58" fmla="*/ 353 w 398"/>
                  <a:gd name="T59" fmla="*/ 22 h 345"/>
                  <a:gd name="T60" fmla="*/ 378 w 398"/>
                  <a:gd name="T61" fmla="*/ 36 h 345"/>
                  <a:gd name="T62" fmla="*/ 398 w 398"/>
                  <a:gd name="T63" fmla="*/ 48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98" h="345">
                    <a:moveTo>
                      <a:pt x="398" y="48"/>
                    </a:moveTo>
                    <a:cubicBezTo>
                      <a:pt x="398" y="48"/>
                      <a:pt x="396" y="47"/>
                      <a:pt x="393" y="45"/>
                    </a:cubicBezTo>
                    <a:cubicBezTo>
                      <a:pt x="389" y="43"/>
                      <a:pt x="384" y="40"/>
                      <a:pt x="377" y="36"/>
                    </a:cubicBezTo>
                    <a:cubicBezTo>
                      <a:pt x="371" y="32"/>
                      <a:pt x="363" y="28"/>
                      <a:pt x="353" y="23"/>
                    </a:cubicBezTo>
                    <a:cubicBezTo>
                      <a:pt x="344" y="18"/>
                      <a:pt x="332" y="13"/>
                      <a:pt x="320" y="8"/>
                    </a:cubicBezTo>
                    <a:cubicBezTo>
                      <a:pt x="307" y="4"/>
                      <a:pt x="292" y="1"/>
                      <a:pt x="276" y="1"/>
                    </a:cubicBezTo>
                    <a:cubicBezTo>
                      <a:pt x="268" y="1"/>
                      <a:pt x="260" y="2"/>
                      <a:pt x="252" y="4"/>
                    </a:cubicBezTo>
                    <a:cubicBezTo>
                      <a:pt x="243" y="6"/>
                      <a:pt x="235" y="9"/>
                      <a:pt x="227" y="13"/>
                    </a:cubicBezTo>
                    <a:cubicBezTo>
                      <a:pt x="212" y="22"/>
                      <a:pt x="199" y="36"/>
                      <a:pt x="189" y="53"/>
                    </a:cubicBezTo>
                    <a:cubicBezTo>
                      <a:pt x="179" y="70"/>
                      <a:pt x="172" y="89"/>
                      <a:pt x="167" y="109"/>
                    </a:cubicBezTo>
                    <a:cubicBezTo>
                      <a:pt x="161" y="129"/>
                      <a:pt x="157" y="149"/>
                      <a:pt x="151" y="168"/>
                    </a:cubicBezTo>
                    <a:cubicBezTo>
                      <a:pt x="146" y="186"/>
                      <a:pt x="138" y="204"/>
                      <a:pt x="130" y="220"/>
                    </a:cubicBezTo>
                    <a:cubicBezTo>
                      <a:pt x="121" y="235"/>
                      <a:pt x="112" y="250"/>
                      <a:pt x="102" y="262"/>
                    </a:cubicBezTo>
                    <a:cubicBezTo>
                      <a:pt x="92" y="274"/>
                      <a:pt x="81" y="285"/>
                      <a:pt x="71" y="294"/>
                    </a:cubicBezTo>
                    <a:cubicBezTo>
                      <a:pt x="51" y="313"/>
                      <a:pt x="33" y="325"/>
                      <a:pt x="20" y="333"/>
                    </a:cubicBezTo>
                    <a:cubicBezTo>
                      <a:pt x="14" y="337"/>
                      <a:pt x="8" y="340"/>
                      <a:pt x="5" y="342"/>
                    </a:cubicBezTo>
                    <a:cubicBezTo>
                      <a:pt x="2" y="344"/>
                      <a:pt x="0" y="345"/>
                      <a:pt x="0" y="345"/>
                    </a:cubicBezTo>
                    <a:cubicBezTo>
                      <a:pt x="0" y="345"/>
                      <a:pt x="1" y="344"/>
                      <a:pt x="5" y="342"/>
                    </a:cubicBezTo>
                    <a:cubicBezTo>
                      <a:pt x="8" y="340"/>
                      <a:pt x="13" y="337"/>
                      <a:pt x="20" y="333"/>
                    </a:cubicBezTo>
                    <a:cubicBezTo>
                      <a:pt x="33" y="325"/>
                      <a:pt x="51" y="312"/>
                      <a:pt x="71" y="294"/>
                    </a:cubicBezTo>
                    <a:cubicBezTo>
                      <a:pt x="81" y="285"/>
                      <a:pt x="91" y="274"/>
                      <a:pt x="101" y="262"/>
                    </a:cubicBezTo>
                    <a:cubicBezTo>
                      <a:pt x="111" y="249"/>
                      <a:pt x="121" y="235"/>
                      <a:pt x="129" y="219"/>
                    </a:cubicBezTo>
                    <a:cubicBezTo>
                      <a:pt x="138" y="203"/>
                      <a:pt x="145" y="186"/>
                      <a:pt x="151" y="167"/>
                    </a:cubicBezTo>
                    <a:cubicBezTo>
                      <a:pt x="156" y="149"/>
                      <a:pt x="160" y="129"/>
                      <a:pt x="166" y="109"/>
                    </a:cubicBezTo>
                    <a:cubicBezTo>
                      <a:pt x="171" y="89"/>
                      <a:pt x="178" y="69"/>
                      <a:pt x="188" y="53"/>
                    </a:cubicBezTo>
                    <a:cubicBezTo>
                      <a:pt x="198" y="36"/>
                      <a:pt x="211" y="22"/>
                      <a:pt x="227" y="12"/>
                    </a:cubicBezTo>
                    <a:cubicBezTo>
                      <a:pt x="235" y="8"/>
                      <a:pt x="243" y="5"/>
                      <a:pt x="251" y="3"/>
                    </a:cubicBezTo>
                    <a:cubicBezTo>
                      <a:pt x="260" y="1"/>
                      <a:pt x="268" y="0"/>
                      <a:pt x="276" y="0"/>
                    </a:cubicBezTo>
                    <a:cubicBezTo>
                      <a:pt x="292" y="0"/>
                      <a:pt x="307" y="3"/>
                      <a:pt x="320" y="8"/>
                    </a:cubicBezTo>
                    <a:cubicBezTo>
                      <a:pt x="333" y="12"/>
                      <a:pt x="344" y="17"/>
                      <a:pt x="353" y="22"/>
                    </a:cubicBezTo>
                    <a:cubicBezTo>
                      <a:pt x="363" y="27"/>
                      <a:pt x="371" y="32"/>
                      <a:pt x="378" y="36"/>
                    </a:cubicBezTo>
                    <a:cubicBezTo>
                      <a:pt x="391" y="43"/>
                      <a:pt x="398" y="48"/>
                      <a:pt x="39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Freeform 186">
                <a:extLst>
                  <a:ext uri="{FF2B5EF4-FFF2-40B4-BE49-F238E27FC236}">
                    <a16:creationId xmlns:a16="http://schemas.microsoft.com/office/drawing/2014/main" id="{9EBC7A48-DBC4-45A3-845A-FEA06FD3A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" y="2834"/>
                <a:ext cx="700" cy="546"/>
              </a:xfrm>
              <a:custGeom>
                <a:avLst/>
                <a:gdLst>
                  <a:gd name="T0" fmla="*/ 295 w 295"/>
                  <a:gd name="T1" fmla="*/ 36 h 230"/>
                  <a:gd name="T2" fmla="*/ 293 w 295"/>
                  <a:gd name="T3" fmla="*/ 32 h 230"/>
                  <a:gd name="T4" fmla="*/ 290 w 295"/>
                  <a:gd name="T5" fmla="*/ 28 h 230"/>
                  <a:gd name="T6" fmla="*/ 285 w 295"/>
                  <a:gd name="T7" fmla="*/ 23 h 230"/>
                  <a:gd name="T8" fmla="*/ 246 w 295"/>
                  <a:gd name="T9" fmla="*/ 3 h 230"/>
                  <a:gd name="T10" fmla="*/ 215 w 295"/>
                  <a:gd name="T11" fmla="*/ 1 h 230"/>
                  <a:gd name="T12" fmla="*/ 181 w 295"/>
                  <a:gd name="T13" fmla="*/ 11 h 230"/>
                  <a:gd name="T14" fmla="*/ 121 w 295"/>
                  <a:gd name="T15" fmla="*/ 63 h 230"/>
                  <a:gd name="T16" fmla="*/ 79 w 295"/>
                  <a:gd name="T17" fmla="*/ 133 h 230"/>
                  <a:gd name="T18" fmla="*/ 45 w 295"/>
                  <a:gd name="T19" fmla="*/ 190 h 230"/>
                  <a:gd name="T20" fmla="*/ 13 w 295"/>
                  <a:gd name="T21" fmla="*/ 221 h 230"/>
                  <a:gd name="T22" fmla="*/ 0 w 295"/>
                  <a:gd name="T23" fmla="*/ 230 h 230"/>
                  <a:gd name="T24" fmla="*/ 3 w 295"/>
                  <a:gd name="T25" fmla="*/ 228 h 230"/>
                  <a:gd name="T26" fmla="*/ 13 w 295"/>
                  <a:gd name="T27" fmla="*/ 221 h 230"/>
                  <a:gd name="T28" fmla="*/ 45 w 295"/>
                  <a:gd name="T29" fmla="*/ 189 h 230"/>
                  <a:gd name="T30" fmla="*/ 78 w 295"/>
                  <a:gd name="T31" fmla="*/ 132 h 230"/>
                  <a:gd name="T32" fmla="*/ 120 w 295"/>
                  <a:gd name="T33" fmla="*/ 63 h 230"/>
                  <a:gd name="T34" fmla="*/ 181 w 295"/>
                  <a:gd name="T35" fmla="*/ 10 h 230"/>
                  <a:gd name="T36" fmla="*/ 215 w 295"/>
                  <a:gd name="T37" fmla="*/ 1 h 230"/>
                  <a:gd name="T38" fmla="*/ 246 w 295"/>
                  <a:gd name="T39" fmla="*/ 2 h 230"/>
                  <a:gd name="T40" fmla="*/ 285 w 295"/>
                  <a:gd name="T41" fmla="*/ 23 h 230"/>
                  <a:gd name="T42" fmla="*/ 290 w 295"/>
                  <a:gd name="T43" fmla="*/ 28 h 230"/>
                  <a:gd name="T44" fmla="*/ 293 w 295"/>
                  <a:gd name="T45" fmla="*/ 32 h 230"/>
                  <a:gd name="T46" fmla="*/ 295 w 295"/>
                  <a:gd name="T47" fmla="*/ 36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5" h="230">
                    <a:moveTo>
                      <a:pt x="295" y="36"/>
                    </a:moveTo>
                    <a:cubicBezTo>
                      <a:pt x="295" y="36"/>
                      <a:pt x="295" y="34"/>
                      <a:pt x="293" y="32"/>
                    </a:cubicBezTo>
                    <a:cubicBezTo>
                      <a:pt x="292" y="31"/>
                      <a:pt x="291" y="30"/>
                      <a:pt x="290" y="28"/>
                    </a:cubicBezTo>
                    <a:cubicBezTo>
                      <a:pt x="288" y="27"/>
                      <a:pt x="287" y="25"/>
                      <a:pt x="285" y="23"/>
                    </a:cubicBezTo>
                    <a:cubicBezTo>
                      <a:pt x="277" y="16"/>
                      <a:pt x="264" y="7"/>
                      <a:pt x="246" y="3"/>
                    </a:cubicBezTo>
                    <a:cubicBezTo>
                      <a:pt x="237" y="1"/>
                      <a:pt x="226" y="0"/>
                      <a:pt x="215" y="1"/>
                    </a:cubicBezTo>
                    <a:cubicBezTo>
                      <a:pt x="204" y="2"/>
                      <a:pt x="193" y="6"/>
                      <a:pt x="181" y="11"/>
                    </a:cubicBezTo>
                    <a:cubicBezTo>
                      <a:pt x="159" y="21"/>
                      <a:pt x="138" y="40"/>
                      <a:pt x="121" y="63"/>
                    </a:cubicBezTo>
                    <a:cubicBezTo>
                      <a:pt x="103" y="86"/>
                      <a:pt x="91" y="111"/>
                      <a:pt x="79" y="133"/>
                    </a:cubicBezTo>
                    <a:cubicBezTo>
                      <a:pt x="67" y="155"/>
                      <a:pt x="57" y="175"/>
                      <a:pt x="45" y="190"/>
                    </a:cubicBezTo>
                    <a:cubicBezTo>
                      <a:pt x="34" y="205"/>
                      <a:pt x="22" y="215"/>
                      <a:pt x="13" y="221"/>
                    </a:cubicBezTo>
                    <a:cubicBezTo>
                      <a:pt x="5" y="227"/>
                      <a:pt x="0" y="230"/>
                      <a:pt x="0" y="230"/>
                    </a:cubicBezTo>
                    <a:cubicBezTo>
                      <a:pt x="0" y="230"/>
                      <a:pt x="1" y="229"/>
                      <a:pt x="3" y="228"/>
                    </a:cubicBezTo>
                    <a:cubicBezTo>
                      <a:pt x="5" y="226"/>
                      <a:pt x="9" y="224"/>
                      <a:pt x="13" y="221"/>
                    </a:cubicBezTo>
                    <a:cubicBezTo>
                      <a:pt x="21" y="214"/>
                      <a:pt x="33" y="204"/>
                      <a:pt x="45" y="189"/>
                    </a:cubicBezTo>
                    <a:cubicBezTo>
                      <a:pt x="56" y="174"/>
                      <a:pt x="67" y="154"/>
                      <a:pt x="78" y="132"/>
                    </a:cubicBezTo>
                    <a:cubicBezTo>
                      <a:pt x="90" y="110"/>
                      <a:pt x="103" y="86"/>
                      <a:pt x="120" y="63"/>
                    </a:cubicBezTo>
                    <a:cubicBezTo>
                      <a:pt x="137" y="40"/>
                      <a:pt x="158" y="21"/>
                      <a:pt x="181" y="10"/>
                    </a:cubicBezTo>
                    <a:cubicBezTo>
                      <a:pt x="193" y="5"/>
                      <a:pt x="204" y="2"/>
                      <a:pt x="215" y="1"/>
                    </a:cubicBezTo>
                    <a:cubicBezTo>
                      <a:pt x="226" y="0"/>
                      <a:pt x="237" y="0"/>
                      <a:pt x="246" y="2"/>
                    </a:cubicBezTo>
                    <a:cubicBezTo>
                      <a:pt x="265" y="7"/>
                      <a:pt x="278" y="15"/>
                      <a:pt x="285" y="23"/>
                    </a:cubicBezTo>
                    <a:cubicBezTo>
                      <a:pt x="287" y="25"/>
                      <a:pt x="289" y="26"/>
                      <a:pt x="290" y="28"/>
                    </a:cubicBezTo>
                    <a:cubicBezTo>
                      <a:pt x="291" y="30"/>
                      <a:pt x="292" y="31"/>
                      <a:pt x="293" y="32"/>
                    </a:cubicBezTo>
                    <a:cubicBezTo>
                      <a:pt x="295" y="34"/>
                      <a:pt x="295" y="36"/>
                      <a:pt x="295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Freeform 187">
                <a:extLst>
                  <a:ext uri="{FF2B5EF4-FFF2-40B4-BE49-F238E27FC236}">
                    <a16:creationId xmlns:a16="http://schemas.microsoft.com/office/drawing/2014/main" id="{11454D39-6427-4631-A0A2-0DAE3F428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2" y="3067"/>
                <a:ext cx="242" cy="242"/>
              </a:xfrm>
              <a:custGeom>
                <a:avLst/>
                <a:gdLst>
                  <a:gd name="T0" fmla="*/ 46 w 102"/>
                  <a:gd name="T1" fmla="*/ 49 h 102"/>
                  <a:gd name="T2" fmla="*/ 49 w 102"/>
                  <a:gd name="T3" fmla="*/ 48 h 102"/>
                  <a:gd name="T4" fmla="*/ 57 w 102"/>
                  <a:gd name="T5" fmla="*/ 51 h 102"/>
                  <a:gd name="T6" fmla="*/ 66 w 102"/>
                  <a:gd name="T7" fmla="*/ 61 h 102"/>
                  <a:gd name="T8" fmla="*/ 68 w 102"/>
                  <a:gd name="T9" fmla="*/ 79 h 102"/>
                  <a:gd name="T10" fmla="*/ 53 w 102"/>
                  <a:gd name="T11" fmla="*/ 96 h 102"/>
                  <a:gd name="T12" fmla="*/ 28 w 102"/>
                  <a:gd name="T13" fmla="*/ 99 h 102"/>
                  <a:gd name="T14" fmla="*/ 7 w 102"/>
                  <a:gd name="T15" fmla="*/ 81 h 102"/>
                  <a:gd name="T16" fmla="*/ 1 w 102"/>
                  <a:gd name="T17" fmla="*/ 67 h 102"/>
                  <a:gd name="T18" fmla="*/ 1 w 102"/>
                  <a:gd name="T19" fmla="*/ 52 h 102"/>
                  <a:gd name="T20" fmla="*/ 35 w 102"/>
                  <a:gd name="T21" fmla="*/ 6 h 102"/>
                  <a:gd name="T22" fmla="*/ 60 w 102"/>
                  <a:gd name="T23" fmla="*/ 0 h 102"/>
                  <a:gd name="T24" fmla="*/ 72 w 102"/>
                  <a:gd name="T25" fmla="*/ 2 h 102"/>
                  <a:gd name="T26" fmla="*/ 81 w 102"/>
                  <a:gd name="T27" fmla="*/ 7 h 102"/>
                  <a:gd name="T28" fmla="*/ 100 w 102"/>
                  <a:gd name="T29" fmla="*/ 32 h 102"/>
                  <a:gd name="T30" fmla="*/ 101 w 102"/>
                  <a:gd name="T31" fmla="*/ 41 h 102"/>
                  <a:gd name="T32" fmla="*/ 101 w 102"/>
                  <a:gd name="T33" fmla="*/ 44 h 102"/>
                  <a:gd name="T34" fmla="*/ 100 w 102"/>
                  <a:gd name="T35" fmla="*/ 32 h 102"/>
                  <a:gd name="T36" fmla="*/ 81 w 102"/>
                  <a:gd name="T37" fmla="*/ 7 h 102"/>
                  <a:gd name="T38" fmla="*/ 71 w 102"/>
                  <a:gd name="T39" fmla="*/ 3 h 102"/>
                  <a:gd name="T40" fmla="*/ 60 w 102"/>
                  <a:gd name="T41" fmla="*/ 1 h 102"/>
                  <a:gd name="T42" fmla="*/ 35 w 102"/>
                  <a:gd name="T43" fmla="*/ 7 h 102"/>
                  <a:gd name="T44" fmla="*/ 2 w 102"/>
                  <a:gd name="T45" fmla="*/ 52 h 102"/>
                  <a:gd name="T46" fmla="*/ 2 w 102"/>
                  <a:gd name="T47" fmla="*/ 67 h 102"/>
                  <a:gd name="T48" fmla="*/ 7 w 102"/>
                  <a:gd name="T49" fmla="*/ 81 h 102"/>
                  <a:gd name="T50" fmla="*/ 29 w 102"/>
                  <a:gd name="T51" fmla="*/ 98 h 102"/>
                  <a:gd name="T52" fmla="*/ 53 w 102"/>
                  <a:gd name="T53" fmla="*/ 96 h 102"/>
                  <a:gd name="T54" fmla="*/ 67 w 102"/>
                  <a:gd name="T55" fmla="*/ 79 h 102"/>
                  <a:gd name="T56" fmla="*/ 66 w 102"/>
                  <a:gd name="T57" fmla="*/ 61 h 102"/>
                  <a:gd name="T58" fmla="*/ 57 w 102"/>
                  <a:gd name="T59" fmla="*/ 51 h 102"/>
                  <a:gd name="T60" fmla="*/ 49 w 102"/>
                  <a:gd name="T61" fmla="*/ 49 h 102"/>
                  <a:gd name="T62" fmla="*/ 46 w 102"/>
                  <a:gd name="T63" fmla="*/ 49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2" h="102">
                    <a:moveTo>
                      <a:pt x="46" y="49"/>
                    </a:moveTo>
                    <a:cubicBezTo>
                      <a:pt x="46" y="49"/>
                      <a:pt x="47" y="48"/>
                      <a:pt x="49" y="48"/>
                    </a:cubicBezTo>
                    <a:cubicBezTo>
                      <a:pt x="51" y="48"/>
                      <a:pt x="54" y="49"/>
                      <a:pt x="57" y="51"/>
                    </a:cubicBezTo>
                    <a:cubicBezTo>
                      <a:pt x="60" y="53"/>
                      <a:pt x="64" y="56"/>
                      <a:pt x="66" y="61"/>
                    </a:cubicBezTo>
                    <a:cubicBezTo>
                      <a:pt x="69" y="66"/>
                      <a:pt x="70" y="73"/>
                      <a:pt x="68" y="79"/>
                    </a:cubicBezTo>
                    <a:cubicBezTo>
                      <a:pt x="66" y="86"/>
                      <a:pt x="61" y="92"/>
                      <a:pt x="53" y="96"/>
                    </a:cubicBezTo>
                    <a:cubicBezTo>
                      <a:pt x="47" y="100"/>
                      <a:pt x="37" y="102"/>
                      <a:pt x="28" y="99"/>
                    </a:cubicBezTo>
                    <a:cubicBezTo>
                      <a:pt x="20" y="96"/>
                      <a:pt x="12" y="90"/>
                      <a:pt x="7" y="81"/>
                    </a:cubicBezTo>
                    <a:cubicBezTo>
                      <a:pt x="4" y="77"/>
                      <a:pt x="2" y="72"/>
                      <a:pt x="1" y="67"/>
                    </a:cubicBezTo>
                    <a:cubicBezTo>
                      <a:pt x="0" y="62"/>
                      <a:pt x="0" y="57"/>
                      <a:pt x="1" y="52"/>
                    </a:cubicBezTo>
                    <a:cubicBezTo>
                      <a:pt x="4" y="31"/>
                      <a:pt x="19" y="14"/>
                      <a:pt x="35" y="6"/>
                    </a:cubicBezTo>
                    <a:cubicBezTo>
                      <a:pt x="43" y="2"/>
                      <a:pt x="52" y="0"/>
                      <a:pt x="60" y="0"/>
                    </a:cubicBezTo>
                    <a:cubicBezTo>
                      <a:pt x="64" y="0"/>
                      <a:pt x="68" y="1"/>
                      <a:pt x="72" y="2"/>
                    </a:cubicBezTo>
                    <a:cubicBezTo>
                      <a:pt x="75" y="3"/>
                      <a:pt x="78" y="5"/>
                      <a:pt x="81" y="7"/>
                    </a:cubicBezTo>
                    <a:cubicBezTo>
                      <a:pt x="93" y="14"/>
                      <a:pt x="99" y="25"/>
                      <a:pt x="100" y="32"/>
                    </a:cubicBezTo>
                    <a:cubicBezTo>
                      <a:pt x="101" y="36"/>
                      <a:pt x="101" y="39"/>
                      <a:pt x="101" y="41"/>
                    </a:cubicBezTo>
                    <a:cubicBezTo>
                      <a:pt x="101" y="43"/>
                      <a:pt x="101" y="44"/>
                      <a:pt x="101" y="44"/>
                    </a:cubicBezTo>
                    <a:cubicBezTo>
                      <a:pt x="101" y="44"/>
                      <a:pt x="102" y="39"/>
                      <a:pt x="100" y="32"/>
                    </a:cubicBezTo>
                    <a:cubicBezTo>
                      <a:pt x="98" y="25"/>
                      <a:pt x="93" y="14"/>
                      <a:pt x="81" y="7"/>
                    </a:cubicBezTo>
                    <a:cubicBezTo>
                      <a:pt x="78" y="5"/>
                      <a:pt x="75" y="4"/>
                      <a:pt x="71" y="3"/>
                    </a:cubicBezTo>
                    <a:cubicBezTo>
                      <a:pt x="68" y="2"/>
                      <a:pt x="64" y="1"/>
                      <a:pt x="60" y="1"/>
                    </a:cubicBezTo>
                    <a:cubicBezTo>
                      <a:pt x="52" y="1"/>
                      <a:pt x="43" y="3"/>
                      <a:pt x="35" y="7"/>
                    </a:cubicBezTo>
                    <a:cubicBezTo>
                      <a:pt x="19" y="15"/>
                      <a:pt x="5" y="31"/>
                      <a:pt x="2" y="52"/>
                    </a:cubicBezTo>
                    <a:cubicBezTo>
                      <a:pt x="1" y="57"/>
                      <a:pt x="1" y="62"/>
                      <a:pt x="2" y="67"/>
                    </a:cubicBezTo>
                    <a:cubicBezTo>
                      <a:pt x="3" y="72"/>
                      <a:pt x="5" y="77"/>
                      <a:pt x="7" y="81"/>
                    </a:cubicBezTo>
                    <a:cubicBezTo>
                      <a:pt x="12" y="89"/>
                      <a:pt x="20" y="96"/>
                      <a:pt x="29" y="98"/>
                    </a:cubicBezTo>
                    <a:cubicBezTo>
                      <a:pt x="37" y="101"/>
                      <a:pt x="46" y="99"/>
                      <a:pt x="53" y="96"/>
                    </a:cubicBezTo>
                    <a:cubicBezTo>
                      <a:pt x="60" y="92"/>
                      <a:pt x="65" y="86"/>
                      <a:pt x="67" y="79"/>
                    </a:cubicBezTo>
                    <a:cubicBezTo>
                      <a:pt x="69" y="73"/>
                      <a:pt x="68" y="66"/>
                      <a:pt x="66" y="61"/>
                    </a:cubicBezTo>
                    <a:cubicBezTo>
                      <a:pt x="64" y="57"/>
                      <a:pt x="60" y="53"/>
                      <a:pt x="57" y="51"/>
                    </a:cubicBezTo>
                    <a:cubicBezTo>
                      <a:pt x="54" y="49"/>
                      <a:pt x="51" y="49"/>
                      <a:pt x="49" y="49"/>
                    </a:cubicBezTo>
                    <a:cubicBezTo>
                      <a:pt x="47" y="48"/>
                      <a:pt x="46" y="49"/>
                      <a:pt x="46" y="4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88">
                <a:extLst>
                  <a:ext uri="{FF2B5EF4-FFF2-40B4-BE49-F238E27FC236}">
                    <a16:creationId xmlns:a16="http://schemas.microsoft.com/office/drawing/2014/main" id="{97819A1D-E263-419F-986D-26879EE343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0" y="1008"/>
                <a:ext cx="111" cy="74"/>
              </a:xfrm>
              <a:custGeom>
                <a:avLst/>
                <a:gdLst>
                  <a:gd name="T0" fmla="*/ 47 w 47"/>
                  <a:gd name="T1" fmla="*/ 0 h 31"/>
                  <a:gd name="T2" fmla="*/ 47 w 47"/>
                  <a:gd name="T3" fmla="*/ 3 h 31"/>
                  <a:gd name="T4" fmla="*/ 46 w 47"/>
                  <a:gd name="T5" fmla="*/ 12 h 31"/>
                  <a:gd name="T6" fmla="*/ 41 w 47"/>
                  <a:gd name="T7" fmla="*/ 24 h 31"/>
                  <a:gd name="T8" fmla="*/ 27 w 47"/>
                  <a:gd name="T9" fmla="*/ 31 h 31"/>
                  <a:gd name="T10" fmla="*/ 12 w 47"/>
                  <a:gd name="T11" fmla="*/ 26 h 31"/>
                  <a:gd name="T12" fmla="*/ 4 w 47"/>
                  <a:gd name="T13" fmla="*/ 15 h 31"/>
                  <a:gd name="T14" fmla="*/ 1 w 47"/>
                  <a:gd name="T15" fmla="*/ 7 h 31"/>
                  <a:gd name="T16" fmla="*/ 0 w 47"/>
                  <a:gd name="T17" fmla="*/ 4 h 31"/>
                  <a:gd name="T18" fmla="*/ 5 w 47"/>
                  <a:gd name="T19" fmla="*/ 14 h 31"/>
                  <a:gd name="T20" fmla="*/ 13 w 47"/>
                  <a:gd name="T21" fmla="*/ 24 h 31"/>
                  <a:gd name="T22" fmla="*/ 26 w 47"/>
                  <a:gd name="T23" fmla="*/ 29 h 31"/>
                  <a:gd name="T24" fmla="*/ 39 w 47"/>
                  <a:gd name="T25" fmla="*/ 22 h 31"/>
                  <a:gd name="T26" fmla="*/ 45 w 47"/>
                  <a:gd name="T27" fmla="*/ 12 h 31"/>
                  <a:gd name="T28" fmla="*/ 47 w 47"/>
                  <a:gd name="T2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31">
                    <a:moveTo>
                      <a:pt x="47" y="0"/>
                    </a:moveTo>
                    <a:cubicBezTo>
                      <a:pt x="47" y="0"/>
                      <a:pt x="47" y="1"/>
                      <a:pt x="47" y="3"/>
                    </a:cubicBezTo>
                    <a:cubicBezTo>
                      <a:pt x="47" y="5"/>
                      <a:pt x="47" y="8"/>
                      <a:pt x="46" y="12"/>
                    </a:cubicBezTo>
                    <a:cubicBezTo>
                      <a:pt x="45" y="16"/>
                      <a:pt x="44" y="20"/>
                      <a:pt x="41" y="24"/>
                    </a:cubicBezTo>
                    <a:cubicBezTo>
                      <a:pt x="37" y="27"/>
                      <a:pt x="33" y="31"/>
                      <a:pt x="27" y="31"/>
                    </a:cubicBezTo>
                    <a:cubicBezTo>
                      <a:pt x="21" y="31"/>
                      <a:pt x="15" y="29"/>
                      <a:pt x="12" y="26"/>
                    </a:cubicBezTo>
                    <a:cubicBezTo>
                      <a:pt x="8" y="22"/>
                      <a:pt x="6" y="18"/>
                      <a:pt x="4" y="15"/>
                    </a:cubicBezTo>
                    <a:cubicBezTo>
                      <a:pt x="3" y="12"/>
                      <a:pt x="2" y="9"/>
                      <a:pt x="1" y="7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0" y="4"/>
                      <a:pt x="2" y="8"/>
                      <a:pt x="5" y="14"/>
                    </a:cubicBezTo>
                    <a:cubicBezTo>
                      <a:pt x="7" y="18"/>
                      <a:pt x="9" y="21"/>
                      <a:pt x="13" y="24"/>
                    </a:cubicBezTo>
                    <a:cubicBezTo>
                      <a:pt x="16" y="27"/>
                      <a:pt x="21" y="29"/>
                      <a:pt x="26" y="29"/>
                    </a:cubicBezTo>
                    <a:cubicBezTo>
                      <a:pt x="32" y="29"/>
                      <a:pt x="36" y="26"/>
                      <a:pt x="39" y="22"/>
                    </a:cubicBezTo>
                    <a:cubicBezTo>
                      <a:pt x="42" y="19"/>
                      <a:pt x="44" y="15"/>
                      <a:pt x="45" y="12"/>
                    </a:cubicBezTo>
                    <a:cubicBezTo>
                      <a:pt x="46" y="5"/>
                      <a:pt x="46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Freeform 189">
                <a:extLst>
                  <a:ext uri="{FF2B5EF4-FFF2-40B4-BE49-F238E27FC236}">
                    <a16:creationId xmlns:a16="http://schemas.microsoft.com/office/drawing/2014/main" id="{D1710BA5-9DE3-49CD-8AAE-1146E2539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2836"/>
                <a:ext cx="335" cy="599"/>
              </a:xfrm>
              <a:custGeom>
                <a:avLst/>
                <a:gdLst>
                  <a:gd name="T0" fmla="*/ 117 w 141"/>
                  <a:gd name="T1" fmla="*/ 246 h 252"/>
                  <a:gd name="T2" fmla="*/ 14 w 141"/>
                  <a:gd name="T3" fmla="*/ 252 h 252"/>
                  <a:gd name="T4" fmla="*/ 20 w 141"/>
                  <a:gd name="T5" fmla="*/ 163 h 252"/>
                  <a:gd name="T6" fmla="*/ 9 w 141"/>
                  <a:gd name="T7" fmla="*/ 124 h 252"/>
                  <a:gd name="T8" fmla="*/ 0 w 141"/>
                  <a:gd name="T9" fmla="*/ 21 h 252"/>
                  <a:gd name="T10" fmla="*/ 135 w 141"/>
                  <a:gd name="T11" fmla="*/ 29 h 252"/>
                  <a:gd name="T12" fmla="*/ 141 w 141"/>
                  <a:gd name="T13" fmla="*/ 33 h 252"/>
                  <a:gd name="T14" fmla="*/ 117 w 141"/>
                  <a:gd name="T15" fmla="*/ 2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1" h="252">
                    <a:moveTo>
                      <a:pt x="117" y="246"/>
                    </a:moveTo>
                    <a:cubicBezTo>
                      <a:pt x="14" y="252"/>
                      <a:pt x="14" y="252"/>
                      <a:pt x="14" y="252"/>
                    </a:cubicBezTo>
                    <a:cubicBezTo>
                      <a:pt x="20" y="163"/>
                      <a:pt x="20" y="163"/>
                      <a:pt x="20" y="163"/>
                    </a:cubicBezTo>
                    <a:cubicBezTo>
                      <a:pt x="20" y="163"/>
                      <a:pt x="12" y="162"/>
                      <a:pt x="9" y="124"/>
                    </a:cubicBezTo>
                    <a:cubicBezTo>
                      <a:pt x="6" y="86"/>
                      <a:pt x="0" y="21"/>
                      <a:pt x="0" y="21"/>
                    </a:cubicBezTo>
                    <a:cubicBezTo>
                      <a:pt x="43" y="0"/>
                      <a:pt x="95" y="3"/>
                      <a:pt x="135" y="29"/>
                    </a:cubicBezTo>
                    <a:cubicBezTo>
                      <a:pt x="141" y="33"/>
                      <a:pt x="141" y="33"/>
                      <a:pt x="141" y="33"/>
                    </a:cubicBezTo>
                    <a:lnTo>
                      <a:pt x="117" y="246"/>
                    </a:ln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90">
                <a:extLst>
                  <a:ext uri="{FF2B5EF4-FFF2-40B4-BE49-F238E27FC236}">
                    <a16:creationId xmlns:a16="http://schemas.microsoft.com/office/drawing/2014/main" id="{F1EFBC87-3791-43F9-8AAF-AFE864B5C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3003"/>
                <a:ext cx="64" cy="123"/>
              </a:xfrm>
              <a:custGeom>
                <a:avLst/>
                <a:gdLst>
                  <a:gd name="T0" fmla="*/ 0 w 27"/>
                  <a:gd name="T1" fmla="*/ 9 h 52"/>
                  <a:gd name="T2" fmla="*/ 26 w 27"/>
                  <a:gd name="T3" fmla="*/ 26 h 52"/>
                  <a:gd name="T4" fmla="*/ 1 w 27"/>
                  <a:gd name="T5" fmla="*/ 47 h 52"/>
                  <a:gd name="T6" fmla="*/ 0 w 27"/>
                  <a:gd name="T7" fmla="*/ 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52">
                    <a:moveTo>
                      <a:pt x="0" y="9"/>
                    </a:moveTo>
                    <a:cubicBezTo>
                      <a:pt x="0" y="9"/>
                      <a:pt x="25" y="0"/>
                      <a:pt x="26" y="26"/>
                    </a:cubicBezTo>
                    <a:cubicBezTo>
                      <a:pt x="27" y="52"/>
                      <a:pt x="1" y="48"/>
                      <a:pt x="1" y="47"/>
                    </a:cubicBezTo>
                    <a:cubicBezTo>
                      <a:pt x="1" y="46"/>
                      <a:pt x="0" y="9"/>
                      <a:pt x="0" y="9"/>
                    </a:cubicBez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Freeform 191">
                <a:extLst>
                  <a:ext uri="{FF2B5EF4-FFF2-40B4-BE49-F238E27FC236}">
                    <a16:creationId xmlns:a16="http://schemas.microsoft.com/office/drawing/2014/main" id="{076E72DA-3D5A-4829-A968-75F1D74FFB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" y="3019"/>
                <a:ext cx="74" cy="124"/>
              </a:xfrm>
              <a:custGeom>
                <a:avLst/>
                <a:gdLst>
                  <a:gd name="T0" fmla="*/ 25 w 31"/>
                  <a:gd name="T1" fmla="*/ 5 h 52"/>
                  <a:gd name="T2" fmla="*/ 3 w 31"/>
                  <a:gd name="T3" fmla="*/ 26 h 52"/>
                  <a:gd name="T4" fmla="*/ 31 w 31"/>
                  <a:gd name="T5" fmla="*/ 43 h 52"/>
                  <a:gd name="T6" fmla="*/ 25 w 31"/>
                  <a:gd name="T7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52">
                    <a:moveTo>
                      <a:pt x="25" y="5"/>
                    </a:moveTo>
                    <a:cubicBezTo>
                      <a:pt x="24" y="5"/>
                      <a:pt x="0" y="0"/>
                      <a:pt x="3" y="26"/>
                    </a:cubicBezTo>
                    <a:cubicBezTo>
                      <a:pt x="6" y="52"/>
                      <a:pt x="31" y="44"/>
                      <a:pt x="31" y="43"/>
                    </a:cubicBezTo>
                    <a:cubicBezTo>
                      <a:pt x="31" y="43"/>
                      <a:pt x="25" y="5"/>
                      <a:pt x="25" y="5"/>
                    </a:cubicBezTo>
                    <a:close/>
                  </a:path>
                </a:pathLst>
              </a:custGeom>
              <a:solidFill>
                <a:srgbClr val="AA65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Freeform 192">
                <a:extLst>
                  <a:ext uri="{FF2B5EF4-FFF2-40B4-BE49-F238E27FC236}">
                    <a16:creationId xmlns:a16="http://schemas.microsoft.com/office/drawing/2014/main" id="{19CF2EAE-A03D-4FCE-BD92-DDABC3C94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836"/>
                <a:ext cx="345" cy="461"/>
              </a:xfrm>
              <a:custGeom>
                <a:avLst/>
                <a:gdLst>
                  <a:gd name="T0" fmla="*/ 145 w 145"/>
                  <a:gd name="T1" fmla="*/ 76 h 194"/>
                  <a:gd name="T2" fmla="*/ 141 w 145"/>
                  <a:gd name="T3" fmla="*/ 124 h 194"/>
                  <a:gd name="T4" fmla="*/ 107 w 145"/>
                  <a:gd name="T5" fmla="*/ 179 h 194"/>
                  <a:gd name="T6" fmla="*/ 40 w 145"/>
                  <a:gd name="T7" fmla="*/ 179 h 194"/>
                  <a:gd name="T8" fmla="*/ 14 w 145"/>
                  <a:gd name="T9" fmla="*/ 141 h 194"/>
                  <a:gd name="T10" fmla="*/ 6 w 145"/>
                  <a:gd name="T11" fmla="*/ 79 h 194"/>
                  <a:gd name="T12" fmla="*/ 0 w 145"/>
                  <a:gd name="T13" fmla="*/ 21 h 194"/>
                  <a:gd name="T14" fmla="*/ 84 w 145"/>
                  <a:gd name="T15" fmla="*/ 0 h 194"/>
                  <a:gd name="T16" fmla="*/ 134 w 145"/>
                  <a:gd name="T17" fmla="*/ 26 h 194"/>
                  <a:gd name="T18" fmla="*/ 145 w 145"/>
                  <a:gd name="T19" fmla="*/ 7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94">
                    <a:moveTo>
                      <a:pt x="145" y="76"/>
                    </a:moveTo>
                    <a:cubicBezTo>
                      <a:pt x="142" y="98"/>
                      <a:pt x="144" y="109"/>
                      <a:pt x="141" y="124"/>
                    </a:cubicBezTo>
                    <a:cubicBezTo>
                      <a:pt x="137" y="148"/>
                      <a:pt x="127" y="166"/>
                      <a:pt x="107" y="179"/>
                    </a:cubicBezTo>
                    <a:cubicBezTo>
                      <a:pt x="87" y="192"/>
                      <a:pt x="59" y="194"/>
                      <a:pt x="40" y="179"/>
                    </a:cubicBezTo>
                    <a:cubicBezTo>
                      <a:pt x="27" y="169"/>
                      <a:pt x="17" y="157"/>
                      <a:pt x="14" y="141"/>
                    </a:cubicBezTo>
                    <a:cubicBezTo>
                      <a:pt x="11" y="125"/>
                      <a:pt x="7" y="96"/>
                      <a:pt x="6" y="79"/>
                    </a:cubicBezTo>
                    <a:cubicBezTo>
                      <a:pt x="4" y="50"/>
                      <a:pt x="0" y="21"/>
                      <a:pt x="0" y="21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134" y="26"/>
                      <a:pt x="134" y="26"/>
                      <a:pt x="134" y="26"/>
                    </a:cubicBezTo>
                    <a:lnTo>
                      <a:pt x="145" y="7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93">
                <a:extLst>
                  <a:ext uri="{FF2B5EF4-FFF2-40B4-BE49-F238E27FC236}">
                    <a16:creationId xmlns:a16="http://schemas.microsoft.com/office/drawing/2014/main" id="{4FAB0D11-7CBF-45EF-BA18-D0B97F9B5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9" y="2715"/>
                <a:ext cx="463" cy="290"/>
              </a:xfrm>
              <a:custGeom>
                <a:avLst/>
                <a:gdLst>
                  <a:gd name="T0" fmla="*/ 34 w 195"/>
                  <a:gd name="T1" fmla="*/ 108 h 122"/>
                  <a:gd name="T2" fmla="*/ 20 w 195"/>
                  <a:gd name="T3" fmla="*/ 105 h 122"/>
                  <a:gd name="T4" fmla="*/ 14 w 195"/>
                  <a:gd name="T5" fmla="*/ 90 h 122"/>
                  <a:gd name="T6" fmla="*/ 2 w 195"/>
                  <a:gd name="T7" fmla="*/ 80 h 122"/>
                  <a:gd name="T8" fmla="*/ 5 w 195"/>
                  <a:gd name="T9" fmla="*/ 65 h 122"/>
                  <a:gd name="T10" fmla="*/ 11 w 195"/>
                  <a:gd name="T11" fmla="*/ 36 h 122"/>
                  <a:gd name="T12" fmla="*/ 39 w 195"/>
                  <a:gd name="T13" fmla="*/ 29 h 122"/>
                  <a:gd name="T14" fmla="*/ 59 w 195"/>
                  <a:gd name="T15" fmla="*/ 13 h 122"/>
                  <a:gd name="T16" fmla="*/ 83 w 195"/>
                  <a:gd name="T17" fmla="*/ 20 h 122"/>
                  <a:gd name="T18" fmla="*/ 120 w 195"/>
                  <a:gd name="T19" fmla="*/ 3 h 122"/>
                  <a:gd name="T20" fmla="*/ 149 w 195"/>
                  <a:gd name="T21" fmla="*/ 32 h 122"/>
                  <a:gd name="T22" fmla="*/ 171 w 195"/>
                  <a:gd name="T23" fmla="*/ 31 h 122"/>
                  <a:gd name="T24" fmla="*/ 176 w 195"/>
                  <a:gd name="T25" fmla="*/ 52 h 122"/>
                  <a:gd name="T26" fmla="*/ 192 w 195"/>
                  <a:gd name="T27" fmla="*/ 59 h 122"/>
                  <a:gd name="T28" fmla="*/ 190 w 195"/>
                  <a:gd name="T29" fmla="*/ 76 h 122"/>
                  <a:gd name="T30" fmla="*/ 184 w 195"/>
                  <a:gd name="T31" fmla="*/ 83 h 122"/>
                  <a:gd name="T32" fmla="*/ 186 w 195"/>
                  <a:gd name="T33" fmla="*/ 92 h 122"/>
                  <a:gd name="T34" fmla="*/ 178 w 195"/>
                  <a:gd name="T35" fmla="*/ 110 h 122"/>
                  <a:gd name="T36" fmla="*/ 160 w 195"/>
                  <a:gd name="T37" fmla="*/ 118 h 122"/>
                  <a:gd name="T38" fmla="*/ 137 w 195"/>
                  <a:gd name="T39" fmla="*/ 121 h 122"/>
                  <a:gd name="T40" fmla="*/ 121 w 195"/>
                  <a:gd name="T41" fmla="*/ 106 h 122"/>
                  <a:gd name="T42" fmla="*/ 70 w 195"/>
                  <a:gd name="T43" fmla="*/ 101 h 122"/>
                  <a:gd name="T44" fmla="*/ 54 w 195"/>
                  <a:gd name="T45" fmla="*/ 113 h 122"/>
                  <a:gd name="T46" fmla="*/ 36 w 195"/>
                  <a:gd name="T47" fmla="*/ 10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5" h="122">
                    <a:moveTo>
                      <a:pt x="34" y="108"/>
                    </a:moveTo>
                    <a:cubicBezTo>
                      <a:pt x="30" y="109"/>
                      <a:pt x="24" y="108"/>
                      <a:pt x="20" y="105"/>
                    </a:cubicBezTo>
                    <a:cubicBezTo>
                      <a:pt x="16" y="102"/>
                      <a:pt x="14" y="90"/>
                      <a:pt x="14" y="90"/>
                    </a:cubicBezTo>
                    <a:cubicBezTo>
                      <a:pt x="14" y="90"/>
                      <a:pt x="3" y="85"/>
                      <a:pt x="2" y="80"/>
                    </a:cubicBezTo>
                    <a:cubicBezTo>
                      <a:pt x="0" y="74"/>
                      <a:pt x="1" y="68"/>
                      <a:pt x="5" y="65"/>
                    </a:cubicBezTo>
                    <a:cubicBezTo>
                      <a:pt x="2" y="55"/>
                      <a:pt x="4" y="44"/>
                      <a:pt x="11" y="36"/>
                    </a:cubicBezTo>
                    <a:cubicBezTo>
                      <a:pt x="18" y="29"/>
                      <a:pt x="29" y="26"/>
                      <a:pt x="39" y="29"/>
                    </a:cubicBezTo>
                    <a:cubicBezTo>
                      <a:pt x="43" y="21"/>
                      <a:pt x="50" y="15"/>
                      <a:pt x="59" y="13"/>
                    </a:cubicBezTo>
                    <a:cubicBezTo>
                      <a:pt x="67" y="12"/>
                      <a:pt x="77" y="14"/>
                      <a:pt x="83" y="20"/>
                    </a:cubicBezTo>
                    <a:cubicBezTo>
                      <a:pt x="90" y="7"/>
                      <a:pt x="106" y="0"/>
                      <a:pt x="120" y="3"/>
                    </a:cubicBezTo>
                    <a:cubicBezTo>
                      <a:pt x="134" y="5"/>
                      <a:pt x="146" y="17"/>
                      <a:pt x="149" y="32"/>
                    </a:cubicBezTo>
                    <a:cubicBezTo>
                      <a:pt x="155" y="27"/>
                      <a:pt x="164" y="26"/>
                      <a:pt x="171" y="31"/>
                    </a:cubicBezTo>
                    <a:cubicBezTo>
                      <a:pt x="177" y="36"/>
                      <a:pt x="179" y="45"/>
                      <a:pt x="176" y="52"/>
                    </a:cubicBezTo>
                    <a:cubicBezTo>
                      <a:pt x="182" y="51"/>
                      <a:pt x="189" y="54"/>
                      <a:pt x="192" y="59"/>
                    </a:cubicBezTo>
                    <a:cubicBezTo>
                      <a:pt x="195" y="64"/>
                      <a:pt x="194" y="71"/>
                      <a:pt x="190" y="76"/>
                    </a:cubicBezTo>
                    <a:cubicBezTo>
                      <a:pt x="188" y="78"/>
                      <a:pt x="185" y="80"/>
                      <a:pt x="184" y="83"/>
                    </a:cubicBezTo>
                    <a:cubicBezTo>
                      <a:pt x="183" y="86"/>
                      <a:pt x="185" y="89"/>
                      <a:pt x="186" y="92"/>
                    </a:cubicBezTo>
                    <a:cubicBezTo>
                      <a:pt x="187" y="99"/>
                      <a:pt x="184" y="106"/>
                      <a:pt x="178" y="110"/>
                    </a:cubicBezTo>
                    <a:cubicBezTo>
                      <a:pt x="173" y="114"/>
                      <a:pt x="166" y="116"/>
                      <a:pt x="160" y="118"/>
                    </a:cubicBezTo>
                    <a:cubicBezTo>
                      <a:pt x="152" y="120"/>
                      <a:pt x="145" y="122"/>
                      <a:pt x="137" y="121"/>
                    </a:cubicBezTo>
                    <a:cubicBezTo>
                      <a:pt x="129" y="120"/>
                      <a:pt x="122" y="114"/>
                      <a:pt x="121" y="106"/>
                    </a:cubicBezTo>
                    <a:cubicBezTo>
                      <a:pt x="106" y="118"/>
                      <a:pt x="82" y="116"/>
                      <a:pt x="70" y="101"/>
                    </a:cubicBezTo>
                    <a:cubicBezTo>
                      <a:pt x="67" y="107"/>
                      <a:pt x="61" y="112"/>
                      <a:pt x="54" y="113"/>
                    </a:cubicBezTo>
                    <a:cubicBezTo>
                      <a:pt x="47" y="114"/>
                      <a:pt x="40" y="111"/>
                      <a:pt x="36" y="105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94">
                <a:extLst>
                  <a:ext uri="{FF2B5EF4-FFF2-40B4-BE49-F238E27FC236}">
                    <a16:creationId xmlns:a16="http://schemas.microsoft.com/office/drawing/2014/main" id="{ABA22205-1EAC-490B-8518-46204DBDF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3" y="3285"/>
                <a:ext cx="69" cy="19"/>
              </a:xfrm>
              <a:custGeom>
                <a:avLst/>
                <a:gdLst>
                  <a:gd name="T0" fmla="*/ 0 w 29"/>
                  <a:gd name="T1" fmla="*/ 6 h 8"/>
                  <a:gd name="T2" fmla="*/ 15 w 29"/>
                  <a:gd name="T3" fmla="*/ 6 h 8"/>
                  <a:gd name="T4" fmla="*/ 29 w 29"/>
                  <a:gd name="T5" fmla="*/ 1 h 8"/>
                  <a:gd name="T6" fmla="*/ 14 w 29"/>
                  <a:gd name="T7" fmla="*/ 4 h 8"/>
                  <a:gd name="T8" fmla="*/ 0 w 29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8">
                    <a:moveTo>
                      <a:pt x="0" y="6"/>
                    </a:moveTo>
                    <a:cubicBezTo>
                      <a:pt x="0" y="7"/>
                      <a:pt x="6" y="8"/>
                      <a:pt x="15" y="6"/>
                    </a:cubicBezTo>
                    <a:cubicBezTo>
                      <a:pt x="23" y="5"/>
                      <a:pt x="29" y="1"/>
                      <a:pt x="29" y="1"/>
                    </a:cubicBezTo>
                    <a:cubicBezTo>
                      <a:pt x="28" y="0"/>
                      <a:pt x="22" y="3"/>
                      <a:pt x="14" y="4"/>
                    </a:cubicBezTo>
                    <a:cubicBezTo>
                      <a:pt x="6" y="6"/>
                      <a:pt x="0" y="5"/>
                      <a:pt x="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95">
                <a:extLst>
                  <a:ext uri="{FF2B5EF4-FFF2-40B4-BE49-F238E27FC236}">
                    <a16:creationId xmlns:a16="http://schemas.microsoft.com/office/drawing/2014/main" id="{0807A327-A159-4CC4-9752-53BB91C7C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3354"/>
                <a:ext cx="935" cy="375"/>
              </a:xfrm>
              <a:custGeom>
                <a:avLst/>
                <a:gdLst>
                  <a:gd name="T0" fmla="*/ 0 w 394"/>
                  <a:gd name="T1" fmla="*/ 152 h 158"/>
                  <a:gd name="T2" fmla="*/ 23 w 394"/>
                  <a:gd name="T3" fmla="*/ 48 h 158"/>
                  <a:gd name="T4" fmla="*/ 137 w 394"/>
                  <a:gd name="T5" fmla="*/ 5 h 158"/>
                  <a:gd name="T6" fmla="*/ 241 w 394"/>
                  <a:gd name="T7" fmla="*/ 0 h 158"/>
                  <a:gd name="T8" fmla="*/ 306 w 394"/>
                  <a:gd name="T9" fmla="*/ 22 h 158"/>
                  <a:gd name="T10" fmla="*/ 361 w 394"/>
                  <a:gd name="T11" fmla="*/ 64 h 158"/>
                  <a:gd name="T12" fmla="*/ 394 w 394"/>
                  <a:gd name="T13" fmla="*/ 158 h 158"/>
                  <a:gd name="T14" fmla="*/ 0 w 394"/>
                  <a:gd name="T15" fmla="*/ 15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4" h="158">
                    <a:moveTo>
                      <a:pt x="0" y="152"/>
                    </a:moveTo>
                    <a:cubicBezTo>
                      <a:pt x="0" y="152"/>
                      <a:pt x="7" y="61"/>
                      <a:pt x="23" y="48"/>
                    </a:cubicBezTo>
                    <a:cubicBezTo>
                      <a:pt x="38" y="34"/>
                      <a:pt x="137" y="5"/>
                      <a:pt x="137" y="5"/>
                    </a:cubicBezTo>
                    <a:cubicBezTo>
                      <a:pt x="241" y="0"/>
                      <a:pt x="241" y="0"/>
                      <a:pt x="241" y="0"/>
                    </a:cubicBezTo>
                    <a:cubicBezTo>
                      <a:pt x="241" y="0"/>
                      <a:pt x="302" y="19"/>
                      <a:pt x="306" y="22"/>
                    </a:cubicBezTo>
                    <a:cubicBezTo>
                      <a:pt x="311" y="24"/>
                      <a:pt x="345" y="33"/>
                      <a:pt x="361" y="64"/>
                    </a:cubicBezTo>
                    <a:cubicBezTo>
                      <a:pt x="376" y="95"/>
                      <a:pt x="394" y="158"/>
                      <a:pt x="394" y="158"/>
                    </a:cubicBez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Freeform 196">
                <a:extLst>
                  <a:ext uri="{FF2B5EF4-FFF2-40B4-BE49-F238E27FC236}">
                    <a16:creationId xmlns:a16="http://schemas.microsoft.com/office/drawing/2014/main" id="{E0F3F723-315C-4C1B-8C18-D441A6BA6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6" y="2979"/>
                <a:ext cx="285" cy="59"/>
              </a:xfrm>
              <a:custGeom>
                <a:avLst/>
                <a:gdLst>
                  <a:gd name="T0" fmla="*/ 119 w 120"/>
                  <a:gd name="T1" fmla="*/ 2 h 25"/>
                  <a:gd name="T2" fmla="*/ 118 w 120"/>
                  <a:gd name="T3" fmla="*/ 6 h 25"/>
                  <a:gd name="T4" fmla="*/ 113 w 120"/>
                  <a:gd name="T5" fmla="*/ 9 h 25"/>
                  <a:gd name="T6" fmla="*/ 106 w 120"/>
                  <a:gd name="T7" fmla="*/ 10 h 25"/>
                  <a:gd name="T8" fmla="*/ 98 w 120"/>
                  <a:gd name="T9" fmla="*/ 13 h 25"/>
                  <a:gd name="T10" fmla="*/ 90 w 120"/>
                  <a:gd name="T11" fmla="*/ 19 h 25"/>
                  <a:gd name="T12" fmla="*/ 67 w 120"/>
                  <a:gd name="T13" fmla="*/ 15 h 25"/>
                  <a:gd name="T14" fmla="*/ 68 w 120"/>
                  <a:gd name="T15" fmla="*/ 15 h 25"/>
                  <a:gd name="T16" fmla="*/ 57 w 120"/>
                  <a:gd name="T17" fmla="*/ 23 h 25"/>
                  <a:gd name="T18" fmla="*/ 39 w 120"/>
                  <a:gd name="T19" fmla="*/ 21 h 25"/>
                  <a:gd name="T20" fmla="*/ 28 w 120"/>
                  <a:gd name="T21" fmla="*/ 8 h 25"/>
                  <a:gd name="T22" fmla="*/ 30 w 120"/>
                  <a:gd name="T23" fmla="*/ 9 h 25"/>
                  <a:gd name="T24" fmla="*/ 15 w 120"/>
                  <a:gd name="T25" fmla="*/ 15 h 25"/>
                  <a:gd name="T26" fmla="*/ 4 w 120"/>
                  <a:gd name="T27" fmla="*/ 9 h 25"/>
                  <a:gd name="T28" fmla="*/ 1 w 120"/>
                  <a:gd name="T29" fmla="*/ 2 h 25"/>
                  <a:gd name="T30" fmla="*/ 0 w 120"/>
                  <a:gd name="T31" fmla="*/ 0 h 25"/>
                  <a:gd name="T32" fmla="*/ 5 w 120"/>
                  <a:gd name="T33" fmla="*/ 9 h 25"/>
                  <a:gd name="T34" fmla="*/ 15 w 120"/>
                  <a:gd name="T35" fmla="*/ 13 h 25"/>
                  <a:gd name="T36" fmla="*/ 28 w 120"/>
                  <a:gd name="T37" fmla="*/ 8 h 25"/>
                  <a:gd name="T38" fmla="*/ 30 w 120"/>
                  <a:gd name="T39" fmla="*/ 6 h 25"/>
                  <a:gd name="T40" fmla="*/ 30 w 120"/>
                  <a:gd name="T41" fmla="*/ 8 h 25"/>
                  <a:gd name="T42" fmla="*/ 40 w 120"/>
                  <a:gd name="T43" fmla="*/ 19 h 25"/>
                  <a:gd name="T44" fmla="*/ 56 w 120"/>
                  <a:gd name="T45" fmla="*/ 21 h 25"/>
                  <a:gd name="T46" fmla="*/ 66 w 120"/>
                  <a:gd name="T47" fmla="*/ 14 h 25"/>
                  <a:gd name="T48" fmla="*/ 67 w 120"/>
                  <a:gd name="T49" fmla="*/ 13 h 25"/>
                  <a:gd name="T50" fmla="*/ 68 w 120"/>
                  <a:gd name="T51" fmla="*/ 14 h 25"/>
                  <a:gd name="T52" fmla="*/ 89 w 120"/>
                  <a:gd name="T53" fmla="*/ 17 h 25"/>
                  <a:gd name="T54" fmla="*/ 97 w 120"/>
                  <a:gd name="T55" fmla="*/ 12 h 25"/>
                  <a:gd name="T56" fmla="*/ 106 w 120"/>
                  <a:gd name="T57" fmla="*/ 9 h 25"/>
                  <a:gd name="T58" fmla="*/ 113 w 120"/>
                  <a:gd name="T59" fmla="*/ 8 h 25"/>
                  <a:gd name="T60" fmla="*/ 117 w 120"/>
                  <a:gd name="T61" fmla="*/ 6 h 25"/>
                  <a:gd name="T62" fmla="*/ 119 w 120"/>
                  <a:gd name="T63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0" h="25">
                    <a:moveTo>
                      <a:pt x="119" y="2"/>
                    </a:moveTo>
                    <a:cubicBezTo>
                      <a:pt x="119" y="2"/>
                      <a:pt x="120" y="4"/>
                      <a:pt x="118" y="6"/>
                    </a:cubicBezTo>
                    <a:cubicBezTo>
                      <a:pt x="117" y="7"/>
                      <a:pt x="115" y="9"/>
                      <a:pt x="113" y="9"/>
                    </a:cubicBezTo>
                    <a:cubicBezTo>
                      <a:pt x="111" y="10"/>
                      <a:pt x="108" y="10"/>
                      <a:pt x="106" y="10"/>
                    </a:cubicBezTo>
                    <a:cubicBezTo>
                      <a:pt x="103" y="10"/>
                      <a:pt x="101" y="11"/>
                      <a:pt x="98" y="13"/>
                    </a:cubicBezTo>
                    <a:cubicBezTo>
                      <a:pt x="96" y="15"/>
                      <a:pt x="93" y="17"/>
                      <a:pt x="90" y="19"/>
                    </a:cubicBezTo>
                    <a:cubicBezTo>
                      <a:pt x="83" y="21"/>
                      <a:pt x="74" y="21"/>
                      <a:pt x="67" y="15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5" y="19"/>
                      <a:pt x="61" y="21"/>
                      <a:pt x="57" y="23"/>
                    </a:cubicBezTo>
                    <a:cubicBezTo>
                      <a:pt x="51" y="25"/>
                      <a:pt x="44" y="24"/>
                      <a:pt x="39" y="21"/>
                    </a:cubicBezTo>
                    <a:cubicBezTo>
                      <a:pt x="34" y="18"/>
                      <a:pt x="30" y="13"/>
                      <a:pt x="28" y="8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6" y="13"/>
                      <a:pt x="20" y="15"/>
                      <a:pt x="15" y="15"/>
                    </a:cubicBezTo>
                    <a:cubicBezTo>
                      <a:pt x="10" y="15"/>
                      <a:pt x="7" y="12"/>
                      <a:pt x="4" y="9"/>
                    </a:cubicBezTo>
                    <a:cubicBezTo>
                      <a:pt x="2" y="7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4"/>
                      <a:pt x="5" y="9"/>
                    </a:cubicBezTo>
                    <a:cubicBezTo>
                      <a:pt x="7" y="11"/>
                      <a:pt x="11" y="13"/>
                      <a:pt x="15" y="13"/>
                    </a:cubicBezTo>
                    <a:cubicBezTo>
                      <a:pt x="20" y="14"/>
                      <a:pt x="25" y="12"/>
                      <a:pt x="28" y="8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2" y="12"/>
                      <a:pt x="35" y="17"/>
                      <a:pt x="40" y="19"/>
                    </a:cubicBezTo>
                    <a:cubicBezTo>
                      <a:pt x="45" y="22"/>
                      <a:pt x="51" y="23"/>
                      <a:pt x="56" y="21"/>
                    </a:cubicBezTo>
                    <a:cubicBezTo>
                      <a:pt x="60" y="19"/>
                      <a:pt x="64" y="17"/>
                      <a:pt x="66" y="14"/>
                    </a:cubicBezTo>
                    <a:cubicBezTo>
                      <a:pt x="67" y="13"/>
                      <a:pt x="67" y="13"/>
                      <a:pt x="67" y="13"/>
                    </a:cubicBezTo>
                    <a:cubicBezTo>
                      <a:pt x="68" y="14"/>
                      <a:pt x="68" y="14"/>
                      <a:pt x="68" y="14"/>
                    </a:cubicBezTo>
                    <a:cubicBezTo>
                      <a:pt x="74" y="19"/>
                      <a:pt x="83" y="19"/>
                      <a:pt x="89" y="17"/>
                    </a:cubicBezTo>
                    <a:cubicBezTo>
                      <a:pt x="92" y="16"/>
                      <a:pt x="95" y="14"/>
                      <a:pt x="97" y="12"/>
                    </a:cubicBezTo>
                    <a:cubicBezTo>
                      <a:pt x="100" y="10"/>
                      <a:pt x="103" y="9"/>
                      <a:pt x="106" y="9"/>
                    </a:cubicBezTo>
                    <a:cubicBezTo>
                      <a:pt x="108" y="9"/>
                      <a:pt x="111" y="9"/>
                      <a:pt x="113" y="8"/>
                    </a:cubicBezTo>
                    <a:cubicBezTo>
                      <a:pt x="115" y="8"/>
                      <a:pt x="116" y="7"/>
                      <a:pt x="117" y="6"/>
                    </a:cubicBezTo>
                    <a:cubicBezTo>
                      <a:pt x="119" y="4"/>
                      <a:pt x="119" y="2"/>
                      <a:pt x="119" y="2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Freeform 197">
                <a:extLst>
                  <a:ext uri="{FF2B5EF4-FFF2-40B4-BE49-F238E27FC236}">
                    <a16:creationId xmlns:a16="http://schemas.microsoft.com/office/drawing/2014/main" id="{FE6E24EC-7C0B-4244-B3AF-D542AB793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" y="2822"/>
                <a:ext cx="187" cy="128"/>
              </a:xfrm>
              <a:custGeom>
                <a:avLst/>
                <a:gdLst>
                  <a:gd name="T0" fmla="*/ 4 w 79"/>
                  <a:gd name="T1" fmla="*/ 54 h 54"/>
                  <a:gd name="T2" fmla="*/ 2 w 79"/>
                  <a:gd name="T3" fmla="*/ 50 h 54"/>
                  <a:gd name="T4" fmla="*/ 0 w 79"/>
                  <a:gd name="T5" fmla="*/ 38 h 54"/>
                  <a:gd name="T6" fmla="*/ 8 w 79"/>
                  <a:gd name="T7" fmla="*/ 21 h 54"/>
                  <a:gd name="T8" fmla="*/ 28 w 79"/>
                  <a:gd name="T9" fmla="*/ 10 h 54"/>
                  <a:gd name="T10" fmla="*/ 42 w 79"/>
                  <a:gd name="T11" fmla="*/ 12 h 54"/>
                  <a:gd name="T12" fmla="*/ 41 w 79"/>
                  <a:gd name="T13" fmla="*/ 12 h 54"/>
                  <a:gd name="T14" fmla="*/ 56 w 79"/>
                  <a:gd name="T15" fmla="*/ 2 h 54"/>
                  <a:gd name="T16" fmla="*/ 70 w 79"/>
                  <a:gd name="T17" fmla="*/ 3 h 54"/>
                  <a:gd name="T18" fmla="*/ 77 w 79"/>
                  <a:gd name="T19" fmla="*/ 8 h 54"/>
                  <a:gd name="T20" fmla="*/ 79 w 79"/>
                  <a:gd name="T21" fmla="*/ 11 h 54"/>
                  <a:gd name="T22" fmla="*/ 69 w 79"/>
                  <a:gd name="T23" fmla="*/ 4 h 54"/>
                  <a:gd name="T24" fmla="*/ 56 w 79"/>
                  <a:gd name="T25" fmla="*/ 3 h 54"/>
                  <a:gd name="T26" fmla="*/ 43 w 79"/>
                  <a:gd name="T27" fmla="*/ 13 h 54"/>
                  <a:gd name="T28" fmla="*/ 43 w 79"/>
                  <a:gd name="T29" fmla="*/ 14 h 54"/>
                  <a:gd name="T30" fmla="*/ 42 w 79"/>
                  <a:gd name="T31" fmla="*/ 14 h 54"/>
                  <a:gd name="T32" fmla="*/ 28 w 79"/>
                  <a:gd name="T33" fmla="*/ 12 h 54"/>
                  <a:gd name="T34" fmla="*/ 9 w 79"/>
                  <a:gd name="T35" fmla="*/ 22 h 54"/>
                  <a:gd name="T36" fmla="*/ 2 w 79"/>
                  <a:gd name="T37" fmla="*/ 38 h 54"/>
                  <a:gd name="T38" fmla="*/ 4 w 79"/>
                  <a:gd name="T3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9" h="54">
                    <a:moveTo>
                      <a:pt x="4" y="54"/>
                    </a:moveTo>
                    <a:cubicBezTo>
                      <a:pt x="4" y="54"/>
                      <a:pt x="3" y="53"/>
                      <a:pt x="2" y="50"/>
                    </a:cubicBezTo>
                    <a:cubicBezTo>
                      <a:pt x="1" y="47"/>
                      <a:pt x="0" y="43"/>
                      <a:pt x="0" y="38"/>
                    </a:cubicBezTo>
                    <a:cubicBezTo>
                      <a:pt x="1" y="32"/>
                      <a:pt x="3" y="26"/>
                      <a:pt x="8" y="21"/>
                    </a:cubicBezTo>
                    <a:cubicBezTo>
                      <a:pt x="12" y="15"/>
                      <a:pt x="20" y="11"/>
                      <a:pt x="28" y="10"/>
                    </a:cubicBezTo>
                    <a:cubicBezTo>
                      <a:pt x="33" y="9"/>
                      <a:pt x="38" y="10"/>
                      <a:pt x="42" y="12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45" y="6"/>
                      <a:pt x="50" y="3"/>
                      <a:pt x="56" y="2"/>
                    </a:cubicBezTo>
                    <a:cubicBezTo>
                      <a:pt x="61" y="0"/>
                      <a:pt x="66" y="1"/>
                      <a:pt x="70" y="3"/>
                    </a:cubicBezTo>
                    <a:cubicBezTo>
                      <a:pt x="73" y="4"/>
                      <a:pt x="76" y="6"/>
                      <a:pt x="77" y="8"/>
                    </a:cubicBezTo>
                    <a:cubicBezTo>
                      <a:pt x="79" y="9"/>
                      <a:pt x="79" y="10"/>
                      <a:pt x="79" y="11"/>
                    </a:cubicBezTo>
                    <a:cubicBezTo>
                      <a:pt x="79" y="11"/>
                      <a:pt x="76" y="7"/>
                      <a:pt x="69" y="4"/>
                    </a:cubicBezTo>
                    <a:cubicBezTo>
                      <a:pt x="66" y="3"/>
                      <a:pt x="61" y="2"/>
                      <a:pt x="56" y="3"/>
                    </a:cubicBezTo>
                    <a:cubicBezTo>
                      <a:pt x="51" y="5"/>
                      <a:pt x="46" y="8"/>
                      <a:pt x="43" y="13"/>
                    </a:cubicBezTo>
                    <a:cubicBezTo>
                      <a:pt x="43" y="14"/>
                      <a:pt x="43" y="14"/>
                      <a:pt x="43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38" y="12"/>
                      <a:pt x="33" y="11"/>
                      <a:pt x="28" y="12"/>
                    </a:cubicBezTo>
                    <a:cubicBezTo>
                      <a:pt x="20" y="13"/>
                      <a:pt x="13" y="17"/>
                      <a:pt x="9" y="22"/>
                    </a:cubicBezTo>
                    <a:cubicBezTo>
                      <a:pt x="5" y="27"/>
                      <a:pt x="3" y="33"/>
                      <a:pt x="2" y="38"/>
                    </a:cubicBezTo>
                    <a:cubicBezTo>
                      <a:pt x="1" y="48"/>
                      <a:pt x="4" y="54"/>
                      <a:pt x="4" y="54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198">
                <a:extLst>
                  <a:ext uri="{FF2B5EF4-FFF2-40B4-BE49-F238E27FC236}">
                    <a16:creationId xmlns:a16="http://schemas.microsoft.com/office/drawing/2014/main" id="{A889307E-B41C-4D9A-94F9-A5D84B74D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5" y="2848"/>
                <a:ext cx="86" cy="119"/>
              </a:xfrm>
              <a:custGeom>
                <a:avLst/>
                <a:gdLst>
                  <a:gd name="T0" fmla="*/ 4 w 36"/>
                  <a:gd name="T1" fmla="*/ 50 h 50"/>
                  <a:gd name="T2" fmla="*/ 2 w 36"/>
                  <a:gd name="T3" fmla="*/ 48 h 50"/>
                  <a:gd name="T4" fmla="*/ 0 w 36"/>
                  <a:gd name="T5" fmla="*/ 41 h 50"/>
                  <a:gd name="T6" fmla="*/ 1 w 36"/>
                  <a:gd name="T7" fmla="*/ 29 h 50"/>
                  <a:gd name="T8" fmla="*/ 11 w 36"/>
                  <a:gd name="T9" fmla="*/ 19 h 50"/>
                  <a:gd name="T10" fmla="*/ 18 w 36"/>
                  <a:gd name="T11" fmla="*/ 18 h 50"/>
                  <a:gd name="T12" fmla="*/ 17 w 36"/>
                  <a:gd name="T13" fmla="*/ 20 h 50"/>
                  <a:gd name="T14" fmla="*/ 21 w 36"/>
                  <a:gd name="T15" fmla="*/ 8 h 50"/>
                  <a:gd name="T16" fmla="*/ 27 w 36"/>
                  <a:gd name="T17" fmla="*/ 2 h 50"/>
                  <a:gd name="T18" fmla="*/ 33 w 36"/>
                  <a:gd name="T19" fmla="*/ 1 h 50"/>
                  <a:gd name="T20" fmla="*/ 35 w 36"/>
                  <a:gd name="T21" fmla="*/ 1 h 50"/>
                  <a:gd name="T22" fmla="*/ 28 w 36"/>
                  <a:gd name="T23" fmla="*/ 4 h 50"/>
                  <a:gd name="T24" fmla="*/ 22 w 36"/>
                  <a:gd name="T25" fmla="*/ 9 h 50"/>
                  <a:gd name="T26" fmla="*/ 19 w 36"/>
                  <a:gd name="T27" fmla="*/ 19 h 50"/>
                  <a:gd name="T28" fmla="*/ 19 w 36"/>
                  <a:gd name="T29" fmla="*/ 21 h 50"/>
                  <a:gd name="T30" fmla="*/ 18 w 36"/>
                  <a:gd name="T31" fmla="*/ 20 h 50"/>
                  <a:gd name="T32" fmla="*/ 12 w 36"/>
                  <a:gd name="T33" fmla="*/ 21 h 50"/>
                  <a:gd name="T34" fmla="*/ 3 w 36"/>
                  <a:gd name="T35" fmla="*/ 30 h 50"/>
                  <a:gd name="T36" fmla="*/ 2 w 36"/>
                  <a:gd name="T37" fmla="*/ 40 h 50"/>
                  <a:gd name="T38" fmla="*/ 4 w 36"/>
                  <a:gd name="T39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6" h="50">
                    <a:moveTo>
                      <a:pt x="4" y="50"/>
                    </a:moveTo>
                    <a:cubicBezTo>
                      <a:pt x="3" y="50"/>
                      <a:pt x="3" y="50"/>
                      <a:pt x="2" y="48"/>
                    </a:cubicBezTo>
                    <a:cubicBezTo>
                      <a:pt x="2" y="46"/>
                      <a:pt x="1" y="44"/>
                      <a:pt x="0" y="41"/>
                    </a:cubicBezTo>
                    <a:cubicBezTo>
                      <a:pt x="0" y="37"/>
                      <a:pt x="0" y="33"/>
                      <a:pt x="1" y="29"/>
                    </a:cubicBezTo>
                    <a:cubicBezTo>
                      <a:pt x="3" y="25"/>
                      <a:pt x="6" y="21"/>
                      <a:pt x="11" y="19"/>
                    </a:cubicBezTo>
                    <a:cubicBezTo>
                      <a:pt x="13" y="18"/>
                      <a:pt x="16" y="18"/>
                      <a:pt x="18" y="18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5"/>
                      <a:pt x="19" y="11"/>
                      <a:pt x="21" y="8"/>
                    </a:cubicBezTo>
                    <a:cubicBezTo>
                      <a:pt x="23" y="6"/>
                      <a:pt x="25" y="4"/>
                      <a:pt x="27" y="2"/>
                    </a:cubicBezTo>
                    <a:cubicBezTo>
                      <a:pt x="30" y="1"/>
                      <a:pt x="32" y="1"/>
                      <a:pt x="33" y="1"/>
                    </a:cubicBezTo>
                    <a:cubicBezTo>
                      <a:pt x="35" y="0"/>
                      <a:pt x="35" y="1"/>
                      <a:pt x="35" y="1"/>
                    </a:cubicBezTo>
                    <a:cubicBezTo>
                      <a:pt x="36" y="1"/>
                      <a:pt x="32" y="1"/>
                      <a:pt x="28" y="4"/>
                    </a:cubicBezTo>
                    <a:cubicBezTo>
                      <a:pt x="26" y="5"/>
                      <a:pt x="24" y="7"/>
                      <a:pt x="22" y="9"/>
                    </a:cubicBezTo>
                    <a:cubicBezTo>
                      <a:pt x="20" y="12"/>
                      <a:pt x="19" y="16"/>
                      <a:pt x="19" y="19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6" y="20"/>
                      <a:pt x="14" y="20"/>
                      <a:pt x="12" y="21"/>
                    </a:cubicBezTo>
                    <a:cubicBezTo>
                      <a:pt x="7" y="23"/>
                      <a:pt x="4" y="26"/>
                      <a:pt x="3" y="30"/>
                    </a:cubicBezTo>
                    <a:cubicBezTo>
                      <a:pt x="2" y="34"/>
                      <a:pt x="2" y="37"/>
                      <a:pt x="2" y="40"/>
                    </a:cubicBezTo>
                    <a:cubicBezTo>
                      <a:pt x="2" y="47"/>
                      <a:pt x="4" y="50"/>
                      <a:pt x="4" y="5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Freeform 199">
                <a:extLst>
                  <a:ext uri="{FF2B5EF4-FFF2-40B4-BE49-F238E27FC236}">
                    <a16:creationId xmlns:a16="http://schemas.microsoft.com/office/drawing/2014/main" id="{30C8E325-113A-4012-AD03-2514670B6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" y="3098"/>
                <a:ext cx="107" cy="23"/>
              </a:xfrm>
              <a:custGeom>
                <a:avLst/>
                <a:gdLst>
                  <a:gd name="T0" fmla="*/ 44 w 45"/>
                  <a:gd name="T1" fmla="*/ 3 h 10"/>
                  <a:gd name="T2" fmla="*/ 39 w 45"/>
                  <a:gd name="T3" fmla="*/ 8 h 10"/>
                  <a:gd name="T4" fmla="*/ 32 w 45"/>
                  <a:gd name="T5" fmla="*/ 9 h 10"/>
                  <a:gd name="T6" fmla="*/ 23 w 45"/>
                  <a:gd name="T7" fmla="*/ 5 h 10"/>
                  <a:gd name="T8" fmla="*/ 24 w 45"/>
                  <a:gd name="T9" fmla="*/ 5 h 10"/>
                  <a:gd name="T10" fmla="*/ 22 w 45"/>
                  <a:gd name="T11" fmla="*/ 7 h 10"/>
                  <a:gd name="T12" fmla="*/ 12 w 45"/>
                  <a:gd name="T13" fmla="*/ 10 h 10"/>
                  <a:gd name="T14" fmla="*/ 4 w 45"/>
                  <a:gd name="T15" fmla="*/ 7 h 10"/>
                  <a:gd name="T16" fmla="*/ 0 w 45"/>
                  <a:gd name="T17" fmla="*/ 0 h 10"/>
                  <a:gd name="T18" fmla="*/ 5 w 45"/>
                  <a:gd name="T19" fmla="*/ 5 h 10"/>
                  <a:gd name="T20" fmla="*/ 12 w 45"/>
                  <a:gd name="T21" fmla="*/ 8 h 10"/>
                  <a:gd name="T22" fmla="*/ 21 w 45"/>
                  <a:gd name="T23" fmla="*/ 5 h 10"/>
                  <a:gd name="T24" fmla="*/ 23 w 45"/>
                  <a:gd name="T25" fmla="*/ 4 h 10"/>
                  <a:gd name="T26" fmla="*/ 23 w 45"/>
                  <a:gd name="T27" fmla="*/ 3 h 10"/>
                  <a:gd name="T28" fmla="*/ 24 w 45"/>
                  <a:gd name="T29" fmla="*/ 4 h 10"/>
                  <a:gd name="T30" fmla="*/ 39 w 45"/>
                  <a:gd name="T31" fmla="*/ 6 h 10"/>
                  <a:gd name="T32" fmla="*/ 44 w 45"/>
                  <a:gd name="T3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10">
                    <a:moveTo>
                      <a:pt x="44" y="3"/>
                    </a:moveTo>
                    <a:cubicBezTo>
                      <a:pt x="45" y="3"/>
                      <a:pt x="43" y="6"/>
                      <a:pt x="39" y="8"/>
                    </a:cubicBezTo>
                    <a:cubicBezTo>
                      <a:pt x="37" y="8"/>
                      <a:pt x="35" y="9"/>
                      <a:pt x="32" y="9"/>
                    </a:cubicBezTo>
                    <a:cubicBezTo>
                      <a:pt x="29" y="9"/>
                      <a:pt x="25" y="8"/>
                      <a:pt x="23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3" y="6"/>
                      <a:pt x="23" y="6"/>
                      <a:pt x="22" y="7"/>
                    </a:cubicBezTo>
                    <a:cubicBezTo>
                      <a:pt x="19" y="9"/>
                      <a:pt x="15" y="10"/>
                      <a:pt x="12" y="10"/>
                    </a:cubicBezTo>
                    <a:cubicBezTo>
                      <a:pt x="9" y="10"/>
                      <a:pt x="6" y="8"/>
                      <a:pt x="4" y="7"/>
                    </a:cubicBezTo>
                    <a:cubicBezTo>
                      <a:pt x="0" y="4"/>
                      <a:pt x="0" y="0"/>
                      <a:pt x="0" y="0"/>
                    </a:cubicBezTo>
                    <a:cubicBezTo>
                      <a:pt x="0" y="0"/>
                      <a:pt x="1" y="3"/>
                      <a:pt x="5" y="5"/>
                    </a:cubicBezTo>
                    <a:cubicBezTo>
                      <a:pt x="7" y="7"/>
                      <a:pt x="9" y="8"/>
                      <a:pt x="12" y="8"/>
                    </a:cubicBezTo>
                    <a:cubicBezTo>
                      <a:pt x="15" y="8"/>
                      <a:pt x="18" y="7"/>
                      <a:pt x="21" y="5"/>
                    </a:cubicBezTo>
                    <a:cubicBezTo>
                      <a:pt x="22" y="5"/>
                      <a:pt x="22" y="4"/>
                      <a:pt x="23" y="4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9" y="8"/>
                      <a:pt x="35" y="8"/>
                      <a:pt x="39" y="6"/>
                    </a:cubicBezTo>
                    <a:cubicBezTo>
                      <a:pt x="42" y="5"/>
                      <a:pt x="44" y="3"/>
                      <a:pt x="44" y="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200">
                <a:extLst>
                  <a:ext uri="{FF2B5EF4-FFF2-40B4-BE49-F238E27FC236}">
                    <a16:creationId xmlns:a16="http://schemas.microsoft.com/office/drawing/2014/main" id="{B3F251BC-F5EC-4BCD-9C13-EA16CBC11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" y="3152"/>
                <a:ext cx="53" cy="31"/>
              </a:xfrm>
              <a:custGeom>
                <a:avLst/>
                <a:gdLst>
                  <a:gd name="T0" fmla="*/ 22 w 22"/>
                  <a:gd name="T1" fmla="*/ 0 h 13"/>
                  <a:gd name="T2" fmla="*/ 21 w 22"/>
                  <a:gd name="T3" fmla="*/ 5 h 13"/>
                  <a:gd name="T4" fmla="*/ 14 w 22"/>
                  <a:gd name="T5" fmla="*/ 12 h 13"/>
                  <a:gd name="T6" fmla="*/ 3 w 22"/>
                  <a:gd name="T7" fmla="*/ 12 h 13"/>
                  <a:gd name="T8" fmla="*/ 0 w 22"/>
                  <a:gd name="T9" fmla="*/ 10 h 13"/>
                  <a:gd name="T10" fmla="*/ 4 w 22"/>
                  <a:gd name="T11" fmla="*/ 11 h 13"/>
                  <a:gd name="T12" fmla="*/ 13 w 22"/>
                  <a:gd name="T13" fmla="*/ 10 h 13"/>
                  <a:gd name="T14" fmla="*/ 20 w 22"/>
                  <a:gd name="T15" fmla="*/ 4 h 13"/>
                  <a:gd name="T16" fmla="*/ 22 w 22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13">
                    <a:moveTo>
                      <a:pt x="22" y="0"/>
                    </a:moveTo>
                    <a:cubicBezTo>
                      <a:pt x="22" y="1"/>
                      <a:pt x="22" y="2"/>
                      <a:pt x="21" y="5"/>
                    </a:cubicBezTo>
                    <a:cubicBezTo>
                      <a:pt x="20" y="7"/>
                      <a:pt x="17" y="10"/>
                      <a:pt x="14" y="12"/>
                    </a:cubicBezTo>
                    <a:cubicBezTo>
                      <a:pt x="10" y="13"/>
                      <a:pt x="6" y="13"/>
                      <a:pt x="3" y="12"/>
                    </a:cubicBezTo>
                    <a:cubicBezTo>
                      <a:pt x="1" y="11"/>
                      <a:pt x="0" y="10"/>
                      <a:pt x="0" y="10"/>
                    </a:cubicBezTo>
                    <a:cubicBezTo>
                      <a:pt x="0" y="9"/>
                      <a:pt x="1" y="10"/>
                      <a:pt x="4" y="11"/>
                    </a:cubicBezTo>
                    <a:cubicBezTo>
                      <a:pt x="6" y="11"/>
                      <a:pt x="9" y="11"/>
                      <a:pt x="13" y="10"/>
                    </a:cubicBezTo>
                    <a:cubicBezTo>
                      <a:pt x="16" y="8"/>
                      <a:pt x="18" y="6"/>
                      <a:pt x="20" y="4"/>
                    </a:cubicBezTo>
                    <a:cubicBezTo>
                      <a:pt x="21" y="2"/>
                      <a:pt x="22" y="0"/>
                      <a:pt x="22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201">
                <a:extLst>
                  <a:ext uri="{FF2B5EF4-FFF2-40B4-BE49-F238E27FC236}">
                    <a16:creationId xmlns:a16="http://schemas.microsoft.com/office/drawing/2014/main" id="{28FFEA16-BB9F-4B35-881F-78BB280AC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1" y="3615"/>
                <a:ext cx="9" cy="105"/>
              </a:xfrm>
              <a:custGeom>
                <a:avLst/>
                <a:gdLst>
                  <a:gd name="T0" fmla="*/ 4 w 4"/>
                  <a:gd name="T1" fmla="*/ 44 h 44"/>
                  <a:gd name="T2" fmla="*/ 1 w 4"/>
                  <a:gd name="T3" fmla="*/ 22 h 44"/>
                  <a:gd name="T4" fmla="*/ 1 w 4"/>
                  <a:gd name="T5" fmla="*/ 1 h 44"/>
                  <a:gd name="T6" fmla="*/ 3 w 4"/>
                  <a:gd name="T7" fmla="*/ 22 h 44"/>
                  <a:gd name="T8" fmla="*/ 4 w 4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4">
                    <a:moveTo>
                      <a:pt x="4" y="44"/>
                    </a:moveTo>
                    <a:cubicBezTo>
                      <a:pt x="3" y="44"/>
                      <a:pt x="2" y="34"/>
                      <a:pt x="1" y="22"/>
                    </a:cubicBezTo>
                    <a:cubicBezTo>
                      <a:pt x="1" y="10"/>
                      <a:pt x="0" y="1"/>
                      <a:pt x="1" y="1"/>
                    </a:cubicBezTo>
                    <a:cubicBezTo>
                      <a:pt x="2" y="0"/>
                      <a:pt x="3" y="10"/>
                      <a:pt x="3" y="22"/>
                    </a:cubicBezTo>
                    <a:cubicBezTo>
                      <a:pt x="4" y="34"/>
                      <a:pt x="4" y="44"/>
                      <a:pt x="4" y="4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202">
                <a:extLst>
                  <a:ext uri="{FF2B5EF4-FFF2-40B4-BE49-F238E27FC236}">
                    <a16:creationId xmlns:a16="http://schemas.microsoft.com/office/drawing/2014/main" id="{987AC987-AE3C-4726-A35D-101D4C2C6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0" y="3489"/>
                <a:ext cx="33" cy="69"/>
              </a:xfrm>
              <a:custGeom>
                <a:avLst/>
                <a:gdLst>
                  <a:gd name="T0" fmla="*/ 0 w 14"/>
                  <a:gd name="T1" fmla="*/ 28 h 29"/>
                  <a:gd name="T2" fmla="*/ 6 w 14"/>
                  <a:gd name="T3" fmla="*/ 14 h 29"/>
                  <a:gd name="T4" fmla="*/ 14 w 14"/>
                  <a:gd name="T5" fmla="*/ 0 h 29"/>
                  <a:gd name="T6" fmla="*/ 8 w 14"/>
                  <a:gd name="T7" fmla="*/ 15 h 29"/>
                  <a:gd name="T8" fmla="*/ 0 w 14"/>
                  <a:gd name="T9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9">
                    <a:moveTo>
                      <a:pt x="0" y="28"/>
                    </a:moveTo>
                    <a:cubicBezTo>
                      <a:pt x="0" y="28"/>
                      <a:pt x="2" y="22"/>
                      <a:pt x="6" y="14"/>
                    </a:cubicBezTo>
                    <a:cubicBezTo>
                      <a:pt x="10" y="6"/>
                      <a:pt x="13" y="0"/>
                      <a:pt x="14" y="0"/>
                    </a:cubicBezTo>
                    <a:cubicBezTo>
                      <a:pt x="14" y="0"/>
                      <a:pt x="12" y="7"/>
                      <a:pt x="8" y="15"/>
                    </a:cubicBezTo>
                    <a:cubicBezTo>
                      <a:pt x="4" y="23"/>
                      <a:pt x="1" y="29"/>
                      <a:pt x="0" y="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203">
                <a:extLst>
                  <a:ext uri="{FF2B5EF4-FFF2-40B4-BE49-F238E27FC236}">
                    <a16:creationId xmlns:a16="http://schemas.microsoft.com/office/drawing/2014/main" id="{2E4B7701-ED3F-4F87-A561-E390EC1EB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9" y="3625"/>
                <a:ext cx="17" cy="102"/>
              </a:xfrm>
              <a:custGeom>
                <a:avLst/>
                <a:gdLst>
                  <a:gd name="T0" fmla="*/ 1 w 7"/>
                  <a:gd name="T1" fmla="*/ 42 h 43"/>
                  <a:gd name="T2" fmla="*/ 2 w 7"/>
                  <a:gd name="T3" fmla="*/ 21 h 43"/>
                  <a:gd name="T4" fmla="*/ 6 w 7"/>
                  <a:gd name="T5" fmla="*/ 0 h 43"/>
                  <a:gd name="T6" fmla="*/ 4 w 7"/>
                  <a:gd name="T7" fmla="*/ 21 h 43"/>
                  <a:gd name="T8" fmla="*/ 1 w 7"/>
                  <a:gd name="T9" fmla="*/ 4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3">
                    <a:moveTo>
                      <a:pt x="1" y="42"/>
                    </a:moveTo>
                    <a:cubicBezTo>
                      <a:pt x="0" y="42"/>
                      <a:pt x="1" y="33"/>
                      <a:pt x="2" y="21"/>
                    </a:cubicBezTo>
                    <a:cubicBezTo>
                      <a:pt x="4" y="9"/>
                      <a:pt x="6" y="0"/>
                      <a:pt x="6" y="0"/>
                    </a:cubicBezTo>
                    <a:cubicBezTo>
                      <a:pt x="7" y="0"/>
                      <a:pt x="6" y="9"/>
                      <a:pt x="4" y="21"/>
                    </a:cubicBezTo>
                    <a:cubicBezTo>
                      <a:pt x="3" y="33"/>
                      <a:pt x="1" y="43"/>
                      <a:pt x="1" y="4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204">
                <a:extLst>
                  <a:ext uri="{FF2B5EF4-FFF2-40B4-BE49-F238E27FC236}">
                    <a16:creationId xmlns:a16="http://schemas.microsoft.com/office/drawing/2014/main" id="{4BE335CB-7E1A-4779-908A-D212C03A6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3632"/>
                <a:ext cx="24" cy="57"/>
              </a:xfrm>
              <a:custGeom>
                <a:avLst/>
                <a:gdLst>
                  <a:gd name="T0" fmla="*/ 10 w 10"/>
                  <a:gd name="T1" fmla="*/ 24 h 24"/>
                  <a:gd name="T2" fmla="*/ 4 w 10"/>
                  <a:gd name="T3" fmla="*/ 12 h 24"/>
                  <a:gd name="T4" fmla="*/ 0 w 10"/>
                  <a:gd name="T5" fmla="*/ 0 h 24"/>
                  <a:gd name="T6" fmla="*/ 6 w 10"/>
                  <a:gd name="T7" fmla="*/ 12 h 24"/>
                  <a:gd name="T8" fmla="*/ 10 w 10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4">
                    <a:moveTo>
                      <a:pt x="10" y="24"/>
                    </a:moveTo>
                    <a:cubicBezTo>
                      <a:pt x="10" y="24"/>
                      <a:pt x="7" y="19"/>
                      <a:pt x="4" y="12"/>
                    </a:cubicBezTo>
                    <a:cubicBezTo>
                      <a:pt x="2" y="5"/>
                      <a:pt x="0" y="0"/>
                      <a:pt x="0" y="0"/>
                    </a:cubicBezTo>
                    <a:cubicBezTo>
                      <a:pt x="0" y="0"/>
                      <a:pt x="3" y="5"/>
                      <a:pt x="6" y="12"/>
                    </a:cubicBezTo>
                    <a:cubicBezTo>
                      <a:pt x="8" y="19"/>
                      <a:pt x="10" y="24"/>
                      <a:pt x="10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205">
                <a:extLst>
                  <a:ext uri="{FF2B5EF4-FFF2-40B4-BE49-F238E27FC236}">
                    <a16:creationId xmlns:a16="http://schemas.microsoft.com/office/drawing/2014/main" id="{918C05A5-8961-4FF7-AAA8-97EDB5B5F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1" y="3496"/>
                <a:ext cx="12" cy="62"/>
              </a:xfrm>
              <a:custGeom>
                <a:avLst/>
                <a:gdLst>
                  <a:gd name="T0" fmla="*/ 0 w 5"/>
                  <a:gd name="T1" fmla="*/ 26 h 26"/>
                  <a:gd name="T2" fmla="*/ 2 w 5"/>
                  <a:gd name="T3" fmla="*/ 13 h 26"/>
                  <a:gd name="T4" fmla="*/ 5 w 5"/>
                  <a:gd name="T5" fmla="*/ 0 h 26"/>
                  <a:gd name="T6" fmla="*/ 3 w 5"/>
                  <a:gd name="T7" fmla="*/ 13 h 26"/>
                  <a:gd name="T8" fmla="*/ 0 w 5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6">
                    <a:moveTo>
                      <a:pt x="0" y="26"/>
                    </a:moveTo>
                    <a:cubicBezTo>
                      <a:pt x="0" y="26"/>
                      <a:pt x="0" y="20"/>
                      <a:pt x="2" y="13"/>
                    </a:cubicBezTo>
                    <a:cubicBezTo>
                      <a:pt x="3" y="5"/>
                      <a:pt x="4" y="0"/>
                      <a:pt x="5" y="0"/>
                    </a:cubicBezTo>
                    <a:cubicBezTo>
                      <a:pt x="5" y="0"/>
                      <a:pt x="4" y="6"/>
                      <a:pt x="3" y="13"/>
                    </a:cubicBezTo>
                    <a:cubicBezTo>
                      <a:pt x="2" y="20"/>
                      <a:pt x="0" y="26"/>
                      <a:pt x="0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206">
                <a:extLst>
                  <a:ext uri="{FF2B5EF4-FFF2-40B4-BE49-F238E27FC236}">
                    <a16:creationId xmlns:a16="http://schemas.microsoft.com/office/drawing/2014/main" id="{C5A60925-BE7A-4504-A197-57D33ECA1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3594"/>
                <a:ext cx="36" cy="59"/>
              </a:xfrm>
              <a:custGeom>
                <a:avLst/>
                <a:gdLst>
                  <a:gd name="T0" fmla="*/ 14 w 15"/>
                  <a:gd name="T1" fmla="*/ 24 h 25"/>
                  <a:gd name="T2" fmla="*/ 7 w 15"/>
                  <a:gd name="T3" fmla="*/ 13 h 25"/>
                  <a:gd name="T4" fmla="*/ 0 w 15"/>
                  <a:gd name="T5" fmla="*/ 0 h 25"/>
                  <a:gd name="T6" fmla="*/ 8 w 15"/>
                  <a:gd name="T7" fmla="*/ 12 h 25"/>
                  <a:gd name="T8" fmla="*/ 14 w 15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5">
                    <a:moveTo>
                      <a:pt x="14" y="24"/>
                    </a:moveTo>
                    <a:cubicBezTo>
                      <a:pt x="14" y="25"/>
                      <a:pt x="11" y="19"/>
                      <a:pt x="7" y="13"/>
                    </a:cubicBezTo>
                    <a:cubicBezTo>
                      <a:pt x="3" y="6"/>
                      <a:pt x="0" y="0"/>
                      <a:pt x="0" y="0"/>
                    </a:cubicBezTo>
                    <a:cubicBezTo>
                      <a:pt x="1" y="0"/>
                      <a:pt x="4" y="5"/>
                      <a:pt x="8" y="12"/>
                    </a:cubicBezTo>
                    <a:cubicBezTo>
                      <a:pt x="12" y="19"/>
                      <a:pt x="15" y="24"/>
                      <a:pt x="14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207">
                <a:extLst>
                  <a:ext uri="{FF2B5EF4-FFF2-40B4-BE49-F238E27FC236}">
                    <a16:creationId xmlns:a16="http://schemas.microsoft.com/office/drawing/2014/main" id="{33CB3260-DB99-4407-BF21-9DB8E6FD7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3425"/>
                <a:ext cx="64" cy="33"/>
              </a:xfrm>
              <a:custGeom>
                <a:avLst/>
                <a:gdLst>
                  <a:gd name="T0" fmla="*/ 27 w 27"/>
                  <a:gd name="T1" fmla="*/ 14 h 14"/>
                  <a:gd name="T2" fmla="*/ 13 w 27"/>
                  <a:gd name="T3" fmla="*/ 8 h 14"/>
                  <a:gd name="T4" fmla="*/ 0 w 27"/>
                  <a:gd name="T5" fmla="*/ 1 h 14"/>
                  <a:gd name="T6" fmla="*/ 14 w 27"/>
                  <a:gd name="T7" fmla="*/ 7 h 14"/>
                  <a:gd name="T8" fmla="*/ 27 w 27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4">
                    <a:moveTo>
                      <a:pt x="27" y="14"/>
                    </a:moveTo>
                    <a:cubicBezTo>
                      <a:pt x="27" y="14"/>
                      <a:pt x="21" y="12"/>
                      <a:pt x="13" y="8"/>
                    </a:cubicBezTo>
                    <a:cubicBezTo>
                      <a:pt x="6" y="4"/>
                      <a:pt x="0" y="1"/>
                      <a:pt x="0" y="1"/>
                    </a:cubicBezTo>
                    <a:cubicBezTo>
                      <a:pt x="0" y="0"/>
                      <a:pt x="6" y="3"/>
                      <a:pt x="14" y="7"/>
                    </a:cubicBezTo>
                    <a:cubicBezTo>
                      <a:pt x="21" y="10"/>
                      <a:pt x="27" y="14"/>
                      <a:pt x="27" y="1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208">
                <a:extLst>
                  <a:ext uri="{FF2B5EF4-FFF2-40B4-BE49-F238E27FC236}">
                    <a16:creationId xmlns:a16="http://schemas.microsoft.com/office/drawing/2014/main" id="{66E2325E-3B39-4EEC-911C-32B5637E4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" y="3463"/>
                <a:ext cx="38" cy="69"/>
              </a:xfrm>
              <a:custGeom>
                <a:avLst/>
                <a:gdLst>
                  <a:gd name="T0" fmla="*/ 0 w 16"/>
                  <a:gd name="T1" fmla="*/ 29 h 29"/>
                  <a:gd name="T2" fmla="*/ 7 w 16"/>
                  <a:gd name="T3" fmla="*/ 14 h 29"/>
                  <a:gd name="T4" fmla="*/ 16 w 16"/>
                  <a:gd name="T5" fmla="*/ 0 h 29"/>
                  <a:gd name="T6" fmla="*/ 8 w 16"/>
                  <a:gd name="T7" fmla="*/ 15 h 29"/>
                  <a:gd name="T8" fmla="*/ 0 w 16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9">
                    <a:moveTo>
                      <a:pt x="0" y="29"/>
                    </a:moveTo>
                    <a:cubicBezTo>
                      <a:pt x="0" y="29"/>
                      <a:pt x="3" y="22"/>
                      <a:pt x="7" y="14"/>
                    </a:cubicBezTo>
                    <a:cubicBezTo>
                      <a:pt x="12" y="6"/>
                      <a:pt x="15" y="0"/>
                      <a:pt x="16" y="0"/>
                    </a:cubicBezTo>
                    <a:cubicBezTo>
                      <a:pt x="16" y="0"/>
                      <a:pt x="13" y="7"/>
                      <a:pt x="8" y="15"/>
                    </a:cubicBezTo>
                    <a:cubicBezTo>
                      <a:pt x="4" y="23"/>
                      <a:pt x="0" y="29"/>
                      <a:pt x="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7" name="Freeform 210">
              <a:extLst>
                <a:ext uri="{FF2B5EF4-FFF2-40B4-BE49-F238E27FC236}">
                  <a16:creationId xmlns:a16="http://schemas.microsoft.com/office/drawing/2014/main" id="{A82D9F74-C1C1-46E0-9CD8-E8718BE7C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9" y="3401"/>
              <a:ext cx="64" cy="17"/>
            </a:xfrm>
            <a:custGeom>
              <a:avLst/>
              <a:gdLst>
                <a:gd name="T0" fmla="*/ 27 w 27"/>
                <a:gd name="T1" fmla="*/ 7 h 7"/>
                <a:gd name="T2" fmla="*/ 13 w 27"/>
                <a:gd name="T3" fmla="*/ 5 h 7"/>
                <a:gd name="T4" fmla="*/ 0 w 27"/>
                <a:gd name="T5" fmla="*/ 1 h 7"/>
                <a:gd name="T6" fmla="*/ 14 w 27"/>
                <a:gd name="T7" fmla="*/ 3 h 7"/>
                <a:gd name="T8" fmla="*/ 27 w 27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7">
                  <a:moveTo>
                    <a:pt x="27" y="7"/>
                  </a:moveTo>
                  <a:cubicBezTo>
                    <a:pt x="27" y="7"/>
                    <a:pt x="21" y="6"/>
                    <a:pt x="13" y="5"/>
                  </a:cubicBezTo>
                  <a:cubicBezTo>
                    <a:pt x="6" y="3"/>
                    <a:pt x="0" y="1"/>
                    <a:pt x="0" y="1"/>
                  </a:cubicBezTo>
                  <a:cubicBezTo>
                    <a:pt x="0" y="0"/>
                    <a:pt x="6" y="2"/>
                    <a:pt x="14" y="3"/>
                  </a:cubicBezTo>
                  <a:cubicBezTo>
                    <a:pt x="21" y="5"/>
                    <a:pt x="27" y="7"/>
                    <a:pt x="27" y="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11">
              <a:extLst>
                <a:ext uri="{FF2B5EF4-FFF2-40B4-BE49-F238E27FC236}">
                  <a16:creationId xmlns:a16="http://schemas.microsoft.com/office/drawing/2014/main" id="{79E01B09-012C-4321-98CF-64E80DAAE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" y="3565"/>
              <a:ext cx="5" cy="67"/>
            </a:xfrm>
            <a:custGeom>
              <a:avLst/>
              <a:gdLst>
                <a:gd name="T0" fmla="*/ 0 w 2"/>
                <a:gd name="T1" fmla="*/ 28 h 28"/>
                <a:gd name="T2" fmla="*/ 0 w 2"/>
                <a:gd name="T3" fmla="*/ 14 h 28"/>
                <a:gd name="T4" fmla="*/ 2 w 2"/>
                <a:gd name="T5" fmla="*/ 0 h 28"/>
                <a:gd name="T6" fmla="*/ 2 w 2"/>
                <a:gd name="T7" fmla="*/ 14 h 28"/>
                <a:gd name="T8" fmla="*/ 0 w 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8">
                  <a:moveTo>
                    <a:pt x="0" y="28"/>
                  </a:moveTo>
                  <a:cubicBezTo>
                    <a:pt x="0" y="28"/>
                    <a:pt x="0" y="22"/>
                    <a:pt x="0" y="14"/>
                  </a:cubicBezTo>
                  <a:cubicBezTo>
                    <a:pt x="1" y="6"/>
                    <a:pt x="2" y="0"/>
                    <a:pt x="2" y="0"/>
                  </a:cubicBezTo>
                  <a:cubicBezTo>
                    <a:pt x="2" y="0"/>
                    <a:pt x="2" y="6"/>
                    <a:pt x="2" y="14"/>
                  </a:cubicBezTo>
                  <a:cubicBezTo>
                    <a:pt x="1" y="22"/>
                    <a:pt x="1" y="28"/>
                    <a:pt x="0" y="28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12">
              <a:extLst>
                <a:ext uri="{FF2B5EF4-FFF2-40B4-BE49-F238E27FC236}">
                  <a16:creationId xmlns:a16="http://schemas.microsoft.com/office/drawing/2014/main" id="{2BA98197-D3B5-4EC2-A750-FDB80381F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622"/>
              <a:ext cx="12" cy="71"/>
            </a:xfrm>
            <a:custGeom>
              <a:avLst/>
              <a:gdLst>
                <a:gd name="T0" fmla="*/ 5 w 5"/>
                <a:gd name="T1" fmla="*/ 30 h 30"/>
                <a:gd name="T2" fmla="*/ 2 w 5"/>
                <a:gd name="T3" fmla="*/ 15 h 30"/>
                <a:gd name="T4" fmla="*/ 0 w 5"/>
                <a:gd name="T5" fmla="*/ 0 h 30"/>
                <a:gd name="T6" fmla="*/ 3 w 5"/>
                <a:gd name="T7" fmla="*/ 15 h 30"/>
                <a:gd name="T8" fmla="*/ 5 w 5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0">
                  <a:moveTo>
                    <a:pt x="5" y="30"/>
                  </a:moveTo>
                  <a:cubicBezTo>
                    <a:pt x="4" y="30"/>
                    <a:pt x="3" y="24"/>
                    <a:pt x="2" y="15"/>
                  </a:cubicBezTo>
                  <a:cubicBezTo>
                    <a:pt x="1" y="7"/>
                    <a:pt x="0" y="0"/>
                    <a:pt x="0" y="0"/>
                  </a:cubicBezTo>
                  <a:cubicBezTo>
                    <a:pt x="1" y="0"/>
                    <a:pt x="2" y="7"/>
                    <a:pt x="3" y="15"/>
                  </a:cubicBezTo>
                  <a:cubicBezTo>
                    <a:pt x="4" y="23"/>
                    <a:pt x="5" y="30"/>
                    <a:pt x="5" y="3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13">
              <a:extLst>
                <a:ext uri="{FF2B5EF4-FFF2-40B4-BE49-F238E27FC236}">
                  <a16:creationId xmlns:a16="http://schemas.microsoft.com/office/drawing/2014/main" id="{E2015F28-A678-4E4E-82F8-CDC6D217B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" y="3691"/>
              <a:ext cx="41" cy="24"/>
            </a:xfrm>
            <a:custGeom>
              <a:avLst/>
              <a:gdLst>
                <a:gd name="T0" fmla="*/ 16 w 17"/>
                <a:gd name="T1" fmla="*/ 10 h 10"/>
                <a:gd name="T2" fmla="*/ 8 w 17"/>
                <a:gd name="T3" fmla="*/ 5 h 10"/>
                <a:gd name="T4" fmla="*/ 0 w 17"/>
                <a:gd name="T5" fmla="*/ 0 h 10"/>
                <a:gd name="T6" fmla="*/ 9 w 17"/>
                <a:gd name="T7" fmla="*/ 4 h 10"/>
                <a:gd name="T8" fmla="*/ 16 w 17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6" y="10"/>
                  </a:moveTo>
                  <a:cubicBezTo>
                    <a:pt x="16" y="10"/>
                    <a:pt x="12" y="8"/>
                    <a:pt x="8" y="5"/>
                  </a:cubicBezTo>
                  <a:cubicBezTo>
                    <a:pt x="3" y="3"/>
                    <a:pt x="0" y="0"/>
                    <a:pt x="0" y="0"/>
                  </a:cubicBezTo>
                  <a:cubicBezTo>
                    <a:pt x="0" y="0"/>
                    <a:pt x="4" y="2"/>
                    <a:pt x="9" y="4"/>
                  </a:cubicBezTo>
                  <a:cubicBezTo>
                    <a:pt x="13" y="7"/>
                    <a:pt x="17" y="9"/>
                    <a:pt x="16" y="1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14">
              <a:extLst>
                <a:ext uri="{FF2B5EF4-FFF2-40B4-BE49-F238E27FC236}">
                  <a16:creationId xmlns:a16="http://schemas.microsoft.com/office/drawing/2014/main" id="{6665D848-6654-4D5E-8064-E2385D9D6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677"/>
              <a:ext cx="55" cy="43"/>
            </a:xfrm>
            <a:custGeom>
              <a:avLst/>
              <a:gdLst>
                <a:gd name="T0" fmla="*/ 23 w 23"/>
                <a:gd name="T1" fmla="*/ 0 h 18"/>
                <a:gd name="T2" fmla="*/ 11 w 23"/>
                <a:gd name="T3" fmla="*/ 9 h 18"/>
                <a:gd name="T4" fmla="*/ 0 w 23"/>
                <a:gd name="T5" fmla="*/ 18 h 18"/>
                <a:gd name="T6" fmla="*/ 10 w 23"/>
                <a:gd name="T7" fmla="*/ 8 h 18"/>
                <a:gd name="T8" fmla="*/ 23 w 2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8">
                  <a:moveTo>
                    <a:pt x="23" y="0"/>
                  </a:moveTo>
                  <a:cubicBezTo>
                    <a:pt x="23" y="0"/>
                    <a:pt x="18" y="4"/>
                    <a:pt x="11" y="9"/>
                  </a:cubicBezTo>
                  <a:cubicBezTo>
                    <a:pt x="5" y="14"/>
                    <a:pt x="0" y="18"/>
                    <a:pt x="0" y="18"/>
                  </a:cubicBezTo>
                  <a:cubicBezTo>
                    <a:pt x="0" y="18"/>
                    <a:pt x="4" y="13"/>
                    <a:pt x="10" y="8"/>
                  </a:cubicBezTo>
                  <a:cubicBezTo>
                    <a:pt x="17" y="3"/>
                    <a:pt x="23" y="0"/>
                    <a:pt x="23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15">
              <a:extLst>
                <a:ext uri="{FF2B5EF4-FFF2-40B4-BE49-F238E27FC236}">
                  <a16:creationId xmlns:a16="http://schemas.microsoft.com/office/drawing/2014/main" id="{1E66D65D-BBC1-40B2-A649-36D3D3F0D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6" y="3549"/>
              <a:ext cx="50" cy="59"/>
            </a:xfrm>
            <a:custGeom>
              <a:avLst/>
              <a:gdLst>
                <a:gd name="T0" fmla="*/ 21 w 21"/>
                <a:gd name="T1" fmla="*/ 25 h 25"/>
                <a:gd name="T2" fmla="*/ 11 w 21"/>
                <a:gd name="T3" fmla="*/ 13 h 25"/>
                <a:gd name="T4" fmla="*/ 0 w 21"/>
                <a:gd name="T5" fmla="*/ 1 h 25"/>
                <a:gd name="T6" fmla="*/ 12 w 21"/>
                <a:gd name="T7" fmla="*/ 12 h 25"/>
                <a:gd name="T8" fmla="*/ 21 w 2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5">
                  <a:moveTo>
                    <a:pt x="21" y="25"/>
                  </a:moveTo>
                  <a:cubicBezTo>
                    <a:pt x="21" y="25"/>
                    <a:pt x="16" y="19"/>
                    <a:pt x="11" y="13"/>
                  </a:cubicBezTo>
                  <a:cubicBezTo>
                    <a:pt x="5" y="6"/>
                    <a:pt x="0" y="1"/>
                    <a:pt x="0" y="1"/>
                  </a:cubicBezTo>
                  <a:cubicBezTo>
                    <a:pt x="1" y="0"/>
                    <a:pt x="6" y="5"/>
                    <a:pt x="12" y="12"/>
                  </a:cubicBezTo>
                  <a:cubicBezTo>
                    <a:pt x="17" y="19"/>
                    <a:pt x="21" y="25"/>
                    <a:pt x="21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6">
              <a:extLst>
                <a:ext uri="{FF2B5EF4-FFF2-40B4-BE49-F238E27FC236}">
                  <a16:creationId xmlns:a16="http://schemas.microsoft.com/office/drawing/2014/main" id="{0F1A2997-DC57-4269-AAF1-AA9D8C487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6" y="3437"/>
              <a:ext cx="57" cy="45"/>
            </a:xfrm>
            <a:custGeom>
              <a:avLst/>
              <a:gdLst>
                <a:gd name="T0" fmla="*/ 24 w 24"/>
                <a:gd name="T1" fmla="*/ 1 h 19"/>
                <a:gd name="T2" fmla="*/ 12 w 24"/>
                <a:gd name="T3" fmla="*/ 10 h 19"/>
                <a:gd name="T4" fmla="*/ 0 w 24"/>
                <a:gd name="T5" fmla="*/ 19 h 19"/>
                <a:gd name="T6" fmla="*/ 12 w 24"/>
                <a:gd name="T7" fmla="*/ 9 h 19"/>
                <a:gd name="T8" fmla="*/ 24 w 24"/>
                <a:gd name="T9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24" y="1"/>
                  </a:moveTo>
                  <a:cubicBezTo>
                    <a:pt x="24" y="1"/>
                    <a:pt x="19" y="5"/>
                    <a:pt x="12" y="10"/>
                  </a:cubicBezTo>
                  <a:cubicBezTo>
                    <a:pt x="6" y="15"/>
                    <a:pt x="0" y="19"/>
                    <a:pt x="0" y="19"/>
                  </a:cubicBezTo>
                  <a:cubicBezTo>
                    <a:pt x="0" y="18"/>
                    <a:pt x="5" y="14"/>
                    <a:pt x="12" y="9"/>
                  </a:cubicBezTo>
                  <a:cubicBezTo>
                    <a:pt x="18" y="4"/>
                    <a:pt x="24" y="0"/>
                    <a:pt x="24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17">
              <a:extLst>
                <a:ext uri="{FF2B5EF4-FFF2-40B4-BE49-F238E27FC236}">
                  <a16:creationId xmlns:a16="http://schemas.microsoft.com/office/drawing/2014/main" id="{A75527C4-D5AD-4477-B128-145E2267B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" y="3406"/>
              <a:ext cx="19" cy="83"/>
            </a:xfrm>
            <a:custGeom>
              <a:avLst/>
              <a:gdLst>
                <a:gd name="T0" fmla="*/ 7 w 8"/>
                <a:gd name="T1" fmla="*/ 35 h 35"/>
                <a:gd name="T2" fmla="*/ 3 w 8"/>
                <a:gd name="T3" fmla="*/ 18 h 35"/>
                <a:gd name="T4" fmla="*/ 0 w 8"/>
                <a:gd name="T5" fmla="*/ 0 h 35"/>
                <a:gd name="T6" fmla="*/ 4 w 8"/>
                <a:gd name="T7" fmla="*/ 17 h 35"/>
                <a:gd name="T8" fmla="*/ 7 w 8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5">
                  <a:moveTo>
                    <a:pt x="7" y="35"/>
                  </a:moveTo>
                  <a:cubicBezTo>
                    <a:pt x="7" y="35"/>
                    <a:pt x="5" y="27"/>
                    <a:pt x="3" y="18"/>
                  </a:cubicBezTo>
                  <a:cubicBezTo>
                    <a:pt x="1" y="8"/>
                    <a:pt x="0" y="0"/>
                    <a:pt x="0" y="0"/>
                  </a:cubicBezTo>
                  <a:cubicBezTo>
                    <a:pt x="1" y="0"/>
                    <a:pt x="2" y="7"/>
                    <a:pt x="4" y="17"/>
                  </a:cubicBezTo>
                  <a:cubicBezTo>
                    <a:pt x="6" y="27"/>
                    <a:pt x="8" y="35"/>
                    <a:pt x="7" y="3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18">
              <a:extLst>
                <a:ext uri="{FF2B5EF4-FFF2-40B4-BE49-F238E27FC236}">
                  <a16:creationId xmlns:a16="http://schemas.microsoft.com/office/drawing/2014/main" id="{170CC29E-F3CE-4157-8C5B-D6672A32A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" y="3563"/>
              <a:ext cx="28" cy="66"/>
            </a:xfrm>
            <a:custGeom>
              <a:avLst/>
              <a:gdLst>
                <a:gd name="T0" fmla="*/ 11 w 12"/>
                <a:gd name="T1" fmla="*/ 28 h 28"/>
                <a:gd name="T2" fmla="*/ 5 w 12"/>
                <a:gd name="T3" fmla="*/ 15 h 28"/>
                <a:gd name="T4" fmla="*/ 1 w 12"/>
                <a:gd name="T5" fmla="*/ 0 h 28"/>
                <a:gd name="T6" fmla="*/ 6 w 12"/>
                <a:gd name="T7" fmla="*/ 14 h 28"/>
                <a:gd name="T8" fmla="*/ 11 w 1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8">
                  <a:moveTo>
                    <a:pt x="11" y="28"/>
                  </a:moveTo>
                  <a:cubicBezTo>
                    <a:pt x="11" y="28"/>
                    <a:pt x="8" y="22"/>
                    <a:pt x="5" y="15"/>
                  </a:cubicBezTo>
                  <a:cubicBezTo>
                    <a:pt x="2" y="7"/>
                    <a:pt x="0" y="0"/>
                    <a:pt x="1" y="0"/>
                  </a:cubicBezTo>
                  <a:cubicBezTo>
                    <a:pt x="1" y="0"/>
                    <a:pt x="3" y="7"/>
                    <a:pt x="6" y="14"/>
                  </a:cubicBezTo>
                  <a:cubicBezTo>
                    <a:pt x="9" y="22"/>
                    <a:pt x="12" y="28"/>
                    <a:pt x="11" y="28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19">
              <a:extLst>
                <a:ext uri="{FF2B5EF4-FFF2-40B4-BE49-F238E27FC236}">
                  <a16:creationId xmlns:a16="http://schemas.microsoft.com/office/drawing/2014/main" id="{FF8EC0CA-DDE9-4EC4-B138-1EF38A856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" y="3658"/>
              <a:ext cx="24" cy="57"/>
            </a:xfrm>
            <a:custGeom>
              <a:avLst/>
              <a:gdLst>
                <a:gd name="T0" fmla="*/ 1 w 10"/>
                <a:gd name="T1" fmla="*/ 23 h 24"/>
                <a:gd name="T2" fmla="*/ 5 w 10"/>
                <a:gd name="T3" fmla="*/ 12 h 24"/>
                <a:gd name="T4" fmla="*/ 10 w 10"/>
                <a:gd name="T5" fmla="*/ 0 h 24"/>
                <a:gd name="T6" fmla="*/ 6 w 10"/>
                <a:gd name="T7" fmla="*/ 12 h 24"/>
                <a:gd name="T8" fmla="*/ 1 w 10"/>
                <a:gd name="T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1" y="23"/>
                  </a:moveTo>
                  <a:cubicBezTo>
                    <a:pt x="0" y="23"/>
                    <a:pt x="2" y="18"/>
                    <a:pt x="5" y="12"/>
                  </a:cubicBezTo>
                  <a:cubicBezTo>
                    <a:pt x="7" y="5"/>
                    <a:pt x="9" y="0"/>
                    <a:pt x="10" y="0"/>
                  </a:cubicBezTo>
                  <a:cubicBezTo>
                    <a:pt x="10" y="1"/>
                    <a:pt x="8" y="6"/>
                    <a:pt x="6" y="12"/>
                  </a:cubicBezTo>
                  <a:cubicBezTo>
                    <a:pt x="3" y="19"/>
                    <a:pt x="1" y="24"/>
                    <a:pt x="1" y="2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20">
              <a:extLst>
                <a:ext uri="{FF2B5EF4-FFF2-40B4-BE49-F238E27FC236}">
                  <a16:creationId xmlns:a16="http://schemas.microsoft.com/office/drawing/2014/main" id="{C8FDE2AF-94FD-41F1-802E-E78C953A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6" y="3639"/>
              <a:ext cx="1004" cy="439"/>
            </a:xfrm>
            <a:custGeom>
              <a:avLst/>
              <a:gdLst>
                <a:gd name="T0" fmla="*/ 423 w 423"/>
                <a:gd name="T1" fmla="*/ 185 h 185"/>
                <a:gd name="T2" fmla="*/ 0 w 423"/>
                <a:gd name="T3" fmla="*/ 185 h 185"/>
                <a:gd name="T4" fmla="*/ 0 w 423"/>
                <a:gd name="T5" fmla="*/ 61 h 185"/>
                <a:gd name="T6" fmla="*/ 61 w 423"/>
                <a:gd name="T7" fmla="*/ 0 h 185"/>
                <a:gd name="T8" fmla="*/ 362 w 423"/>
                <a:gd name="T9" fmla="*/ 0 h 185"/>
                <a:gd name="T10" fmla="*/ 423 w 423"/>
                <a:gd name="T11" fmla="*/ 61 h 185"/>
                <a:gd name="T12" fmla="*/ 423 w 423"/>
                <a:gd name="T13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3" h="185">
                  <a:moveTo>
                    <a:pt x="423" y="185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27"/>
                    <a:pt x="27" y="0"/>
                    <a:pt x="61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96" y="0"/>
                    <a:pt x="423" y="27"/>
                    <a:pt x="423" y="61"/>
                  </a:cubicBezTo>
                  <a:lnTo>
                    <a:pt x="423" y="185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21">
              <a:extLst>
                <a:ext uri="{FF2B5EF4-FFF2-40B4-BE49-F238E27FC236}">
                  <a16:creationId xmlns:a16="http://schemas.microsoft.com/office/drawing/2014/main" id="{EA97A476-418E-4689-BEF2-27BB92FFF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3810"/>
              <a:ext cx="565" cy="230"/>
            </a:xfrm>
            <a:custGeom>
              <a:avLst/>
              <a:gdLst>
                <a:gd name="T0" fmla="*/ 238 w 238"/>
                <a:gd name="T1" fmla="*/ 0 h 97"/>
                <a:gd name="T2" fmla="*/ 235 w 238"/>
                <a:gd name="T3" fmla="*/ 2 h 97"/>
                <a:gd name="T4" fmla="*/ 229 w 238"/>
                <a:gd name="T5" fmla="*/ 6 h 97"/>
                <a:gd name="T6" fmla="*/ 206 w 238"/>
                <a:gd name="T7" fmla="*/ 21 h 97"/>
                <a:gd name="T8" fmla="*/ 170 w 238"/>
                <a:gd name="T9" fmla="*/ 41 h 97"/>
                <a:gd name="T10" fmla="*/ 124 w 238"/>
                <a:gd name="T11" fmla="*/ 62 h 97"/>
                <a:gd name="T12" fmla="*/ 76 w 238"/>
                <a:gd name="T13" fmla="*/ 79 h 97"/>
                <a:gd name="T14" fmla="*/ 37 w 238"/>
                <a:gd name="T15" fmla="*/ 89 h 97"/>
                <a:gd name="T16" fmla="*/ 10 w 238"/>
                <a:gd name="T17" fmla="*/ 95 h 97"/>
                <a:gd name="T18" fmla="*/ 2 w 238"/>
                <a:gd name="T19" fmla="*/ 96 h 97"/>
                <a:gd name="T20" fmla="*/ 0 w 238"/>
                <a:gd name="T21" fmla="*/ 97 h 97"/>
                <a:gd name="T22" fmla="*/ 2 w 238"/>
                <a:gd name="T23" fmla="*/ 96 h 97"/>
                <a:gd name="T24" fmla="*/ 9 w 238"/>
                <a:gd name="T25" fmla="*/ 94 h 97"/>
                <a:gd name="T26" fmla="*/ 36 w 238"/>
                <a:gd name="T27" fmla="*/ 88 h 97"/>
                <a:gd name="T28" fmla="*/ 76 w 238"/>
                <a:gd name="T29" fmla="*/ 77 h 97"/>
                <a:gd name="T30" fmla="*/ 123 w 238"/>
                <a:gd name="T31" fmla="*/ 60 h 97"/>
                <a:gd name="T32" fmla="*/ 169 w 238"/>
                <a:gd name="T33" fmla="*/ 39 h 97"/>
                <a:gd name="T34" fmla="*/ 205 w 238"/>
                <a:gd name="T35" fmla="*/ 20 h 97"/>
                <a:gd name="T36" fmla="*/ 229 w 238"/>
                <a:gd name="T37" fmla="*/ 5 h 97"/>
                <a:gd name="T38" fmla="*/ 235 w 238"/>
                <a:gd name="T39" fmla="*/ 2 h 97"/>
                <a:gd name="T40" fmla="*/ 238 w 238"/>
                <a:gd name="T4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97">
                  <a:moveTo>
                    <a:pt x="238" y="0"/>
                  </a:moveTo>
                  <a:cubicBezTo>
                    <a:pt x="238" y="0"/>
                    <a:pt x="237" y="1"/>
                    <a:pt x="235" y="2"/>
                  </a:cubicBezTo>
                  <a:cubicBezTo>
                    <a:pt x="234" y="3"/>
                    <a:pt x="232" y="4"/>
                    <a:pt x="229" y="6"/>
                  </a:cubicBezTo>
                  <a:cubicBezTo>
                    <a:pt x="224" y="10"/>
                    <a:pt x="216" y="15"/>
                    <a:pt x="206" y="21"/>
                  </a:cubicBezTo>
                  <a:cubicBezTo>
                    <a:pt x="196" y="27"/>
                    <a:pt x="184" y="34"/>
                    <a:pt x="170" y="41"/>
                  </a:cubicBezTo>
                  <a:cubicBezTo>
                    <a:pt x="156" y="48"/>
                    <a:pt x="140" y="55"/>
                    <a:pt x="124" y="62"/>
                  </a:cubicBezTo>
                  <a:cubicBezTo>
                    <a:pt x="107" y="68"/>
                    <a:pt x="91" y="74"/>
                    <a:pt x="76" y="79"/>
                  </a:cubicBezTo>
                  <a:cubicBezTo>
                    <a:pt x="62" y="83"/>
                    <a:pt x="48" y="87"/>
                    <a:pt x="37" y="89"/>
                  </a:cubicBezTo>
                  <a:cubicBezTo>
                    <a:pt x="25" y="92"/>
                    <a:pt x="16" y="94"/>
                    <a:pt x="10" y="95"/>
                  </a:cubicBezTo>
                  <a:cubicBezTo>
                    <a:pt x="7" y="96"/>
                    <a:pt x="4" y="96"/>
                    <a:pt x="2" y="9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6"/>
                    <a:pt x="2" y="96"/>
                  </a:cubicBezTo>
                  <a:cubicBezTo>
                    <a:pt x="4" y="96"/>
                    <a:pt x="6" y="95"/>
                    <a:pt x="9" y="94"/>
                  </a:cubicBezTo>
                  <a:cubicBezTo>
                    <a:pt x="16" y="93"/>
                    <a:pt x="25" y="91"/>
                    <a:pt x="36" y="88"/>
                  </a:cubicBezTo>
                  <a:cubicBezTo>
                    <a:pt x="48" y="85"/>
                    <a:pt x="61" y="81"/>
                    <a:pt x="76" y="77"/>
                  </a:cubicBezTo>
                  <a:cubicBezTo>
                    <a:pt x="91" y="72"/>
                    <a:pt x="107" y="66"/>
                    <a:pt x="123" y="60"/>
                  </a:cubicBezTo>
                  <a:cubicBezTo>
                    <a:pt x="140" y="53"/>
                    <a:pt x="155" y="46"/>
                    <a:pt x="169" y="39"/>
                  </a:cubicBezTo>
                  <a:cubicBezTo>
                    <a:pt x="183" y="32"/>
                    <a:pt x="195" y="26"/>
                    <a:pt x="205" y="20"/>
                  </a:cubicBezTo>
                  <a:cubicBezTo>
                    <a:pt x="215" y="14"/>
                    <a:pt x="223" y="9"/>
                    <a:pt x="229" y="5"/>
                  </a:cubicBezTo>
                  <a:cubicBezTo>
                    <a:pt x="231" y="4"/>
                    <a:pt x="234" y="3"/>
                    <a:pt x="235" y="2"/>
                  </a:cubicBezTo>
                  <a:cubicBezTo>
                    <a:pt x="237" y="1"/>
                    <a:pt x="237" y="0"/>
                    <a:pt x="23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22">
              <a:extLst>
                <a:ext uri="{FF2B5EF4-FFF2-40B4-BE49-F238E27FC236}">
                  <a16:creationId xmlns:a16="http://schemas.microsoft.com/office/drawing/2014/main" id="{39AEFB0E-1723-496F-91FE-A2B2CC632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8" y="3639"/>
              <a:ext cx="188" cy="437"/>
            </a:xfrm>
            <a:custGeom>
              <a:avLst/>
              <a:gdLst>
                <a:gd name="T0" fmla="*/ 79 w 79"/>
                <a:gd name="T1" fmla="*/ 0 h 184"/>
                <a:gd name="T2" fmla="*/ 77 w 79"/>
                <a:gd name="T3" fmla="*/ 0 h 184"/>
                <a:gd name="T4" fmla="*/ 70 w 79"/>
                <a:gd name="T5" fmla="*/ 1 h 184"/>
                <a:gd name="T6" fmla="*/ 45 w 79"/>
                <a:gd name="T7" fmla="*/ 4 h 184"/>
                <a:gd name="T8" fmla="*/ 29 w 79"/>
                <a:gd name="T9" fmla="*/ 10 h 184"/>
                <a:gd name="T10" fmla="*/ 15 w 79"/>
                <a:gd name="T11" fmla="*/ 23 h 184"/>
                <a:gd name="T12" fmla="*/ 7 w 79"/>
                <a:gd name="T13" fmla="*/ 43 h 184"/>
                <a:gd name="T14" fmla="*/ 4 w 79"/>
                <a:gd name="T15" fmla="*/ 66 h 184"/>
                <a:gd name="T16" fmla="*/ 2 w 79"/>
                <a:gd name="T17" fmla="*/ 149 h 184"/>
                <a:gd name="T18" fmla="*/ 1 w 79"/>
                <a:gd name="T19" fmla="*/ 175 h 184"/>
                <a:gd name="T20" fmla="*/ 1 w 79"/>
                <a:gd name="T21" fmla="*/ 182 h 184"/>
                <a:gd name="T22" fmla="*/ 0 w 79"/>
                <a:gd name="T23" fmla="*/ 184 h 184"/>
                <a:gd name="T24" fmla="*/ 0 w 79"/>
                <a:gd name="T25" fmla="*/ 182 h 184"/>
                <a:gd name="T26" fmla="*/ 0 w 79"/>
                <a:gd name="T27" fmla="*/ 175 h 184"/>
                <a:gd name="T28" fmla="*/ 0 w 79"/>
                <a:gd name="T29" fmla="*/ 149 h 184"/>
                <a:gd name="T30" fmla="*/ 2 w 79"/>
                <a:gd name="T31" fmla="*/ 66 h 184"/>
                <a:gd name="T32" fmla="*/ 5 w 79"/>
                <a:gd name="T33" fmla="*/ 42 h 184"/>
                <a:gd name="T34" fmla="*/ 13 w 79"/>
                <a:gd name="T35" fmla="*/ 22 h 184"/>
                <a:gd name="T36" fmla="*/ 28 w 79"/>
                <a:gd name="T37" fmla="*/ 8 h 184"/>
                <a:gd name="T38" fmla="*/ 45 w 79"/>
                <a:gd name="T39" fmla="*/ 3 h 184"/>
                <a:gd name="T40" fmla="*/ 70 w 79"/>
                <a:gd name="T41" fmla="*/ 0 h 184"/>
                <a:gd name="T42" fmla="*/ 77 w 79"/>
                <a:gd name="T43" fmla="*/ 0 h 184"/>
                <a:gd name="T44" fmla="*/ 79 w 7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4">
                  <a:moveTo>
                    <a:pt x="79" y="0"/>
                  </a:moveTo>
                  <a:cubicBezTo>
                    <a:pt x="79" y="0"/>
                    <a:pt x="79" y="0"/>
                    <a:pt x="77" y="0"/>
                  </a:cubicBezTo>
                  <a:cubicBezTo>
                    <a:pt x="75" y="1"/>
                    <a:pt x="73" y="1"/>
                    <a:pt x="70" y="1"/>
                  </a:cubicBezTo>
                  <a:cubicBezTo>
                    <a:pt x="64" y="1"/>
                    <a:pt x="56" y="2"/>
                    <a:pt x="45" y="4"/>
                  </a:cubicBezTo>
                  <a:cubicBezTo>
                    <a:pt x="40" y="5"/>
                    <a:pt x="35" y="7"/>
                    <a:pt x="29" y="10"/>
                  </a:cubicBezTo>
                  <a:cubicBezTo>
                    <a:pt x="24" y="13"/>
                    <a:pt x="18" y="17"/>
                    <a:pt x="15" y="23"/>
                  </a:cubicBezTo>
                  <a:cubicBezTo>
                    <a:pt x="11" y="28"/>
                    <a:pt x="8" y="35"/>
                    <a:pt x="7" y="43"/>
                  </a:cubicBezTo>
                  <a:cubicBezTo>
                    <a:pt x="5" y="50"/>
                    <a:pt x="5" y="58"/>
                    <a:pt x="4" y="66"/>
                  </a:cubicBezTo>
                  <a:cubicBezTo>
                    <a:pt x="3" y="99"/>
                    <a:pt x="3" y="128"/>
                    <a:pt x="2" y="149"/>
                  </a:cubicBezTo>
                  <a:cubicBezTo>
                    <a:pt x="1" y="160"/>
                    <a:pt x="1" y="168"/>
                    <a:pt x="1" y="175"/>
                  </a:cubicBezTo>
                  <a:cubicBezTo>
                    <a:pt x="1" y="178"/>
                    <a:pt x="1" y="180"/>
                    <a:pt x="1" y="182"/>
                  </a:cubicBezTo>
                  <a:cubicBezTo>
                    <a:pt x="0" y="183"/>
                    <a:pt x="0" y="184"/>
                    <a:pt x="0" y="184"/>
                  </a:cubicBezTo>
                  <a:cubicBezTo>
                    <a:pt x="0" y="184"/>
                    <a:pt x="0" y="183"/>
                    <a:pt x="0" y="182"/>
                  </a:cubicBezTo>
                  <a:cubicBezTo>
                    <a:pt x="0" y="180"/>
                    <a:pt x="0" y="177"/>
                    <a:pt x="0" y="175"/>
                  </a:cubicBezTo>
                  <a:cubicBezTo>
                    <a:pt x="0" y="168"/>
                    <a:pt x="0" y="160"/>
                    <a:pt x="0" y="149"/>
                  </a:cubicBezTo>
                  <a:cubicBezTo>
                    <a:pt x="1" y="128"/>
                    <a:pt x="2" y="99"/>
                    <a:pt x="2" y="66"/>
                  </a:cubicBezTo>
                  <a:cubicBezTo>
                    <a:pt x="3" y="58"/>
                    <a:pt x="3" y="50"/>
                    <a:pt x="5" y="42"/>
                  </a:cubicBezTo>
                  <a:cubicBezTo>
                    <a:pt x="6" y="35"/>
                    <a:pt x="9" y="28"/>
                    <a:pt x="13" y="22"/>
                  </a:cubicBezTo>
                  <a:cubicBezTo>
                    <a:pt x="17" y="16"/>
                    <a:pt x="23" y="11"/>
                    <a:pt x="28" y="8"/>
                  </a:cubicBezTo>
                  <a:cubicBezTo>
                    <a:pt x="34" y="6"/>
                    <a:pt x="40" y="4"/>
                    <a:pt x="45" y="3"/>
                  </a:cubicBezTo>
                  <a:cubicBezTo>
                    <a:pt x="55" y="1"/>
                    <a:pt x="64" y="0"/>
                    <a:pt x="70" y="0"/>
                  </a:cubicBezTo>
                  <a:cubicBezTo>
                    <a:pt x="73" y="0"/>
                    <a:pt x="75" y="0"/>
                    <a:pt x="77" y="0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23">
              <a:extLst>
                <a:ext uri="{FF2B5EF4-FFF2-40B4-BE49-F238E27FC236}">
                  <a16:creationId xmlns:a16="http://schemas.microsoft.com/office/drawing/2014/main" id="{98C21910-B36B-4545-B311-388ECF974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" y="3409"/>
              <a:ext cx="902" cy="287"/>
            </a:xfrm>
            <a:custGeom>
              <a:avLst/>
              <a:gdLst>
                <a:gd name="T0" fmla="*/ 0 w 380"/>
                <a:gd name="T1" fmla="*/ 111 h 121"/>
                <a:gd name="T2" fmla="*/ 22 w 380"/>
                <a:gd name="T3" fmla="*/ 38 h 121"/>
                <a:gd name="T4" fmla="*/ 96 w 380"/>
                <a:gd name="T5" fmla="*/ 8 h 121"/>
                <a:gd name="T6" fmla="*/ 228 w 380"/>
                <a:gd name="T7" fmla="*/ 0 h 121"/>
                <a:gd name="T8" fmla="*/ 306 w 380"/>
                <a:gd name="T9" fmla="*/ 13 h 121"/>
                <a:gd name="T10" fmla="*/ 360 w 380"/>
                <a:gd name="T11" fmla="*/ 55 h 121"/>
                <a:gd name="T12" fmla="*/ 380 w 380"/>
                <a:gd name="T13" fmla="*/ 121 h 121"/>
                <a:gd name="T14" fmla="*/ 0 w 380"/>
                <a:gd name="T15" fmla="*/ 11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0" h="121">
                  <a:moveTo>
                    <a:pt x="0" y="111"/>
                  </a:moveTo>
                  <a:cubicBezTo>
                    <a:pt x="0" y="111"/>
                    <a:pt x="7" y="52"/>
                    <a:pt x="22" y="38"/>
                  </a:cubicBezTo>
                  <a:cubicBezTo>
                    <a:pt x="38" y="25"/>
                    <a:pt x="96" y="8"/>
                    <a:pt x="96" y="8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28" y="0"/>
                    <a:pt x="301" y="10"/>
                    <a:pt x="306" y="13"/>
                  </a:cubicBezTo>
                  <a:cubicBezTo>
                    <a:pt x="310" y="15"/>
                    <a:pt x="345" y="24"/>
                    <a:pt x="360" y="55"/>
                  </a:cubicBezTo>
                  <a:cubicBezTo>
                    <a:pt x="376" y="86"/>
                    <a:pt x="380" y="121"/>
                    <a:pt x="380" y="12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24">
              <a:extLst>
                <a:ext uri="{FF2B5EF4-FFF2-40B4-BE49-F238E27FC236}">
                  <a16:creationId xmlns:a16="http://schemas.microsoft.com/office/drawing/2014/main" id="{22950E57-62A8-437A-9E5E-6B5F003A2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4" y="2908"/>
              <a:ext cx="323" cy="577"/>
            </a:xfrm>
            <a:custGeom>
              <a:avLst/>
              <a:gdLst>
                <a:gd name="T0" fmla="*/ 31 w 136"/>
                <a:gd name="T1" fmla="*/ 241 h 243"/>
                <a:gd name="T2" fmla="*/ 131 w 136"/>
                <a:gd name="T3" fmla="*/ 243 h 243"/>
                <a:gd name="T4" fmla="*/ 122 w 136"/>
                <a:gd name="T5" fmla="*/ 152 h 243"/>
                <a:gd name="T6" fmla="*/ 131 w 136"/>
                <a:gd name="T7" fmla="*/ 119 h 243"/>
                <a:gd name="T8" fmla="*/ 136 w 136"/>
                <a:gd name="T9" fmla="*/ 19 h 243"/>
                <a:gd name="T10" fmla="*/ 6 w 136"/>
                <a:gd name="T11" fmla="*/ 32 h 243"/>
                <a:gd name="T12" fmla="*/ 0 w 136"/>
                <a:gd name="T13" fmla="*/ 36 h 243"/>
                <a:gd name="T14" fmla="*/ 31 w 136"/>
                <a:gd name="T15" fmla="*/ 24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243">
                  <a:moveTo>
                    <a:pt x="31" y="241"/>
                  </a:moveTo>
                  <a:cubicBezTo>
                    <a:pt x="131" y="243"/>
                    <a:pt x="131" y="243"/>
                    <a:pt x="131" y="243"/>
                  </a:cubicBezTo>
                  <a:cubicBezTo>
                    <a:pt x="122" y="152"/>
                    <a:pt x="122" y="152"/>
                    <a:pt x="122" y="152"/>
                  </a:cubicBezTo>
                  <a:cubicBezTo>
                    <a:pt x="122" y="152"/>
                    <a:pt x="129" y="156"/>
                    <a:pt x="131" y="119"/>
                  </a:cubicBezTo>
                  <a:cubicBezTo>
                    <a:pt x="132" y="82"/>
                    <a:pt x="136" y="19"/>
                    <a:pt x="136" y="19"/>
                  </a:cubicBezTo>
                  <a:cubicBezTo>
                    <a:pt x="93" y="0"/>
                    <a:pt x="44" y="5"/>
                    <a:pt x="6" y="32"/>
                  </a:cubicBezTo>
                  <a:cubicBezTo>
                    <a:pt x="0" y="36"/>
                    <a:pt x="0" y="36"/>
                    <a:pt x="0" y="36"/>
                  </a:cubicBezTo>
                  <a:lnTo>
                    <a:pt x="31" y="241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25">
              <a:extLst>
                <a:ext uri="{FF2B5EF4-FFF2-40B4-BE49-F238E27FC236}">
                  <a16:creationId xmlns:a16="http://schemas.microsoft.com/office/drawing/2014/main" id="{E3A32998-B38F-4103-BFBE-AFFDF28D0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" y="3083"/>
              <a:ext cx="62" cy="119"/>
            </a:xfrm>
            <a:custGeom>
              <a:avLst/>
              <a:gdLst>
                <a:gd name="T0" fmla="*/ 26 w 26"/>
                <a:gd name="T1" fmla="*/ 8 h 50"/>
                <a:gd name="T2" fmla="*/ 1 w 26"/>
                <a:gd name="T3" fmla="*/ 25 h 50"/>
                <a:gd name="T4" fmla="*/ 26 w 26"/>
                <a:gd name="T5" fmla="*/ 44 h 50"/>
                <a:gd name="T6" fmla="*/ 26 w 26"/>
                <a:gd name="T7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0">
                  <a:moveTo>
                    <a:pt x="26" y="8"/>
                  </a:moveTo>
                  <a:cubicBezTo>
                    <a:pt x="25" y="8"/>
                    <a:pt x="0" y="0"/>
                    <a:pt x="1" y="25"/>
                  </a:cubicBezTo>
                  <a:cubicBezTo>
                    <a:pt x="1" y="50"/>
                    <a:pt x="26" y="45"/>
                    <a:pt x="26" y="44"/>
                  </a:cubicBezTo>
                  <a:cubicBezTo>
                    <a:pt x="26" y="44"/>
                    <a:pt x="26" y="8"/>
                    <a:pt x="26" y="8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26">
              <a:extLst>
                <a:ext uri="{FF2B5EF4-FFF2-40B4-BE49-F238E27FC236}">
                  <a16:creationId xmlns:a16="http://schemas.microsoft.com/office/drawing/2014/main" id="{AF3BEE68-F9C9-4B1A-93B7-B91C00B2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1" y="3083"/>
              <a:ext cx="66" cy="121"/>
            </a:xfrm>
            <a:custGeom>
              <a:avLst/>
              <a:gdLst>
                <a:gd name="T0" fmla="*/ 5 w 28"/>
                <a:gd name="T1" fmla="*/ 6 h 51"/>
                <a:gd name="T2" fmla="*/ 26 w 28"/>
                <a:gd name="T3" fmla="*/ 26 h 51"/>
                <a:gd name="T4" fmla="*/ 0 w 28"/>
                <a:gd name="T5" fmla="*/ 43 h 51"/>
                <a:gd name="T6" fmla="*/ 5 w 28"/>
                <a:gd name="T7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1">
                  <a:moveTo>
                    <a:pt x="5" y="6"/>
                  </a:moveTo>
                  <a:cubicBezTo>
                    <a:pt x="5" y="6"/>
                    <a:pt x="28" y="0"/>
                    <a:pt x="26" y="26"/>
                  </a:cubicBezTo>
                  <a:cubicBezTo>
                    <a:pt x="25" y="51"/>
                    <a:pt x="0" y="44"/>
                    <a:pt x="0" y="43"/>
                  </a:cubicBezTo>
                  <a:cubicBezTo>
                    <a:pt x="0" y="43"/>
                    <a:pt x="5" y="6"/>
                    <a:pt x="5" y="6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27">
              <a:extLst>
                <a:ext uri="{FF2B5EF4-FFF2-40B4-BE49-F238E27FC236}">
                  <a16:creationId xmlns:a16="http://schemas.microsoft.com/office/drawing/2014/main" id="{52523466-5E46-4D6C-A5A8-007F49AC6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" y="2846"/>
              <a:ext cx="387" cy="522"/>
            </a:xfrm>
            <a:custGeom>
              <a:avLst/>
              <a:gdLst>
                <a:gd name="T0" fmla="*/ 84 w 163"/>
                <a:gd name="T1" fmla="*/ 1 h 220"/>
                <a:gd name="T2" fmla="*/ 37 w 163"/>
                <a:gd name="T3" fmla="*/ 6 h 220"/>
                <a:gd name="T4" fmla="*/ 1 w 163"/>
                <a:gd name="T5" fmla="*/ 82 h 220"/>
                <a:gd name="T6" fmla="*/ 43 w 163"/>
                <a:gd name="T7" fmla="*/ 191 h 220"/>
                <a:gd name="T8" fmla="*/ 91 w 163"/>
                <a:gd name="T9" fmla="*/ 220 h 220"/>
                <a:gd name="T10" fmla="*/ 153 w 163"/>
                <a:gd name="T11" fmla="*/ 144 h 220"/>
                <a:gd name="T12" fmla="*/ 146 w 163"/>
                <a:gd name="T13" fmla="*/ 35 h 220"/>
                <a:gd name="T14" fmla="*/ 84 w 163"/>
                <a:gd name="T15" fmla="*/ 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220">
                  <a:moveTo>
                    <a:pt x="84" y="1"/>
                  </a:moveTo>
                  <a:cubicBezTo>
                    <a:pt x="84" y="1"/>
                    <a:pt x="50" y="0"/>
                    <a:pt x="37" y="6"/>
                  </a:cubicBezTo>
                  <a:cubicBezTo>
                    <a:pt x="17" y="17"/>
                    <a:pt x="1" y="46"/>
                    <a:pt x="1" y="82"/>
                  </a:cubicBezTo>
                  <a:cubicBezTo>
                    <a:pt x="0" y="118"/>
                    <a:pt x="17" y="167"/>
                    <a:pt x="43" y="191"/>
                  </a:cubicBezTo>
                  <a:cubicBezTo>
                    <a:pt x="70" y="215"/>
                    <a:pt x="91" y="220"/>
                    <a:pt x="91" y="220"/>
                  </a:cubicBezTo>
                  <a:cubicBezTo>
                    <a:pt x="91" y="220"/>
                    <a:pt x="147" y="189"/>
                    <a:pt x="153" y="144"/>
                  </a:cubicBezTo>
                  <a:cubicBezTo>
                    <a:pt x="159" y="100"/>
                    <a:pt x="163" y="57"/>
                    <a:pt x="146" y="35"/>
                  </a:cubicBezTo>
                  <a:cubicBezTo>
                    <a:pt x="128" y="13"/>
                    <a:pt x="97" y="2"/>
                    <a:pt x="84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28">
              <a:extLst>
                <a:ext uri="{FF2B5EF4-FFF2-40B4-BE49-F238E27FC236}">
                  <a16:creationId xmlns:a16="http://schemas.microsoft.com/office/drawing/2014/main" id="{2162D0BD-A9FA-4357-869B-17C7F90B4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2803"/>
              <a:ext cx="387" cy="340"/>
            </a:xfrm>
            <a:custGeom>
              <a:avLst/>
              <a:gdLst>
                <a:gd name="T0" fmla="*/ 4 w 163"/>
                <a:gd name="T1" fmla="*/ 123 h 143"/>
                <a:gd name="T2" fmla="*/ 8 w 163"/>
                <a:gd name="T3" fmla="*/ 55 h 143"/>
                <a:gd name="T4" fmla="*/ 57 w 163"/>
                <a:gd name="T5" fmla="*/ 12 h 143"/>
                <a:gd name="T6" fmla="*/ 79 w 163"/>
                <a:gd name="T7" fmla="*/ 12 h 143"/>
                <a:gd name="T8" fmla="*/ 97 w 163"/>
                <a:gd name="T9" fmla="*/ 6 h 143"/>
                <a:gd name="T10" fmla="*/ 128 w 163"/>
                <a:gd name="T11" fmla="*/ 4 h 143"/>
                <a:gd name="T12" fmla="*/ 148 w 163"/>
                <a:gd name="T13" fmla="*/ 28 h 143"/>
                <a:gd name="T14" fmla="*/ 148 w 163"/>
                <a:gd name="T15" fmla="*/ 41 h 143"/>
                <a:gd name="T16" fmla="*/ 157 w 163"/>
                <a:gd name="T17" fmla="*/ 52 h 143"/>
                <a:gd name="T18" fmla="*/ 162 w 163"/>
                <a:gd name="T19" fmla="*/ 72 h 143"/>
                <a:gd name="T20" fmla="*/ 156 w 163"/>
                <a:gd name="T21" fmla="*/ 93 h 143"/>
                <a:gd name="T22" fmla="*/ 137 w 163"/>
                <a:gd name="T2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3" h="143">
                  <a:moveTo>
                    <a:pt x="4" y="123"/>
                  </a:moveTo>
                  <a:cubicBezTo>
                    <a:pt x="2" y="100"/>
                    <a:pt x="0" y="77"/>
                    <a:pt x="8" y="55"/>
                  </a:cubicBezTo>
                  <a:cubicBezTo>
                    <a:pt x="15" y="33"/>
                    <a:pt x="34" y="13"/>
                    <a:pt x="57" y="12"/>
                  </a:cubicBezTo>
                  <a:cubicBezTo>
                    <a:pt x="64" y="12"/>
                    <a:pt x="71" y="14"/>
                    <a:pt x="79" y="12"/>
                  </a:cubicBezTo>
                  <a:cubicBezTo>
                    <a:pt x="85" y="11"/>
                    <a:pt x="91" y="8"/>
                    <a:pt x="97" y="6"/>
                  </a:cubicBezTo>
                  <a:cubicBezTo>
                    <a:pt x="107" y="2"/>
                    <a:pt x="118" y="0"/>
                    <a:pt x="128" y="4"/>
                  </a:cubicBezTo>
                  <a:cubicBezTo>
                    <a:pt x="139" y="7"/>
                    <a:pt x="147" y="17"/>
                    <a:pt x="148" y="28"/>
                  </a:cubicBezTo>
                  <a:cubicBezTo>
                    <a:pt x="148" y="32"/>
                    <a:pt x="147" y="37"/>
                    <a:pt x="148" y="41"/>
                  </a:cubicBezTo>
                  <a:cubicBezTo>
                    <a:pt x="150" y="45"/>
                    <a:pt x="154" y="48"/>
                    <a:pt x="157" y="52"/>
                  </a:cubicBezTo>
                  <a:cubicBezTo>
                    <a:pt x="161" y="57"/>
                    <a:pt x="163" y="65"/>
                    <a:pt x="162" y="72"/>
                  </a:cubicBezTo>
                  <a:cubicBezTo>
                    <a:pt x="161" y="79"/>
                    <a:pt x="159" y="86"/>
                    <a:pt x="156" y="93"/>
                  </a:cubicBezTo>
                  <a:cubicBezTo>
                    <a:pt x="150" y="110"/>
                    <a:pt x="143" y="127"/>
                    <a:pt x="137" y="14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29">
              <a:extLst>
                <a:ext uri="{FF2B5EF4-FFF2-40B4-BE49-F238E27FC236}">
                  <a16:creationId xmlns:a16="http://schemas.microsoft.com/office/drawing/2014/main" id="{7EB75F8F-A148-4196-88F1-9D88EF96E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7" y="3112"/>
              <a:ext cx="363" cy="358"/>
            </a:xfrm>
            <a:custGeom>
              <a:avLst/>
              <a:gdLst>
                <a:gd name="T0" fmla="*/ 10 w 153"/>
                <a:gd name="T1" fmla="*/ 6 h 151"/>
                <a:gd name="T2" fmla="*/ 52 w 153"/>
                <a:gd name="T3" fmla="*/ 7 h 151"/>
                <a:gd name="T4" fmla="*/ 75 w 153"/>
                <a:gd name="T5" fmla="*/ 42 h 151"/>
                <a:gd name="T6" fmla="*/ 87 w 153"/>
                <a:gd name="T7" fmla="*/ 71 h 151"/>
                <a:gd name="T8" fmla="*/ 105 w 153"/>
                <a:gd name="T9" fmla="*/ 84 h 151"/>
                <a:gd name="T10" fmla="*/ 112 w 153"/>
                <a:gd name="T11" fmla="*/ 117 h 151"/>
                <a:gd name="T12" fmla="*/ 153 w 153"/>
                <a:gd name="T13" fmla="*/ 132 h 151"/>
                <a:gd name="T14" fmla="*/ 72 w 153"/>
                <a:gd name="T15" fmla="*/ 146 h 151"/>
                <a:gd name="T16" fmla="*/ 48 w 153"/>
                <a:gd name="T17" fmla="*/ 137 h 151"/>
                <a:gd name="T18" fmla="*/ 31 w 153"/>
                <a:gd name="T19" fmla="*/ 112 h 151"/>
                <a:gd name="T20" fmla="*/ 9 w 153"/>
                <a:gd name="T21" fmla="*/ 62 h 151"/>
                <a:gd name="T22" fmla="*/ 0 w 153"/>
                <a:gd name="T23" fmla="*/ 28 h 151"/>
                <a:gd name="T24" fmla="*/ 19 w 153"/>
                <a:gd name="T2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51">
                  <a:moveTo>
                    <a:pt x="10" y="6"/>
                  </a:moveTo>
                  <a:cubicBezTo>
                    <a:pt x="23" y="0"/>
                    <a:pt x="39" y="0"/>
                    <a:pt x="52" y="7"/>
                  </a:cubicBezTo>
                  <a:cubicBezTo>
                    <a:pt x="65" y="14"/>
                    <a:pt x="74" y="27"/>
                    <a:pt x="75" y="42"/>
                  </a:cubicBezTo>
                  <a:cubicBezTo>
                    <a:pt x="77" y="57"/>
                    <a:pt x="77" y="59"/>
                    <a:pt x="87" y="71"/>
                  </a:cubicBezTo>
                  <a:cubicBezTo>
                    <a:pt x="93" y="78"/>
                    <a:pt x="98" y="78"/>
                    <a:pt x="105" y="84"/>
                  </a:cubicBezTo>
                  <a:cubicBezTo>
                    <a:pt x="115" y="92"/>
                    <a:pt x="117" y="106"/>
                    <a:pt x="112" y="117"/>
                  </a:cubicBezTo>
                  <a:cubicBezTo>
                    <a:pt x="130" y="116"/>
                    <a:pt x="147" y="114"/>
                    <a:pt x="153" y="132"/>
                  </a:cubicBezTo>
                  <a:cubicBezTo>
                    <a:pt x="126" y="126"/>
                    <a:pt x="99" y="151"/>
                    <a:pt x="72" y="146"/>
                  </a:cubicBezTo>
                  <a:cubicBezTo>
                    <a:pt x="63" y="144"/>
                    <a:pt x="54" y="142"/>
                    <a:pt x="48" y="137"/>
                  </a:cubicBezTo>
                  <a:cubicBezTo>
                    <a:pt x="40" y="131"/>
                    <a:pt x="35" y="121"/>
                    <a:pt x="31" y="112"/>
                  </a:cubicBezTo>
                  <a:cubicBezTo>
                    <a:pt x="24" y="95"/>
                    <a:pt x="17" y="79"/>
                    <a:pt x="9" y="62"/>
                  </a:cubicBezTo>
                  <a:cubicBezTo>
                    <a:pt x="5" y="51"/>
                    <a:pt x="0" y="40"/>
                    <a:pt x="0" y="28"/>
                  </a:cubicBezTo>
                  <a:cubicBezTo>
                    <a:pt x="0" y="16"/>
                    <a:pt x="7" y="3"/>
                    <a:pt x="19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0">
              <a:extLst>
                <a:ext uri="{FF2B5EF4-FFF2-40B4-BE49-F238E27FC236}">
                  <a16:creationId xmlns:a16="http://schemas.microsoft.com/office/drawing/2014/main" id="{ED56F370-C00C-428F-A97E-ACA6EB979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2" y="3043"/>
              <a:ext cx="188" cy="154"/>
            </a:xfrm>
            <a:custGeom>
              <a:avLst/>
              <a:gdLst>
                <a:gd name="T0" fmla="*/ 5 w 79"/>
                <a:gd name="T1" fmla="*/ 51 h 65"/>
                <a:gd name="T2" fmla="*/ 18 w 79"/>
                <a:gd name="T3" fmla="*/ 9 h 65"/>
                <a:gd name="T4" fmla="*/ 63 w 79"/>
                <a:gd name="T5" fmla="*/ 11 h 65"/>
                <a:gd name="T6" fmla="*/ 78 w 79"/>
                <a:gd name="T7" fmla="*/ 42 h 65"/>
                <a:gd name="T8" fmla="*/ 56 w 79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5">
                  <a:moveTo>
                    <a:pt x="5" y="51"/>
                  </a:moveTo>
                  <a:cubicBezTo>
                    <a:pt x="0" y="36"/>
                    <a:pt x="6" y="18"/>
                    <a:pt x="18" y="9"/>
                  </a:cubicBezTo>
                  <a:cubicBezTo>
                    <a:pt x="31" y="0"/>
                    <a:pt x="50" y="1"/>
                    <a:pt x="63" y="11"/>
                  </a:cubicBezTo>
                  <a:cubicBezTo>
                    <a:pt x="72" y="18"/>
                    <a:pt x="79" y="31"/>
                    <a:pt x="78" y="42"/>
                  </a:cubicBezTo>
                  <a:cubicBezTo>
                    <a:pt x="77" y="54"/>
                    <a:pt x="67" y="64"/>
                    <a:pt x="56" y="6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31">
              <a:extLst>
                <a:ext uri="{FF2B5EF4-FFF2-40B4-BE49-F238E27FC236}">
                  <a16:creationId xmlns:a16="http://schemas.microsoft.com/office/drawing/2014/main" id="{FCD1356E-B1CA-4B45-8BF7-99FCF7798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" y="3076"/>
              <a:ext cx="344" cy="786"/>
            </a:xfrm>
            <a:custGeom>
              <a:avLst/>
              <a:gdLst>
                <a:gd name="T0" fmla="*/ 67 w 145"/>
                <a:gd name="T1" fmla="*/ 13 h 331"/>
                <a:gd name="T2" fmla="*/ 14 w 145"/>
                <a:gd name="T3" fmla="*/ 16 h 331"/>
                <a:gd name="T4" fmla="*/ 4 w 145"/>
                <a:gd name="T5" fmla="*/ 73 h 331"/>
                <a:gd name="T6" fmla="*/ 16 w 145"/>
                <a:gd name="T7" fmla="*/ 130 h 331"/>
                <a:gd name="T8" fmla="*/ 10 w 145"/>
                <a:gd name="T9" fmla="*/ 165 h 331"/>
                <a:gd name="T10" fmla="*/ 30 w 145"/>
                <a:gd name="T11" fmla="*/ 185 h 331"/>
                <a:gd name="T12" fmla="*/ 29 w 145"/>
                <a:gd name="T13" fmla="*/ 226 h 331"/>
                <a:gd name="T14" fmla="*/ 20 w 145"/>
                <a:gd name="T15" fmla="*/ 267 h 331"/>
                <a:gd name="T16" fmla="*/ 39 w 145"/>
                <a:gd name="T17" fmla="*/ 294 h 331"/>
                <a:gd name="T18" fmla="*/ 47 w 145"/>
                <a:gd name="T19" fmla="*/ 324 h 331"/>
                <a:gd name="T20" fmla="*/ 79 w 145"/>
                <a:gd name="T21" fmla="*/ 325 h 331"/>
                <a:gd name="T22" fmla="*/ 92 w 145"/>
                <a:gd name="T23" fmla="*/ 295 h 331"/>
                <a:gd name="T24" fmla="*/ 101 w 145"/>
                <a:gd name="T25" fmla="*/ 317 h 331"/>
                <a:gd name="T26" fmla="*/ 138 w 145"/>
                <a:gd name="T27" fmla="*/ 292 h 331"/>
                <a:gd name="T28" fmla="*/ 136 w 145"/>
                <a:gd name="T29" fmla="*/ 247 h 331"/>
                <a:gd name="T30" fmla="*/ 117 w 145"/>
                <a:gd name="T31" fmla="*/ 219 h 331"/>
                <a:gd name="T32" fmla="*/ 123 w 145"/>
                <a:gd name="T33" fmla="*/ 179 h 331"/>
                <a:gd name="T34" fmla="*/ 103 w 145"/>
                <a:gd name="T35" fmla="*/ 150 h 331"/>
                <a:gd name="T36" fmla="*/ 76 w 145"/>
                <a:gd name="T37" fmla="*/ 126 h 331"/>
                <a:gd name="T38" fmla="*/ 74 w 145"/>
                <a:gd name="T39" fmla="*/ 69 h 331"/>
                <a:gd name="T40" fmla="*/ 67 w 145"/>
                <a:gd name="T41" fmla="*/ 1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331">
                  <a:moveTo>
                    <a:pt x="67" y="13"/>
                  </a:moveTo>
                  <a:cubicBezTo>
                    <a:pt x="51" y="0"/>
                    <a:pt x="27" y="3"/>
                    <a:pt x="14" y="16"/>
                  </a:cubicBezTo>
                  <a:cubicBezTo>
                    <a:pt x="1" y="28"/>
                    <a:pt x="0" y="55"/>
                    <a:pt x="4" y="73"/>
                  </a:cubicBezTo>
                  <a:cubicBezTo>
                    <a:pt x="8" y="92"/>
                    <a:pt x="20" y="111"/>
                    <a:pt x="16" y="130"/>
                  </a:cubicBezTo>
                  <a:cubicBezTo>
                    <a:pt x="13" y="142"/>
                    <a:pt x="5" y="154"/>
                    <a:pt x="10" y="165"/>
                  </a:cubicBezTo>
                  <a:cubicBezTo>
                    <a:pt x="14" y="174"/>
                    <a:pt x="24" y="177"/>
                    <a:pt x="30" y="185"/>
                  </a:cubicBezTo>
                  <a:cubicBezTo>
                    <a:pt x="38" y="197"/>
                    <a:pt x="34" y="213"/>
                    <a:pt x="29" y="226"/>
                  </a:cubicBezTo>
                  <a:cubicBezTo>
                    <a:pt x="23" y="239"/>
                    <a:pt x="16" y="253"/>
                    <a:pt x="20" y="267"/>
                  </a:cubicBezTo>
                  <a:cubicBezTo>
                    <a:pt x="23" y="277"/>
                    <a:pt x="32" y="285"/>
                    <a:pt x="39" y="294"/>
                  </a:cubicBezTo>
                  <a:cubicBezTo>
                    <a:pt x="46" y="302"/>
                    <a:pt x="52" y="314"/>
                    <a:pt x="47" y="324"/>
                  </a:cubicBezTo>
                  <a:cubicBezTo>
                    <a:pt x="56" y="331"/>
                    <a:pt x="70" y="331"/>
                    <a:pt x="79" y="325"/>
                  </a:cubicBezTo>
                  <a:cubicBezTo>
                    <a:pt x="89" y="319"/>
                    <a:pt x="94" y="307"/>
                    <a:pt x="92" y="295"/>
                  </a:cubicBezTo>
                  <a:cubicBezTo>
                    <a:pt x="97" y="301"/>
                    <a:pt x="101" y="309"/>
                    <a:pt x="101" y="317"/>
                  </a:cubicBezTo>
                  <a:cubicBezTo>
                    <a:pt x="117" y="316"/>
                    <a:pt x="131" y="306"/>
                    <a:pt x="138" y="292"/>
                  </a:cubicBezTo>
                  <a:cubicBezTo>
                    <a:pt x="145" y="278"/>
                    <a:pt x="144" y="261"/>
                    <a:pt x="136" y="247"/>
                  </a:cubicBezTo>
                  <a:cubicBezTo>
                    <a:pt x="129" y="238"/>
                    <a:pt x="120" y="230"/>
                    <a:pt x="117" y="219"/>
                  </a:cubicBezTo>
                  <a:cubicBezTo>
                    <a:pt x="115" y="206"/>
                    <a:pt x="125" y="193"/>
                    <a:pt x="123" y="179"/>
                  </a:cubicBezTo>
                  <a:cubicBezTo>
                    <a:pt x="122" y="167"/>
                    <a:pt x="113" y="158"/>
                    <a:pt x="103" y="150"/>
                  </a:cubicBezTo>
                  <a:cubicBezTo>
                    <a:pt x="93" y="143"/>
                    <a:pt x="82" y="137"/>
                    <a:pt x="76" y="126"/>
                  </a:cubicBezTo>
                  <a:cubicBezTo>
                    <a:pt x="66" y="109"/>
                    <a:pt x="71" y="88"/>
                    <a:pt x="74" y="69"/>
                  </a:cubicBezTo>
                  <a:cubicBezTo>
                    <a:pt x="78" y="50"/>
                    <a:pt x="80" y="27"/>
                    <a:pt x="67" y="13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32">
              <a:extLst>
                <a:ext uri="{FF2B5EF4-FFF2-40B4-BE49-F238E27FC236}">
                  <a16:creationId xmlns:a16="http://schemas.microsoft.com/office/drawing/2014/main" id="{C991EFF6-0076-4864-98FA-EBCD61A27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6" y="3136"/>
              <a:ext cx="249" cy="586"/>
            </a:xfrm>
            <a:custGeom>
              <a:avLst/>
              <a:gdLst>
                <a:gd name="T0" fmla="*/ 55 w 105"/>
                <a:gd name="T1" fmla="*/ 0 h 247"/>
                <a:gd name="T2" fmla="*/ 43 w 105"/>
                <a:gd name="T3" fmla="*/ 45 h 247"/>
                <a:gd name="T4" fmla="*/ 37 w 105"/>
                <a:gd name="T5" fmla="*/ 93 h 247"/>
                <a:gd name="T6" fmla="*/ 15 w 105"/>
                <a:gd name="T7" fmla="*/ 117 h 247"/>
                <a:gd name="T8" fmla="*/ 22 w 105"/>
                <a:gd name="T9" fmla="*/ 156 h 247"/>
                <a:gd name="T10" fmla="*/ 14 w 105"/>
                <a:gd name="T11" fmla="*/ 184 h 247"/>
                <a:gd name="T12" fmla="*/ 2 w 105"/>
                <a:gd name="T13" fmla="*/ 211 h 247"/>
                <a:gd name="T14" fmla="*/ 9 w 105"/>
                <a:gd name="T15" fmla="*/ 238 h 247"/>
                <a:gd name="T16" fmla="*/ 26 w 105"/>
                <a:gd name="T17" fmla="*/ 244 h 247"/>
                <a:gd name="T18" fmla="*/ 92 w 105"/>
                <a:gd name="T19" fmla="*/ 244 h 247"/>
                <a:gd name="T20" fmla="*/ 105 w 105"/>
                <a:gd name="T21" fmla="*/ 162 h 247"/>
                <a:gd name="T22" fmla="*/ 78 w 105"/>
                <a:gd name="T23" fmla="*/ 1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247">
                  <a:moveTo>
                    <a:pt x="55" y="0"/>
                  </a:moveTo>
                  <a:cubicBezTo>
                    <a:pt x="42" y="9"/>
                    <a:pt x="41" y="29"/>
                    <a:pt x="43" y="45"/>
                  </a:cubicBezTo>
                  <a:cubicBezTo>
                    <a:pt x="44" y="61"/>
                    <a:pt x="47" y="80"/>
                    <a:pt x="37" y="93"/>
                  </a:cubicBezTo>
                  <a:cubicBezTo>
                    <a:pt x="30" y="102"/>
                    <a:pt x="18" y="107"/>
                    <a:pt x="15" y="117"/>
                  </a:cubicBezTo>
                  <a:cubicBezTo>
                    <a:pt x="11" y="130"/>
                    <a:pt x="21" y="143"/>
                    <a:pt x="22" y="156"/>
                  </a:cubicBezTo>
                  <a:cubicBezTo>
                    <a:pt x="23" y="166"/>
                    <a:pt x="19" y="176"/>
                    <a:pt x="14" y="184"/>
                  </a:cubicBezTo>
                  <a:cubicBezTo>
                    <a:pt x="10" y="193"/>
                    <a:pt x="4" y="201"/>
                    <a:pt x="2" y="211"/>
                  </a:cubicBezTo>
                  <a:cubicBezTo>
                    <a:pt x="0" y="220"/>
                    <a:pt x="1" y="231"/>
                    <a:pt x="9" y="238"/>
                  </a:cubicBezTo>
                  <a:cubicBezTo>
                    <a:pt x="14" y="242"/>
                    <a:pt x="20" y="243"/>
                    <a:pt x="26" y="244"/>
                  </a:cubicBezTo>
                  <a:cubicBezTo>
                    <a:pt x="48" y="247"/>
                    <a:pt x="70" y="247"/>
                    <a:pt x="92" y="244"/>
                  </a:cubicBezTo>
                  <a:cubicBezTo>
                    <a:pt x="99" y="217"/>
                    <a:pt x="105" y="190"/>
                    <a:pt x="105" y="162"/>
                  </a:cubicBezTo>
                  <a:cubicBezTo>
                    <a:pt x="105" y="107"/>
                    <a:pt x="79" y="55"/>
                    <a:pt x="78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33">
              <a:extLst>
                <a:ext uri="{FF2B5EF4-FFF2-40B4-BE49-F238E27FC236}">
                  <a16:creationId xmlns:a16="http://schemas.microsoft.com/office/drawing/2014/main" id="{B0B6896E-3B59-44D8-9068-30F1B7EFA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" y="3100"/>
              <a:ext cx="104" cy="700"/>
            </a:xfrm>
            <a:custGeom>
              <a:avLst/>
              <a:gdLst>
                <a:gd name="T0" fmla="*/ 44 w 44"/>
                <a:gd name="T1" fmla="*/ 295 h 295"/>
                <a:gd name="T2" fmla="*/ 41 w 44"/>
                <a:gd name="T3" fmla="*/ 293 h 295"/>
                <a:gd name="T4" fmla="*/ 35 w 44"/>
                <a:gd name="T5" fmla="*/ 286 h 295"/>
                <a:gd name="T6" fmla="*/ 14 w 44"/>
                <a:gd name="T7" fmla="*/ 258 h 295"/>
                <a:gd name="T8" fmla="*/ 3 w 44"/>
                <a:gd name="T9" fmla="*/ 236 h 295"/>
                <a:gd name="T10" fmla="*/ 4 w 44"/>
                <a:gd name="T11" fmla="*/ 208 h 295"/>
                <a:gd name="T12" fmla="*/ 18 w 44"/>
                <a:gd name="T13" fmla="*/ 180 h 295"/>
                <a:gd name="T14" fmla="*/ 26 w 44"/>
                <a:gd name="T15" fmla="*/ 150 h 295"/>
                <a:gd name="T16" fmla="*/ 15 w 44"/>
                <a:gd name="T17" fmla="*/ 119 h 295"/>
                <a:gd name="T18" fmla="*/ 13 w 44"/>
                <a:gd name="T19" fmla="*/ 111 h 295"/>
                <a:gd name="T20" fmla="*/ 15 w 44"/>
                <a:gd name="T21" fmla="*/ 103 h 295"/>
                <a:gd name="T22" fmla="*/ 23 w 44"/>
                <a:gd name="T23" fmla="*/ 90 h 295"/>
                <a:gd name="T24" fmla="*/ 32 w 44"/>
                <a:gd name="T25" fmla="*/ 79 h 295"/>
                <a:gd name="T26" fmla="*/ 35 w 44"/>
                <a:gd name="T27" fmla="*/ 67 h 295"/>
                <a:gd name="T28" fmla="*/ 31 w 44"/>
                <a:gd name="T29" fmla="*/ 43 h 295"/>
                <a:gd name="T30" fmla="*/ 27 w 44"/>
                <a:gd name="T31" fmla="*/ 24 h 295"/>
                <a:gd name="T32" fmla="*/ 30 w 44"/>
                <a:gd name="T33" fmla="*/ 9 h 295"/>
                <a:gd name="T34" fmla="*/ 36 w 44"/>
                <a:gd name="T35" fmla="*/ 1 h 295"/>
                <a:gd name="T36" fmla="*/ 39 w 44"/>
                <a:gd name="T37" fmla="*/ 0 h 295"/>
                <a:gd name="T38" fmla="*/ 31 w 44"/>
                <a:gd name="T39" fmla="*/ 9 h 295"/>
                <a:gd name="T40" fmla="*/ 28 w 44"/>
                <a:gd name="T41" fmla="*/ 24 h 295"/>
                <a:gd name="T42" fmla="*/ 33 w 44"/>
                <a:gd name="T43" fmla="*/ 43 h 295"/>
                <a:gd name="T44" fmla="*/ 38 w 44"/>
                <a:gd name="T45" fmla="*/ 67 h 295"/>
                <a:gd name="T46" fmla="*/ 34 w 44"/>
                <a:gd name="T47" fmla="*/ 80 h 295"/>
                <a:gd name="T48" fmla="*/ 25 w 44"/>
                <a:gd name="T49" fmla="*/ 92 h 295"/>
                <a:gd name="T50" fmla="*/ 17 w 44"/>
                <a:gd name="T51" fmla="*/ 104 h 295"/>
                <a:gd name="T52" fmla="*/ 16 w 44"/>
                <a:gd name="T53" fmla="*/ 111 h 295"/>
                <a:gd name="T54" fmla="*/ 17 w 44"/>
                <a:gd name="T55" fmla="*/ 118 h 295"/>
                <a:gd name="T56" fmla="*/ 29 w 44"/>
                <a:gd name="T57" fmla="*/ 149 h 295"/>
                <a:gd name="T58" fmla="*/ 27 w 44"/>
                <a:gd name="T59" fmla="*/ 166 h 295"/>
                <a:gd name="T60" fmla="*/ 20 w 44"/>
                <a:gd name="T61" fmla="*/ 181 h 295"/>
                <a:gd name="T62" fmla="*/ 6 w 44"/>
                <a:gd name="T63" fmla="*/ 208 h 295"/>
                <a:gd name="T64" fmla="*/ 5 w 44"/>
                <a:gd name="T65" fmla="*/ 235 h 295"/>
                <a:gd name="T66" fmla="*/ 15 w 44"/>
                <a:gd name="T67" fmla="*/ 257 h 295"/>
                <a:gd name="T68" fmla="*/ 36 w 44"/>
                <a:gd name="T69" fmla="*/ 285 h 295"/>
                <a:gd name="T70" fmla="*/ 42 w 44"/>
                <a:gd name="T71" fmla="*/ 293 h 295"/>
                <a:gd name="T72" fmla="*/ 44 w 44"/>
                <a:gd name="T73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" h="295">
                  <a:moveTo>
                    <a:pt x="44" y="295"/>
                  </a:moveTo>
                  <a:cubicBezTo>
                    <a:pt x="43" y="295"/>
                    <a:pt x="43" y="295"/>
                    <a:pt x="41" y="293"/>
                  </a:cubicBezTo>
                  <a:cubicBezTo>
                    <a:pt x="40" y="291"/>
                    <a:pt x="38" y="289"/>
                    <a:pt x="35" y="286"/>
                  </a:cubicBezTo>
                  <a:cubicBezTo>
                    <a:pt x="30" y="279"/>
                    <a:pt x="22" y="270"/>
                    <a:pt x="14" y="258"/>
                  </a:cubicBezTo>
                  <a:cubicBezTo>
                    <a:pt x="10" y="251"/>
                    <a:pt x="6" y="244"/>
                    <a:pt x="3" y="236"/>
                  </a:cubicBezTo>
                  <a:cubicBezTo>
                    <a:pt x="1" y="227"/>
                    <a:pt x="0" y="217"/>
                    <a:pt x="4" y="208"/>
                  </a:cubicBezTo>
                  <a:cubicBezTo>
                    <a:pt x="7" y="198"/>
                    <a:pt x="13" y="189"/>
                    <a:pt x="18" y="180"/>
                  </a:cubicBezTo>
                  <a:cubicBezTo>
                    <a:pt x="23" y="171"/>
                    <a:pt x="28" y="161"/>
                    <a:pt x="26" y="150"/>
                  </a:cubicBezTo>
                  <a:cubicBezTo>
                    <a:pt x="25" y="139"/>
                    <a:pt x="18" y="130"/>
                    <a:pt x="15" y="119"/>
                  </a:cubicBezTo>
                  <a:cubicBezTo>
                    <a:pt x="14" y="116"/>
                    <a:pt x="13" y="114"/>
                    <a:pt x="13" y="111"/>
                  </a:cubicBezTo>
                  <a:cubicBezTo>
                    <a:pt x="13" y="108"/>
                    <a:pt x="14" y="105"/>
                    <a:pt x="15" y="103"/>
                  </a:cubicBezTo>
                  <a:cubicBezTo>
                    <a:pt x="16" y="98"/>
                    <a:pt x="20" y="94"/>
                    <a:pt x="23" y="90"/>
                  </a:cubicBezTo>
                  <a:cubicBezTo>
                    <a:pt x="26" y="86"/>
                    <a:pt x="30" y="83"/>
                    <a:pt x="32" y="79"/>
                  </a:cubicBezTo>
                  <a:cubicBezTo>
                    <a:pt x="34" y="75"/>
                    <a:pt x="35" y="71"/>
                    <a:pt x="35" y="67"/>
                  </a:cubicBezTo>
                  <a:cubicBezTo>
                    <a:pt x="36" y="58"/>
                    <a:pt x="33" y="50"/>
                    <a:pt x="31" y="43"/>
                  </a:cubicBezTo>
                  <a:cubicBezTo>
                    <a:pt x="29" y="36"/>
                    <a:pt x="27" y="30"/>
                    <a:pt x="27" y="24"/>
                  </a:cubicBezTo>
                  <a:cubicBezTo>
                    <a:pt x="27" y="18"/>
                    <a:pt x="28" y="13"/>
                    <a:pt x="30" y="9"/>
                  </a:cubicBezTo>
                  <a:cubicBezTo>
                    <a:pt x="32" y="5"/>
                    <a:pt x="34" y="3"/>
                    <a:pt x="36" y="1"/>
                  </a:cubicBezTo>
                  <a:cubicBezTo>
                    <a:pt x="38" y="0"/>
                    <a:pt x="39" y="0"/>
                    <a:pt x="39" y="0"/>
                  </a:cubicBezTo>
                  <a:cubicBezTo>
                    <a:pt x="39" y="0"/>
                    <a:pt x="34" y="2"/>
                    <a:pt x="31" y="9"/>
                  </a:cubicBezTo>
                  <a:cubicBezTo>
                    <a:pt x="29" y="13"/>
                    <a:pt x="28" y="18"/>
                    <a:pt x="28" y="24"/>
                  </a:cubicBezTo>
                  <a:cubicBezTo>
                    <a:pt x="29" y="29"/>
                    <a:pt x="31" y="36"/>
                    <a:pt x="33" y="43"/>
                  </a:cubicBezTo>
                  <a:cubicBezTo>
                    <a:pt x="35" y="50"/>
                    <a:pt x="38" y="58"/>
                    <a:pt x="38" y="67"/>
                  </a:cubicBezTo>
                  <a:cubicBezTo>
                    <a:pt x="37" y="71"/>
                    <a:pt x="36" y="76"/>
                    <a:pt x="34" y="80"/>
                  </a:cubicBezTo>
                  <a:cubicBezTo>
                    <a:pt x="31" y="84"/>
                    <a:pt x="28" y="88"/>
                    <a:pt x="25" y="92"/>
                  </a:cubicBezTo>
                  <a:cubicBezTo>
                    <a:pt x="22" y="95"/>
                    <a:pt x="18" y="99"/>
                    <a:pt x="17" y="104"/>
                  </a:cubicBezTo>
                  <a:cubicBezTo>
                    <a:pt x="16" y="106"/>
                    <a:pt x="16" y="108"/>
                    <a:pt x="16" y="111"/>
                  </a:cubicBezTo>
                  <a:cubicBezTo>
                    <a:pt x="16" y="113"/>
                    <a:pt x="16" y="116"/>
                    <a:pt x="17" y="118"/>
                  </a:cubicBezTo>
                  <a:cubicBezTo>
                    <a:pt x="20" y="128"/>
                    <a:pt x="28" y="137"/>
                    <a:pt x="29" y="149"/>
                  </a:cubicBezTo>
                  <a:cubicBezTo>
                    <a:pt x="29" y="155"/>
                    <a:pt x="29" y="161"/>
                    <a:pt x="27" y="166"/>
                  </a:cubicBezTo>
                  <a:cubicBezTo>
                    <a:pt x="25" y="172"/>
                    <a:pt x="22" y="177"/>
                    <a:pt x="20" y="181"/>
                  </a:cubicBezTo>
                  <a:cubicBezTo>
                    <a:pt x="15" y="191"/>
                    <a:pt x="9" y="199"/>
                    <a:pt x="6" y="208"/>
                  </a:cubicBezTo>
                  <a:cubicBezTo>
                    <a:pt x="3" y="217"/>
                    <a:pt x="3" y="227"/>
                    <a:pt x="5" y="235"/>
                  </a:cubicBezTo>
                  <a:cubicBezTo>
                    <a:pt x="8" y="243"/>
                    <a:pt x="11" y="251"/>
                    <a:pt x="15" y="257"/>
                  </a:cubicBezTo>
                  <a:cubicBezTo>
                    <a:pt x="23" y="269"/>
                    <a:pt x="31" y="278"/>
                    <a:pt x="36" y="285"/>
                  </a:cubicBezTo>
                  <a:cubicBezTo>
                    <a:pt x="39" y="288"/>
                    <a:pt x="40" y="291"/>
                    <a:pt x="42" y="293"/>
                  </a:cubicBezTo>
                  <a:cubicBezTo>
                    <a:pt x="43" y="294"/>
                    <a:pt x="44" y="295"/>
                    <a:pt x="44" y="29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34">
              <a:extLst>
                <a:ext uri="{FF2B5EF4-FFF2-40B4-BE49-F238E27FC236}">
                  <a16:creationId xmlns:a16="http://schemas.microsoft.com/office/drawing/2014/main" id="{13A2CEBB-F13B-4916-B4D8-9A69AFD6E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" y="3088"/>
              <a:ext cx="111" cy="261"/>
            </a:xfrm>
            <a:custGeom>
              <a:avLst/>
              <a:gdLst>
                <a:gd name="T0" fmla="*/ 1 w 47"/>
                <a:gd name="T1" fmla="*/ 110 h 110"/>
                <a:gd name="T2" fmla="*/ 6 w 47"/>
                <a:gd name="T3" fmla="*/ 92 h 110"/>
                <a:gd name="T4" fmla="*/ 7 w 47"/>
                <a:gd name="T5" fmla="*/ 71 h 110"/>
                <a:gd name="T6" fmla="*/ 7 w 47"/>
                <a:gd name="T7" fmla="*/ 45 h 110"/>
                <a:gd name="T8" fmla="*/ 13 w 47"/>
                <a:gd name="T9" fmla="*/ 19 h 110"/>
                <a:gd name="T10" fmla="*/ 28 w 47"/>
                <a:gd name="T11" fmla="*/ 4 h 110"/>
                <a:gd name="T12" fmla="*/ 42 w 47"/>
                <a:gd name="T13" fmla="*/ 1 h 110"/>
                <a:gd name="T14" fmla="*/ 46 w 47"/>
                <a:gd name="T15" fmla="*/ 1 h 110"/>
                <a:gd name="T16" fmla="*/ 47 w 47"/>
                <a:gd name="T17" fmla="*/ 2 h 110"/>
                <a:gd name="T18" fmla="*/ 42 w 47"/>
                <a:gd name="T19" fmla="*/ 2 h 110"/>
                <a:gd name="T20" fmla="*/ 29 w 47"/>
                <a:gd name="T21" fmla="*/ 6 h 110"/>
                <a:gd name="T22" fmla="*/ 15 w 47"/>
                <a:gd name="T23" fmla="*/ 21 h 110"/>
                <a:gd name="T24" fmla="*/ 9 w 47"/>
                <a:gd name="T25" fmla="*/ 45 h 110"/>
                <a:gd name="T26" fmla="*/ 9 w 47"/>
                <a:gd name="T27" fmla="*/ 71 h 110"/>
                <a:gd name="T28" fmla="*/ 8 w 47"/>
                <a:gd name="T29" fmla="*/ 92 h 110"/>
                <a:gd name="T30" fmla="*/ 4 w 47"/>
                <a:gd name="T31" fmla="*/ 106 h 110"/>
                <a:gd name="T32" fmla="*/ 1 w 47"/>
                <a:gd name="T3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110">
                  <a:moveTo>
                    <a:pt x="1" y="110"/>
                  </a:moveTo>
                  <a:cubicBezTo>
                    <a:pt x="0" y="110"/>
                    <a:pt x="4" y="103"/>
                    <a:pt x="6" y="92"/>
                  </a:cubicBezTo>
                  <a:cubicBezTo>
                    <a:pt x="7" y="86"/>
                    <a:pt x="7" y="79"/>
                    <a:pt x="7" y="71"/>
                  </a:cubicBezTo>
                  <a:cubicBezTo>
                    <a:pt x="7" y="63"/>
                    <a:pt x="6" y="54"/>
                    <a:pt x="7" y="45"/>
                  </a:cubicBezTo>
                  <a:cubicBezTo>
                    <a:pt x="7" y="36"/>
                    <a:pt x="9" y="27"/>
                    <a:pt x="13" y="19"/>
                  </a:cubicBezTo>
                  <a:cubicBezTo>
                    <a:pt x="17" y="12"/>
                    <a:pt x="23" y="7"/>
                    <a:pt x="28" y="4"/>
                  </a:cubicBezTo>
                  <a:cubicBezTo>
                    <a:pt x="33" y="1"/>
                    <a:pt x="39" y="0"/>
                    <a:pt x="42" y="1"/>
                  </a:cubicBezTo>
                  <a:cubicBezTo>
                    <a:pt x="44" y="1"/>
                    <a:pt x="45" y="1"/>
                    <a:pt x="46" y="1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5" y="2"/>
                    <a:pt x="42" y="2"/>
                  </a:cubicBezTo>
                  <a:cubicBezTo>
                    <a:pt x="39" y="2"/>
                    <a:pt x="34" y="3"/>
                    <a:pt x="29" y="6"/>
                  </a:cubicBezTo>
                  <a:cubicBezTo>
                    <a:pt x="24" y="9"/>
                    <a:pt x="19" y="14"/>
                    <a:pt x="15" y="21"/>
                  </a:cubicBezTo>
                  <a:cubicBezTo>
                    <a:pt x="11" y="27"/>
                    <a:pt x="10" y="36"/>
                    <a:pt x="9" y="45"/>
                  </a:cubicBezTo>
                  <a:cubicBezTo>
                    <a:pt x="9" y="54"/>
                    <a:pt x="9" y="63"/>
                    <a:pt x="9" y="71"/>
                  </a:cubicBezTo>
                  <a:cubicBezTo>
                    <a:pt x="9" y="79"/>
                    <a:pt x="9" y="86"/>
                    <a:pt x="8" y="92"/>
                  </a:cubicBezTo>
                  <a:cubicBezTo>
                    <a:pt x="7" y="98"/>
                    <a:pt x="5" y="103"/>
                    <a:pt x="4" y="106"/>
                  </a:cubicBezTo>
                  <a:cubicBezTo>
                    <a:pt x="2" y="109"/>
                    <a:pt x="1" y="110"/>
                    <a:pt x="1" y="11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35">
              <a:extLst>
                <a:ext uri="{FF2B5EF4-FFF2-40B4-BE49-F238E27FC236}">
                  <a16:creationId xmlns:a16="http://schemas.microsoft.com/office/drawing/2014/main" id="{BFFC12B5-5F08-4A48-914A-6CACEB5F1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6" y="3107"/>
              <a:ext cx="212" cy="662"/>
            </a:xfrm>
            <a:custGeom>
              <a:avLst/>
              <a:gdLst>
                <a:gd name="T0" fmla="*/ 88 w 89"/>
                <a:gd name="T1" fmla="*/ 279 h 279"/>
                <a:gd name="T2" fmla="*/ 88 w 89"/>
                <a:gd name="T3" fmla="*/ 276 h 279"/>
                <a:gd name="T4" fmla="*/ 88 w 89"/>
                <a:gd name="T5" fmla="*/ 267 h 279"/>
                <a:gd name="T6" fmla="*/ 80 w 89"/>
                <a:gd name="T7" fmla="*/ 235 h 279"/>
                <a:gd name="T8" fmla="*/ 70 w 89"/>
                <a:gd name="T9" fmla="*/ 214 h 279"/>
                <a:gd name="T10" fmla="*/ 66 w 89"/>
                <a:gd name="T11" fmla="*/ 202 h 279"/>
                <a:gd name="T12" fmla="*/ 66 w 89"/>
                <a:gd name="T13" fmla="*/ 188 h 279"/>
                <a:gd name="T14" fmla="*/ 69 w 89"/>
                <a:gd name="T15" fmla="*/ 173 h 279"/>
                <a:gd name="T16" fmla="*/ 68 w 89"/>
                <a:gd name="T17" fmla="*/ 159 h 279"/>
                <a:gd name="T18" fmla="*/ 54 w 89"/>
                <a:gd name="T19" fmla="*/ 132 h 279"/>
                <a:gd name="T20" fmla="*/ 28 w 89"/>
                <a:gd name="T21" fmla="*/ 114 h 279"/>
                <a:gd name="T22" fmla="*/ 15 w 89"/>
                <a:gd name="T23" fmla="*/ 88 h 279"/>
                <a:gd name="T24" fmla="*/ 14 w 89"/>
                <a:gd name="T25" fmla="*/ 61 h 279"/>
                <a:gd name="T26" fmla="*/ 16 w 89"/>
                <a:gd name="T27" fmla="*/ 38 h 279"/>
                <a:gd name="T28" fmla="*/ 16 w 89"/>
                <a:gd name="T29" fmla="*/ 19 h 279"/>
                <a:gd name="T30" fmla="*/ 11 w 89"/>
                <a:gd name="T31" fmla="*/ 7 h 279"/>
                <a:gd name="T32" fmla="*/ 1 w 89"/>
                <a:gd name="T33" fmla="*/ 0 h 279"/>
                <a:gd name="T34" fmla="*/ 4 w 89"/>
                <a:gd name="T35" fmla="*/ 1 h 279"/>
                <a:gd name="T36" fmla="*/ 11 w 89"/>
                <a:gd name="T37" fmla="*/ 6 h 279"/>
                <a:gd name="T38" fmla="*/ 17 w 89"/>
                <a:gd name="T39" fmla="*/ 19 h 279"/>
                <a:gd name="T40" fmla="*/ 18 w 89"/>
                <a:gd name="T41" fmla="*/ 38 h 279"/>
                <a:gd name="T42" fmla="*/ 16 w 89"/>
                <a:gd name="T43" fmla="*/ 61 h 279"/>
                <a:gd name="T44" fmla="*/ 17 w 89"/>
                <a:gd name="T45" fmla="*/ 88 h 279"/>
                <a:gd name="T46" fmla="*/ 30 w 89"/>
                <a:gd name="T47" fmla="*/ 113 h 279"/>
                <a:gd name="T48" fmla="*/ 56 w 89"/>
                <a:gd name="T49" fmla="*/ 130 h 279"/>
                <a:gd name="T50" fmla="*/ 71 w 89"/>
                <a:gd name="T51" fmla="*/ 158 h 279"/>
                <a:gd name="T52" fmla="*/ 71 w 89"/>
                <a:gd name="T53" fmla="*/ 174 h 279"/>
                <a:gd name="T54" fmla="*/ 69 w 89"/>
                <a:gd name="T55" fmla="*/ 188 h 279"/>
                <a:gd name="T56" fmla="*/ 68 w 89"/>
                <a:gd name="T57" fmla="*/ 201 h 279"/>
                <a:gd name="T58" fmla="*/ 72 w 89"/>
                <a:gd name="T59" fmla="*/ 213 h 279"/>
                <a:gd name="T60" fmla="*/ 82 w 89"/>
                <a:gd name="T61" fmla="*/ 234 h 279"/>
                <a:gd name="T62" fmla="*/ 89 w 89"/>
                <a:gd name="T63" fmla="*/ 267 h 279"/>
                <a:gd name="T64" fmla="*/ 89 w 89"/>
                <a:gd name="T65" fmla="*/ 276 h 279"/>
                <a:gd name="T66" fmla="*/ 88 w 89"/>
                <a:gd name="T67" fmla="*/ 278 h 279"/>
                <a:gd name="T68" fmla="*/ 88 w 89"/>
                <a:gd name="T69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" h="279">
                  <a:moveTo>
                    <a:pt x="88" y="279"/>
                  </a:moveTo>
                  <a:cubicBezTo>
                    <a:pt x="88" y="279"/>
                    <a:pt x="88" y="278"/>
                    <a:pt x="88" y="276"/>
                  </a:cubicBezTo>
                  <a:cubicBezTo>
                    <a:pt x="89" y="274"/>
                    <a:pt x="89" y="271"/>
                    <a:pt x="88" y="267"/>
                  </a:cubicBezTo>
                  <a:cubicBezTo>
                    <a:pt x="87" y="259"/>
                    <a:pt x="86" y="248"/>
                    <a:pt x="80" y="235"/>
                  </a:cubicBezTo>
                  <a:cubicBezTo>
                    <a:pt x="78" y="228"/>
                    <a:pt x="73" y="222"/>
                    <a:pt x="70" y="214"/>
                  </a:cubicBezTo>
                  <a:cubicBezTo>
                    <a:pt x="68" y="210"/>
                    <a:pt x="67" y="206"/>
                    <a:pt x="66" y="202"/>
                  </a:cubicBezTo>
                  <a:cubicBezTo>
                    <a:pt x="65" y="197"/>
                    <a:pt x="66" y="192"/>
                    <a:pt x="66" y="188"/>
                  </a:cubicBezTo>
                  <a:cubicBezTo>
                    <a:pt x="67" y="183"/>
                    <a:pt x="68" y="178"/>
                    <a:pt x="69" y="173"/>
                  </a:cubicBezTo>
                  <a:cubicBezTo>
                    <a:pt x="69" y="169"/>
                    <a:pt x="69" y="164"/>
                    <a:pt x="68" y="159"/>
                  </a:cubicBezTo>
                  <a:cubicBezTo>
                    <a:pt x="67" y="149"/>
                    <a:pt x="62" y="140"/>
                    <a:pt x="54" y="132"/>
                  </a:cubicBezTo>
                  <a:cubicBezTo>
                    <a:pt x="47" y="125"/>
                    <a:pt x="36" y="122"/>
                    <a:pt x="28" y="114"/>
                  </a:cubicBezTo>
                  <a:cubicBezTo>
                    <a:pt x="21" y="107"/>
                    <a:pt x="17" y="97"/>
                    <a:pt x="15" y="88"/>
                  </a:cubicBezTo>
                  <a:cubicBezTo>
                    <a:pt x="13" y="79"/>
                    <a:pt x="13" y="70"/>
                    <a:pt x="14" y="61"/>
                  </a:cubicBezTo>
                  <a:cubicBezTo>
                    <a:pt x="15" y="53"/>
                    <a:pt x="16" y="45"/>
                    <a:pt x="16" y="38"/>
                  </a:cubicBezTo>
                  <a:cubicBezTo>
                    <a:pt x="17" y="31"/>
                    <a:pt x="17" y="25"/>
                    <a:pt x="16" y="19"/>
                  </a:cubicBezTo>
                  <a:cubicBezTo>
                    <a:pt x="15" y="14"/>
                    <a:pt x="13" y="10"/>
                    <a:pt x="11" y="7"/>
                  </a:cubicBezTo>
                  <a:cubicBezTo>
                    <a:pt x="5" y="1"/>
                    <a:pt x="0" y="1"/>
                    <a:pt x="1" y="0"/>
                  </a:cubicBezTo>
                  <a:cubicBezTo>
                    <a:pt x="1" y="0"/>
                    <a:pt x="2" y="0"/>
                    <a:pt x="4" y="1"/>
                  </a:cubicBezTo>
                  <a:cubicBezTo>
                    <a:pt x="6" y="1"/>
                    <a:pt x="9" y="3"/>
                    <a:pt x="11" y="6"/>
                  </a:cubicBezTo>
                  <a:cubicBezTo>
                    <a:pt x="14" y="9"/>
                    <a:pt x="16" y="14"/>
                    <a:pt x="17" y="19"/>
                  </a:cubicBezTo>
                  <a:cubicBezTo>
                    <a:pt x="18" y="25"/>
                    <a:pt x="18" y="31"/>
                    <a:pt x="18" y="38"/>
                  </a:cubicBezTo>
                  <a:cubicBezTo>
                    <a:pt x="18" y="45"/>
                    <a:pt x="17" y="53"/>
                    <a:pt x="16" y="61"/>
                  </a:cubicBezTo>
                  <a:cubicBezTo>
                    <a:pt x="16" y="70"/>
                    <a:pt x="15" y="79"/>
                    <a:pt x="17" y="88"/>
                  </a:cubicBezTo>
                  <a:cubicBezTo>
                    <a:pt x="19" y="97"/>
                    <a:pt x="23" y="106"/>
                    <a:pt x="30" y="113"/>
                  </a:cubicBezTo>
                  <a:cubicBezTo>
                    <a:pt x="37" y="119"/>
                    <a:pt x="48" y="123"/>
                    <a:pt x="56" y="130"/>
                  </a:cubicBezTo>
                  <a:cubicBezTo>
                    <a:pt x="64" y="138"/>
                    <a:pt x="69" y="148"/>
                    <a:pt x="71" y="158"/>
                  </a:cubicBezTo>
                  <a:cubicBezTo>
                    <a:pt x="72" y="164"/>
                    <a:pt x="72" y="169"/>
                    <a:pt x="71" y="174"/>
                  </a:cubicBezTo>
                  <a:cubicBezTo>
                    <a:pt x="70" y="179"/>
                    <a:pt x="69" y="183"/>
                    <a:pt x="69" y="188"/>
                  </a:cubicBezTo>
                  <a:cubicBezTo>
                    <a:pt x="68" y="192"/>
                    <a:pt x="68" y="197"/>
                    <a:pt x="68" y="201"/>
                  </a:cubicBezTo>
                  <a:cubicBezTo>
                    <a:pt x="69" y="205"/>
                    <a:pt x="70" y="209"/>
                    <a:pt x="72" y="213"/>
                  </a:cubicBezTo>
                  <a:cubicBezTo>
                    <a:pt x="75" y="221"/>
                    <a:pt x="79" y="227"/>
                    <a:pt x="82" y="234"/>
                  </a:cubicBezTo>
                  <a:cubicBezTo>
                    <a:pt x="87" y="247"/>
                    <a:pt x="89" y="259"/>
                    <a:pt x="89" y="267"/>
                  </a:cubicBezTo>
                  <a:cubicBezTo>
                    <a:pt x="89" y="271"/>
                    <a:pt x="89" y="274"/>
                    <a:pt x="89" y="276"/>
                  </a:cubicBezTo>
                  <a:cubicBezTo>
                    <a:pt x="89" y="277"/>
                    <a:pt x="88" y="278"/>
                    <a:pt x="88" y="278"/>
                  </a:cubicBezTo>
                  <a:cubicBezTo>
                    <a:pt x="88" y="279"/>
                    <a:pt x="88" y="279"/>
                    <a:pt x="88" y="27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36">
              <a:extLst>
                <a:ext uri="{FF2B5EF4-FFF2-40B4-BE49-F238E27FC236}">
                  <a16:creationId xmlns:a16="http://schemas.microsoft.com/office/drawing/2014/main" id="{B7ECB979-1CF5-4900-9CA3-EAA8A5C4A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5" y="3100"/>
              <a:ext cx="155" cy="339"/>
            </a:xfrm>
            <a:custGeom>
              <a:avLst/>
              <a:gdLst>
                <a:gd name="T0" fmla="*/ 60 w 65"/>
                <a:gd name="T1" fmla="*/ 142 h 143"/>
                <a:gd name="T2" fmla="*/ 63 w 65"/>
                <a:gd name="T3" fmla="*/ 136 h 143"/>
                <a:gd name="T4" fmla="*/ 61 w 65"/>
                <a:gd name="T5" fmla="*/ 119 h 143"/>
                <a:gd name="T6" fmla="*/ 45 w 65"/>
                <a:gd name="T7" fmla="*/ 100 h 143"/>
                <a:gd name="T8" fmla="*/ 31 w 65"/>
                <a:gd name="T9" fmla="*/ 92 h 143"/>
                <a:gd name="T10" fmla="*/ 23 w 65"/>
                <a:gd name="T11" fmla="*/ 77 h 143"/>
                <a:gd name="T12" fmla="*/ 19 w 65"/>
                <a:gd name="T13" fmla="*/ 44 h 143"/>
                <a:gd name="T14" fmla="*/ 15 w 65"/>
                <a:gd name="T15" fmla="*/ 18 h 143"/>
                <a:gd name="T16" fmla="*/ 6 w 65"/>
                <a:gd name="T17" fmla="*/ 4 h 143"/>
                <a:gd name="T18" fmla="*/ 0 w 65"/>
                <a:gd name="T19" fmla="*/ 0 h 143"/>
                <a:gd name="T20" fmla="*/ 2 w 65"/>
                <a:gd name="T21" fmla="*/ 1 h 143"/>
                <a:gd name="T22" fmla="*/ 6 w 65"/>
                <a:gd name="T23" fmla="*/ 3 h 143"/>
                <a:gd name="T24" fmla="*/ 17 w 65"/>
                <a:gd name="T25" fmla="*/ 17 h 143"/>
                <a:gd name="T26" fmla="*/ 21 w 65"/>
                <a:gd name="T27" fmla="*/ 44 h 143"/>
                <a:gd name="T28" fmla="*/ 25 w 65"/>
                <a:gd name="T29" fmla="*/ 76 h 143"/>
                <a:gd name="T30" fmla="*/ 33 w 65"/>
                <a:gd name="T31" fmla="*/ 90 h 143"/>
                <a:gd name="T32" fmla="*/ 39 w 65"/>
                <a:gd name="T33" fmla="*/ 95 h 143"/>
                <a:gd name="T34" fmla="*/ 46 w 65"/>
                <a:gd name="T35" fmla="*/ 98 h 143"/>
                <a:gd name="T36" fmla="*/ 63 w 65"/>
                <a:gd name="T37" fmla="*/ 118 h 143"/>
                <a:gd name="T38" fmla="*/ 63 w 65"/>
                <a:gd name="T39" fmla="*/ 137 h 143"/>
                <a:gd name="T40" fmla="*/ 61 w 65"/>
                <a:gd name="T41" fmla="*/ 141 h 143"/>
                <a:gd name="T42" fmla="*/ 60 w 65"/>
                <a:gd name="T43" fmla="*/ 1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" h="143">
                  <a:moveTo>
                    <a:pt x="60" y="142"/>
                  </a:moveTo>
                  <a:cubicBezTo>
                    <a:pt x="60" y="142"/>
                    <a:pt x="62" y="140"/>
                    <a:pt x="63" y="136"/>
                  </a:cubicBezTo>
                  <a:cubicBezTo>
                    <a:pt x="63" y="132"/>
                    <a:pt x="64" y="126"/>
                    <a:pt x="61" y="119"/>
                  </a:cubicBezTo>
                  <a:cubicBezTo>
                    <a:pt x="59" y="112"/>
                    <a:pt x="53" y="105"/>
                    <a:pt x="45" y="100"/>
                  </a:cubicBezTo>
                  <a:cubicBezTo>
                    <a:pt x="40" y="98"/>
                    <a:pt x="35" y="96"/>
                    <a:pt x="31" y="92"/>
                  </a:cubicBezTo>
                  <a:cubicBezTo>
                    <a:pt x="27" y="87"/>
                    <a:pt x="25" y="82"/>
                    <a:pt x="23" y="77"/>
                  </a:cubicBezTo>
                  <a:cubicBezTo>
                    <a:pt x="18" y="65"/>
                    <a:pt x="19" y="54"/>
                    <a:pt x="19" y="44"/>
                  </a:cubicBezTo>
                  <a:cubicBezTo>
                    <a:pt x="19" y="34"/>
                    <a:pt x="18" y="25"/>
                    <a:pt x="15" y="18"/>
                  </a:cubicBezTo>
                  <a:cubicBezTo>
                    <a:pt x="13" y="11"/>
                    <a:pt x="9" y="6"/>
                    <a:pt x="6" y="4"/>
                  </a:cubicBezTo>
                  <a:cubicBezTo>
                    <a:pt x="2" y="1"/>
                    <a:pt x="0" y="1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1"/>
                    <a:pt x="4" y="2"/>
                    <a:pt x="6" y="3"/>
                  </a:cubicBezTo>
                  <a:cubicBezTo>
                    <a:pt x="10" y="5"/>
                    <a:pt x="14" y="10"/>
                    <a:pt x="17" y="17"/>
                  </a:cubicBezTo>
                  <a:cubicBezTo>
                    <a:pt x="20" y="25"/>
                    <a:pt x="21" y="34"/>
                    <a:pt x="21" y="44"/>
                  </a:cubicBezTo>
                  <a:cubicBezTo>
                    <a:pt x="21" y="54"/>
                    <a:pt x="21" y="65"/>
                    <a:pt x="25" y="76"/>
                  </a:cubicBezTo>
                  <a:cubicBezTo>
                    <a:pt x="27" y="81"/>
                    <a:pt x="30" y="86"/>
                    <a:pt x="33" y="90"/>
                  </a:cubicBezTo>
                  <a:cubicBezTo>
                    <a:pt x="35" y="92"/>
                    <a:pt x="37" y="94"/>
                    <a:pt x="39" y="95"/>
                  </a:cubicBezTo>
                  <a:cubicBezTo>
                    <a:pt x="41" y="96"/>
                    <a:pt x="43" y="97"/>
                    <a:pt x="46" y="98"/>
                  </a:cubicBezTo>
                  <a:cubicBezTo>
                    <a:pt x="55" y="103"/>
                    <a:pt x="61" y="111"/>
                    <a:pt x="63" y="118"/>
                  </a:cubicBezTo>
                  <a:cubicBezTo>
                    <a:pt x="65" y="126"/>
                    <a:pt x="65" y="132"/>
                    <a:pt x="63" y="137"/>
                  </a:cubicBezTo>
                  <a:cubicBezTo>
                    <a:pt x="63" y="139"/>
                    <a:pt x="62" y="140"/>
                    <a:pt x="61" y="141"/>
                  </a:cubicBezTo>
                  <a:cubicBezTo>
                    <a:pt x="61" y="142"/>
                    <a:pt x="60" y="143"/>
                    <a:pt x="60" y="14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37">
              <a:extLst>
                <a:ext uri="{FF2B5EF4-FFF2-40B4-BE49-F238E27FC236}">
                  <a16:creationId xmlns:a16="http://schemas.microsoft.com/office/drawing/2014/main" id="{589BF485-A819-4BC5-9DC4-B6ADEDB0C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4" y="2960"/>
              <a:ext cx="86" cy="161"/>
            </a:xfrm>
            <a:custGeom>
              <a:avLst/>
              <a:gdLst>
                <a:gd name="T0" fmla="*/ 35 w 36"/>
                <a:gd name="T1" fmla="*/ 68 h 68"/>
                <a:gd name="T2" fmla="*/ 25 w 36"/>
                <a:gd name="T3" fmla="*/ 62 h 68"/>
                <a:gd name="T4" fmla="*/ 7 w 36"/>
                <a:gd name="T5" fmla="*/ 40 h 68"/>
                <a:gd name="T6" fmla="*/ 0 w 36"/>
                <a:gd name="T7" fmla="*/ 12 h 68"/>
                <a:gd name="T8" fmla="*/ 1 w 36"/>
                <a:gd name="T9" fmla="*/ 0 h 68"/>
                <a:gd name="T10" fmla="*/ 2 w 36"/>
                <a:gd name="T11" fmla="*/ 12 h 68"/>
                <a:gd name="T12" fmla="*/ 9 w 36"/>
                <a:gd name="T13" fmla="*/ 38 h 68"/>
                <a:gd name="T14" fmla="*/ 26 w 36"/>
                <a:gd name="T15" fmla="*/ 60 h 68"/>
                <a:gd name="T16" fmla="*/ 35 w 36"/>
                <a:gd name="T1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8">
                  <a:moveTo>
                    <a:pt x="35" y="68"/>
                  </a:moveTo>
                  <a:cubicBezTo>
                    <a:pt x="35" y="68"/>
                    <a:pt x="31" y="66"/>
                    <a:pt x="25" y="62"/>
                  </a:cubicBezTo>
                  <a:cubicBezTo>
                    <a:pt x="19" y="57"/>
                    <a:pt x="12" y="50"/>
                    <a:pt x="7" y="40"/>
                  </a:cubicBezTo>
                  <a:cubicBezTo>
                    <a:pt x="2" y="29"/>
                    <a:pt x="0" y="19"/>
                    <a:pt x="0" y="12"/>
                  </a:cubicBezTo>
                  <a:cubicBezTo>
                    <a:pt x="0" y="5"/>
                    <a:pt x="1" y="0"/>
                    <a:pt x="1" y="0"/>
                  </a:cubicBezTo>
                  <a:cubicBezTo>
                    <a:pt x="1" y="0"/>
                    <a:pt x="1" y="5"/>
                    <a:pt x="2" y="12"/>
                  </a:cubicBezTo>
                  <a:cubicBezTo>
                    <a:pt x="2" y="19"/>
                    <a:pt x="5" y="29"/>
                    <a:pt x="9" y="38"/>
                  </a:cubicBezTo>
                  <a:cubicBezTo>
                    <a:pt x="14" y="48"/>
                    <a:pt x="21" y="56"/>
                    <a:pt x="26" y="60"/>
                  </a:cubicBezTo>
                  <a:cubicBezTo>
                    <a:pt x="32" y="65"/>
                    <a:pt x="36" y="68"/>
                    <a:pt x="35" y="6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38">
              <a:extLst>
                <a:ext uri="{FF2B5EF4-FFF2-40B4-BE49-F238E27FC236}">
                  <a16:creationId xmlns:a16="http://schemas.microsoft.com/office/drawing/2014/main" id="{9D15EF09-0194-4F0A-BDBF-FBB01DD73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0" y="3083"/>
              <a:ext cx="78" cy="55"/>
            </a:xfrm>
            <a:custGeom>
              <a:avLst/>
              <a:gdLst>
                <a:gd name="T0" fmla="*/ 33 w 33"/>
                <a:gd name="T1" fmla="*/ 23 h 23"/>
                <a:gd name="T2" fmla="*/ 15 w 33"/>
                <a:gd name="T3" fmla="*/ 14 h 23"/>
                <a:gd name="T4" fmla="*/ 1 w 33"/>
                <a:gd name="T5" fmla="*/ 1 h 23"/>
                <a:gd name="T6" fmla="*/ 17 w 33"/>
                <a:gd name="T7" fmla="*/ 12 h 23"/>
                <a:gd name="T8" fmla="*/ 33 w 33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23"/>
                  </a:moveTo>
                  <a:cubicBezTo>
                    <a:pt x="32" y="23"/>
                    <a:pt x="24" y="20"/>
                    <a:pt x="15" y="14"/>
                  </a:cubicBezTo>
                  <a:cubicBezTo>
                    <a:pt x="6" y="7"/>
                    <a:pt x="0" y="1"/>
                    <a:pt x="1" y="1"/>
                  </a:cubicBezTo>
                  <a:cubicBezTo>
                    <a:pt x="1" y="0"/>
                    <a:pt x="8" y="5"/>
                    <a:pt x="17" y="12"/>
                  </a:cubicBezTo>
                  <a:cubicBezTo>
                    <a:pt x="26" y="18"/>
                    <a:pt x="33" y="22"/>
                    <a:pt x="33" y="2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39">
              <a:extLst>
                <a:ext uri="{FF2B5EF4-FFF2-40B4-BE49-F238E27FC236}">
                  <a16:creationId xmlns:a16="http://schemas.microsoft.com/office/drawing/2014/main" id="{1DA892F8-C591-41D7-88EF-8FA0AF2C6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" y="2984"/>
              <a:ext cx="71" cy="125"/>
            </a:xfrm>
            <a:custGeom>
              <a:avLst/>
              <a:gdLst>
                <a:gd name="T0" fmla="*/ 30 w 30"/>
                <a:gd name="T1" fmla="*/ 0 h 53"/>
                <a:gd name="T2" fmla="*/ 21 w 30"/>
                <a:gd name="T3" fmla="*/ 29 h 53"/>
                <a:gd name="T4" fmla="*/ 1 w 30"/>
                <a:gd name="T5" fmla="*/ 52 h 53"/>
                <a:gd name="T6" fmla="*/ 19 w 30"/>
                <a:gd name="T7" fmla="*/ 28 h 53"/>
                <a:gd name="T8" fmla="*/ 30 w 30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53">
                  <a:moveTo>
                    <a:pt x="30" y="0"/>
                  </a:moveTo>
                  <a:cubicBezTo>
                    <a:pt x="30" y="0"/>
                    <a:pt x="29" y="14"/>
                    <a:pt x="21" y="29"/>
                  </a:cubicBezTo>
                  <a:cubicBezTo>
                    <a:pt x="13" y="44"/>
                    <a:pt x="1" y="53"/>
                    <a:pt x="1" y="52"/>
                  </a:cubicBezTo>
                  <a:cubicBezTo>
                    <a:pt x="0" y="52"/>
                    <a:pt x="11" y="42"/>
                    <a:pt x="19" y="28"/>
                  </a:cubicBezTo>
                  <a:cubicBezTo>
                    <a:pt x="27" y="13"/>
                    <a:pt x="29" y="0"/>
                    <a:pt x="3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40">
              <a:extLst>
                <a:ext uri="{FF2B5EF4-FFF2-40B4-BE49-F238E27FC236}">
                  <a16:creationId xmlns:a16="http://schemas.microsoft.com/office/drawing/2014/main" id="{65355E55-9B56-439B-ACAB-C0B119708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3029"/>
              <a:ext cx="52" cy="109"/>
            </a:xfrm>
            <a:custGeom>
              <a:avLst/>
              <a:gdLst>
                <a:gd name="T0" fmla="*/ 22 w 22"/>
                <a:gd name="T1" fmla="*/ 0 h 46"/>
                <a:gd name="T2" fmla="*/ 14 w 22"/>
                <a:gd name="T3" fmla="*/ 24 h 46"/>
                <a:gd name="T4" fmla="*/ 1 w 22"/>
                <a:gd name="T5" fmla="*/ 45 h 46"/>
                <a:gd name="T6" fmla="*/ 12 w 22"/>
                <a:gd name="T7" fmla="*/ 23 h 46"/>
                <a:gd name="T8" fmla="*/ 22 w 22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6">
                  <a:moveTo>
                    <a:pt x="22" y="0"/>
                  </a:moveTo>
                  <a:cubicBezTo>
                    <a:pt x="22" y="1"/>
                    <a:pt x="20" y="12"/>
                    <a:pt x="14" y="24"/>
                  </a:cubicBezTo>
                  <a:cubicBezTo>
                    <a:pt x="8" y="37"/>
                    <a:pt x="1" y="46"/>
                    <a:pt x="1" y="45"/>
                  </a:cubicBezTo>
                  <a:cubicBezTo>
                    <a:pt x="0" y="45"/>
                    <a:pt x="6" y="36"/>
                    <a:pt x="12" y="23"/>
                  </a:cubicBezTo>
                  <a:cubicBezTo>
                    <a:pt x="18" y="11"/>
                    <a:pt x="21" y="0"/>
                    <a:pt x="22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41">
              <a:extLst>
                <a:ext uri="{FF2B5EF4-FFF2-40B4-BE49-F238E27FC236}">
                  <a16:creationId xmlns:a16="http://schemas.microsoft.com/office/drawing/2014/main" id="{0764F1A3-4625-4913-A2F2-EB73A3B6C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" y="2817"/>
              <a:ext cx="126" cy="62"/>
            </a:xfrm>
            <a:custGeom>
              <a:avLst/>
              <a:gdLst>
                <a:gd name="T0" fmla="*/ 53 w 53"/>
                <a:gd name="T1" fmla="*/ 26 h 26"/>
                <a:gd name="T2" fmla="*/ 48 w 53"/>
                <a:gd name="T3" fmla="*/ 16 h 26"/>
                <a:gd name="T4" fmla="*/ 42 w 53"/>
                <a:gd name="T5" fmla="*/ 7 h 26"/>
                <a:gd name="T6" fmla="*/ 30 w 53"/>
                <a:gd name="T7" fmla="*/ 3 h 26"/>
                <a:gd name="T8" fmla="*/ 8 w 53"/>
                <a:gd name="T9" fmla="*/ 13 h 26"/>
                <a:gd name="T10" fmla="*/ 1 w 53"/>
                <a:gd name="T11" fmla="*/ 21 h 26"/>
                <a:gd name="T12" fmla="*/ 7 w 53"/>
                <a:gd name="T13" fmla="*/ 12 h 26"/>
                <a:gd name="T14" fmla="*/ 16 w 53"/>
                <a:gd name="T15" fmla="*/ 5 h 26"/>
                <a:gd name="T16" fmla="*/ 30 w 53"/>
                <a:gd name="T17" fmla="*/ 0 h 26"/>
                <a:gd name="T18" fmla="*/ 43 w 53"/>
                <a:gd name="T19" fmla="*/ 6 h 26"/>
                <a:gd name="T20" fmla="*/ 50 w 53"/>
                <a:gd name="T21" fmla="*/ 15 h 26"/>
                <a:gd name="T22" fmla="*/ 53 w 53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26">
                  <a:moveTo>
                    <a:pt x="53" y="26"/>
                  </a:moveTo>
                  <a:cubicBezTo>
                    <a:pt x="53" y="26"/>
                    <a:pt x="51" y="22"/>
                    <a:pt x="48" y="16"/>
                  </a:cubicBezTo>
                  <a:cubicBezTo>
                    <a:pt x="47" y="13"/>
                    <a:pt x="45" y="10"/>
                    <a:pt x="42" y="7"/>
                  </a:cubicBezTo>
                  <a:cubicBezTo>
                    <a:pt x="39" y="5"/>
                    <a:pt x="34" y="3"/>
                    <a:pt x="30" y="3"/>
                  </a:cubicBezTo>
                  <a:cubicBezTo>
                    <a:pt x="20" y="3"/>
                    <a:pt x="13" y="9"/>
                    <a:pt x="8" y="13"/>
                  </a:cubicBezTo>
                  <a:cubicBezTo>
                    <a:pt x="4" y="18"/>
                    <a:pt x="1" y="21"/>
                    <a:pt x="1" y="21"/>
                  </a:cubicBezTo>
                  <a:cubicBezTo>
                    <a:pt x="0" y="21"/>
                    <a:pt x="3" y="17"/>
                    <a:pt x="7" y="12"/>
                  </a:cubicBezTo>
                  <a:cubicBezTo>
                    <a:pt x="9" y="10"/>
                    <a:pt x="12" y="7"/>
                    <a:pt x="16" y="5"/>
                  </a:cubicBezTo>
                  <a:cubicBezTo>
                    <a:pt x="20" y="2"/>
                    <a:pt x="24" y="0"/>
                    <a:pt x="30" y="0"/>
                  </a:cubicBezTo>
                  <a:cubicBezTo>
                    <a:pt x="35" y="0"/>
                    <a:pt x="40" y="3"/>
                    <a:pt x="43" y="6"/>
                  </a:cubicBezTo>
                  <a:cubicBezTo>
                    <a:pt x="47" y="9"/>
                    <a:pt x="49" y="12"/>
                    <a:pt x="50" y="15"/>
                  </a:cubicBezTo>
                  <a:cubicBezTo>
                    <a:pt x="53" y="21"/>
                    <a:pt x="53" y="25"/>
                    <a:pt x="53" y="2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42">
              <a:extLst>
                <a:ext uri="{FF2B5EF4-FFF2-40B4-BE49-F238E27FC236}">
                  <a16:creationId xmlns:a16="http://schemas.microsoft.com/office/drawing/2014/main" id="{F7FD39B2-BAFB-4F6C-95FA-063ECA45E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" y="3124"/>
              <a:ext cx="111" cy="669"/>
            </a:xfrm>
            <a:custGeom>
              <a:avLst/>
              <a:gdLst>
                <a:gd name="T0" fmla="*/ 47 w 47"/>
                <a:gd name="T1" fmla="*/ 282 h 282"/>
                <a:gd name="T2" fmla="*/ 45 w 47"/>
                <a:gd name="T3" fmla="*/ 280 h 282"/>
                <a:gd name="T4" fmla="*/ 39 w 47"/>
                <a:gd name="T5" fmla="*/ 274 h 282"/>
                <a:gd name="T6" fmla="*/ 30 w 47"/>
                <a:gd name="T7" fmla="*/ 263 h 282"/>
                <a:gd name="T8" fmla="*/ 24 w 47"/>
                <a:gd name="T9" fmla="*/ 245 h 282"/>
                <a:gd name="T10" fmla="*/ 25 w 47"/>
                <a:gd name="T11" fmla="*/ 234 h 282"/>
                <a:gd name="T12" fmla="*/ 30 w 47"/>
                <a:gd name="T13" fmla="*/ 223 h 282"/>
                <a:gd name="T14" fmla="*/ 40 w 47"/>
                <a:gd name="T15" fmla="*/ 200 h 282"/>
                <a:gd name="T16" fmla="*/ 32 w 47"/>
                <a:gd name="T17" fmla="*/ 173 h 282"/>
                <a:gd name="T18" fmla="*/ 14 w 47"/>
                <a:gd name="T19" fmla="*/ 148 h 282"/>
                <a:gd name="T20" fmla="*/ 3 w 47"/>
                <a:gd name="T21" fmla="*/ 120 h 282"/>
                <a:gd name="T22" fmla="*/ 2 w 47"/>
                <a:gd name="T23" fmla="*/ 91 h 282"/>
                <a:gd name="T24" fmla="*/ 8 w 47"/>
                <a:gd name="T25" fmla="*/ 43 h 282"/>
                <a:gd name="T26" fmla="*/ 5 w 47"/>
                <a:gd name="T27" fmla="*/ 11 h 282"/>
                <a:gd name="T28" fmla="*/ 1 w 47"/>
                <a:gd name="T29" fmla="*/ 0 h 282"/>
                <a:gd name="T30" fmla="*/ 2 w 47"/>
                <a:gd name="T31" fmla="*/ 3 h 282"/>
                <a:gd name="T32" fmla="*/ 6 w 47"/>
                <a:gd name="T33" fmla="*/ 11 h 282"/>
                <a:gd name="T34" fmla="*/ 10 w 47"/>
                <a:gd name="T35" fmla="*/ 43 h 282"/>
                <a:gd name="T36" fmla="*/ 4 w 47"/>
                <a:gd name="T37" fmla="*/ 91 h 282"/>
                <a:gd name="T38" fmla="*/ 5 w 47"/>
                <a:gd name="T39" fmla="*/ 119 h 282"/>
                <a:gd name="T40" fmla="*/ 16 w 47"/>
                <a:gd name="T41" fmla="*/ 147 h 282"/>
                <a:gd name="T42" fmla="*/ 34 w 47"/>
                <a:gd name="T43" fmla="*/ 172 h 282"/>
                <a:gd name="T44" fmla="*/ 42 w 47"/>
                <a:gd name="T45" fmla="*/ 200 h 282"/>
                <a:gd name="T46" fmla="*/ 32 w 47"/>
                <a:gd name="T47" fmla="*/ 224 h 282"/>
                <a:gd name="T48" fmla="*/ 27 w 47"/>
                <a:gd name="T49" fmla="*/ 234 h 282"/>
                <a:gd name="T50" fmla="*/ 26 w 47"/>
                <a:gd name="T51" fmla="*/ 245 h 282"/>
                <a:gd name="T52" fmla="*/ 31 w 47"/>
                <a:gd name="T53" fmla="*/ 262 h 282"/>
                <a:gd name="T54" fmla="*/ 39 w 47"/>
                <a:gd name="T55" fmla="*/ 273 h 282"/>
                <a:gd name="T56" fmla="*/ 45 w 47"/>
                <a:gd name="T57" fmla="*/ 280 h 282"/>
                <a:gd name="T58" fmla="*/ 47 w 47"/>
                <a:gd name="T5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7" h="282">
                  <a:moveTo>
                    <a:pt x="47" y="282"/>
                  </a:moveTo>
                  <a:cubicBezTo>
                    <a:pt x="47" y="282"/>
                    <a:pt x="46" y="281"/>
                    <a:pt x="45" y="280"/>
                  </a:cubicBezTo>
                  <a:cubicBezTo>
                    <a:pt x="43" y="279"/>
                    <a:pt x="41" y="277"/>
                    <a:pt x="39" y="274"/>
                  </a:cubicBezTo>
                  <a:cubicBezTo>
                    <a:pt x="36" y="271"/>
                    <a:pt x="33" y="267"/>
                    <a:pt x="30" y="263"/>
                  </a:cubicBezTo>
                  <a:cubicBezTo>
                    <a:pt x="27" y="258"/>
                    <a:pt x="24" y="252"/>
                    <a:pt x="24" y="245"/>
                  </a:cubicBezTo>
                  <a:cubicBezTo>
                    <a:pt x="24" y="241"/>
                    <a:pt x="24" y="237"/>
                    <a:pt x="25" y="234"/>
                  </a:cubicBezTo>
                  <a:cubicBezTo>
                    <a:pt x="26" y="230"/>
                    <a:pt x="28" y="227"/>
                    <a:pt x="30" y="223"/>
                  </a:cubicBezTo>
                  <a:cubicBezTo>
                    <a:pt x="34" y="216"/>
                    <a:pt x="39" y="209"/>
                    <a:pt x="40" y="200"/>
                  </a:cubicBezTo>
                  <a:cubicBezTo>
                    <a:pt x="40" y="191"/>
                    <a:pt x="37" y="182"/>
                    <a:pt x="32" y="173"/>
                  </a:cubicBezTo>
                  <a:cubicBezTo>
                    <a:pt x="27" y="165"/>
                    <a:pt x="20" y="157"/>
                    <a:pt x="14" y="148"/>
                  </a:cubicBezTo>
                  <a:cubicBezTo>
                    <a:pt x="8" y="140"/>
                    <a:pt x="4" y="130"/>
                    <a:pt x="3" y="120"/>
                  </a:cubicBezTo>
                  <a:cubicBezTo>
                    <a:pt x="1" y="110"/>
                    <a:pt x="1" y="100"/>
                    <a:pt x="2" y="91"/>
                  </a:cubicBezTo>
                  <a:cubicBezTo>
                    <a:pt x="4" y="73"/>
                    <a:pt x="8" y="57"/>
                    <a:pt x="8" y="43"/>
                  </a:cubicBezTo>
                  <a:cubicBezTo>
                    <a:pt x="9" y="29"/>
                    <a:pt x="7" y="18"/>
                    <a:pt x="5" y="11"/>
                  </a:cubicBezTo>
                  <a:cubicBezTo>
                    <a:pt x="3" y="4"/>
                    <a:pt x="0" y="0"/>
                    <a:pt x="1" y="0"/>
                  </a:cubicBezTo>
                  <a:cubicBezTo>
                    <a:pt x="1" y="0"/>
                    <a:pt x="1" y="1"/>
                    <a:pt x="2" y="3"/>
                  </a:cubicBezTo>
                  <a:cubicBezTo>
                    <a:pt x="3" y="4"/>
                    <a:pt x="5" y="7"/>
                    <a:pt x="6" y="11"/>
                  </a:cubicBezTo>
                  <a:cubicBezTo>
                    <a:pt x="9" y="18"/>
                    <a:pt x="11" y="29"/>
                    <a:pt x="10" y="43"/>
                  </a:cubicBezTo>
                  <a:cubicBezTo>
                    <a:pt x="10" y="57"/>
                    <a:pt x="6" y="73"/>
                    <a:pt x="4" y="91"/>
                  </a:cubicBezTo>
                  <a:cubicBezTo>
                    <a:pt x="4" y="100"/>
                    <a:pt x="3" y="110"/>
                    <a:pt x="5" y="119"/>
                  </a:cubicBezTo>
                  <a:cubicBezTo>
                    <a:pt x="7" y="129"/>
                    <a:pt x="11" y="138"/>
                    <a:pt x="16" y="147"/>
                  </a:cubicBezTo>
                  <a:cubicBezTo>
                    <a:pt x="22" y="156"/>
                    <a:pt x="29" y="164"/>
                    <a:pt x="34" y="172"/>
                  </a:cubicBezTo>
                  <a:cubicBezTo>
                    <a:pt x="39" y="181"/>
                    <a:pt x="42" y="190"/>
                    <a:pt x="42" y="200"/>
                  </a:cubicBezTo>
                  <a:cubicBezTo>
                    <a:pt x="42" y="210"/>
                    <a:pt x="36" y="217"/>
                    <a:pt x="32" y="224"/>
                  </a:cubicBezTo>
                  <a:cubicBezTo>
                    <a:pt x="30" y="228"/>
                    <a:pt x="28" y="231"/>
                    <a:pt x="27" y="234"/>
                  </a:cubicBezTo>
                  <a:cubicBezTo>
                    <a:pt x="26" y="238"/>
                    <a:pt x="26" y="241"/>
                    <a:pt x="26" y="245"/>
                  </a:cubicBezTo>
                  <a:cubicBezTo>
                    <a:pt x="26" y="251"/>
                    <a:pt x="29" y="257"/>
                    <a:pt x="31" y="262"/>
                  </a:cubicBezTo>
                  <a:cubicBezTo>
                    <a:pt x="34" y="266"/>
                    <a:pt x="37" y="270"/>
                    <a:pt x="39" y="273"/>
                  </a:cubicBezTo>
                  <a:cubicBezTo>
                    <a:pt x="42" y="276"/>
                    <a:pt x="44" y="278"/>
                    <a:pt x="45" y="280"/>
                  </a:cubicBezTo>
                  <a:cubicBezTo>
                    <a:pt x="47" y="281"/>
                    <a:pt x="47" y="282"/>
                    <a:pt x="47" y="282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43">
              <a:extLst>
                <a:ext uri="{FF2B5EF4-FFF2-40B4-BE49-F238E27FC236}">
                  <a16:creationId xmlns:a16="http://schemas.microsoft.com/office/drawing/2014/main" id="{9EDFADEA-66B8-46B3-8BE7-7EFAAE023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3" y="3639"/>
              <a:ext cx="1007" cy="439"/>
            </a:xfrm>
            <a:custGeom>
              <a:avLst/>
              <a:gdLst>
                <a:gd name="T0" fmla="*/ 424 w 424"/>
                <a:gd name="T1" fmla="*/ 185 h 185"/>
                <a:gd name="T2" fmla="*/ 0 w 424"/>
                <a:gd name="T3" fmla="*/ 185 h 185"/>
                <a:gd name="T4" fmla="*/ 0 w 424"/>
                <a:gd name="T5" fmla="*/ 61 h 185"/>
                <a:gd name="T6" fmla="*/ 62 w 424"/>
                <a:gd name="T7" fmla="*/ 0 h 185"/>
                <a:gd name="T8" fmla="*/ 362 w 424"/>
                <a:gd name="T9" fmla="*/ 0 h 185"/>
                <a:gd name="T10" fmla="*/ 424 w 424"/>
                <a:gd name="T11" fmla="*/ 61 h 185"/>
                <a:gd name="T12" fmla="*/ 424 w 424"/>
                <a:gd name="T13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185">
                  <a:moveTo>
                    <a:pt x="424" y="185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27"/>
                    <a:pt x="28" y="0"/>
                    <a:pt x="62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96" y="0"/>
                    <a:pt x="424" y="27"/>
                    <a:pt x="424" y="61"/>
                  </a:cubicBezTo>
                  <a:lnTo>
                    <a:pt x="424" y="185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44">
              <a:extLst>
                <a:ext uri="{FF2B5EF4-FFF2-40B4-BE49-F238E27FC236}">
                  <a16:creationId xmlns:a16="http://schemas.microsoft.com/office/drawing/2014/main" id="{1D8BE461-CD7D-4D8B-ADBF-8ADD17260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3810"/>
              <a:ext cx="565" cy="230"/>
            </a:xfrm>
            <a:custGeom>
              <a:avLst/>
              <a:gdLst>
                <a:gd name="T0" fmla="*/ 238 w 238"/>
                <a:gd name="T1" fmla="*/ 0 h 97"/>
                <a:gd name="T2" fmla="*/ 235 w 238"/>
                <a:gd name="T3" fmla="*/ 2 h 97"/>
                <a:gd name="T4" fmla="*/ 229 w 238"/>
                <a:gd name="T5" fmla="*/ 6 h 97"/>
                <a:gd name="T6" fmla="*/ 206 w 238"/>
                <a:gd name="T7" fmla="*/ 21 h 97"/>
                <a:gd name="T8" fmla="*/ 170 w 238"/>
                <a:gd name="T9" fmla="*/ 41 h 97"/>
                <a:gd name="T10" fmla="*/ 124 w 238"/>
                <a:gd name="T11" fmla="*/ 62 h 97"/>
                <a:gd name="T12" fmla="*/ 76 w 238"/>
                <a:gd name="T13" fmla="*/ 79 h 97"/>
                <a:gd name="T14" fmla="*/ 37 w 238"/>
                <a:gd name="T15" fmla="*/ 89 h 97"/>
                <a:gd name="T16" fmla="*/ 10 w 238"/>
                <a:gd name="T17" fmla="*/ 95 h 97"/>
                <a:gd name="T18" fmla="*/ 2 w 238"/>
                <a:gd name="T19" fmla="*/ 96 h 97"/>
                <a:gd name="T20" fmla="*/ 0 w 238"/>
                <a:gd name="T21" fmla="*/ 97 h 97"/>
                <a:gd name="T22" fmla="*/ 2 w 238"/>
                <a:gd name="T23" fmla="*/ 96 h 97"/>
                <a:gd name="T24" fmla="*/ 9 w 238"/>
                <a:gd name="T25" fmla="*/ 94 h 97"/>
                <a:gd name="T26" fmla="*/ 36 w 238"/>
                <a:gd name="T27" fmla="*/ 88 h 97"/>
                <a:gd name="T28" fmla="*/ 76 w 238"/>
                <a:gd name="T29" fmla="*/ 77 h 97"/>
                <a:gd name="T30" fmla="*/ 123 w 238"/>
                <a:gd name="T31" fmla="*/ 60 h 97"/>
                <a:gd name="T32" fmla="*/ 169 w 238"/>
                <a:gd name="T33" fmla="*/ 39 h 97"/>
                <a:gd name="T34" fmla="*/ 205 w 238"/>
                <a:gd name="T35" fmla="*/ 20 h 97"/>
                <a:gd name="T36" fmla="*/ 229 w 238"/>
                <a:gd name="T37" fmla="*/ 5 h 97"/>
                <a:gd name="T38" fmla="*/ 235 w 238"/>
                <a:gd name="T39" fmla="*/ 2 h 97"/>
                <a:gd name="T40" fmla="*/ 238 w 238"/>
                <a:gd name="T4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97">
                  <a:moveTo>
                    <a:pt x="238" y="0"/>
                  </a:moveTo>
                  <a:cubicBezTo>
                    <a:pt x="238" y="0"/>
                    <a:pt x="237" y="1"/>
                    <a:pt x="235" y="2"/>
                  </a:cubicBezTo>
                  <a:cubicBezTo>
                    <a:pt x="234" y="3"/>
                    <a:pt x="232" y="4"/>
                    <a:pt x="229" y="6"/>
                  </a:cubicBezTo>
                  <a:cubicBezTo>
                    <a:pt x="224" y="10"/>
                    <a:pt x="216" y="15"/>
                    <a:pt x="206" y="21"/>
                  </a:cubicBezTo>
                  <a:cubicBezTo>
                    <a:pt x="196" y="27"/>
                    <a:pt x="184" y="34"/>
                    <a:pt x="170" y="41"/>
                  </a:cubicBezTo>
                  <a:cubicBezTo>
                    <a:pt x="156" y="48"/>
                    <a:pt x="140" y="55"/>
                    <a:pt x="124" y="62"/>
                  </a:cubicBezTo>
                  <a:cubicBezTo>
                    <a:pt x="107" y="68"/>
                    <a:pt x="91" y="74"/>
                    <a:pt x="76" y="79"/>
                  </a:cubicBezTo>
                  <a:cubicBezTo>
                    <a:pt x="62" y="83"/>
                    <a:pt x="48" y="87"/>
                    <a:pt x="37" y="89"/>
                  </a:cubicBezTo>
                  <a:cubicBezTo>
                    <a:pt x="25" y="92"/>
                    <a:pt x="16" y="94"/>
                    <a:pt x="10" y="95"/>
                  </a:cubicBezTo>
                  <a:cubicBezTo>
                    <a:pt x="7" y="96"/>
                    <a:pt x="4" y="96"/>
                    <a:pt x="2" y="96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7"/>
                    <a:pt x="0" y="96"/>
                    <a:pt x="2" y="96"/>
                  </a:cubicBezTo>
                  <a:cubicBezTo>
                    <a:pt x="4" y="96"/>
                    <a:pt x="6" y="95"/>
                    <a:pt x="9" y="94"/>
                  </a:cubicBezTo>
                  <a:cubicBezTo>
                    <a:pt x="16" y="93"/>
                    <a:pt x="25" y="91"/>
                    <a:pt x="36" y="88"/>
                  </a:cubicBezTo>
                  <a:cubicBezTo>
                    <a:pt x="48" y="85"/>
                    <a:pt x="61" y="81"/>
                    <a:pt x="76" y="77"/>
                  </a:cubicBezTo>
                  <a:cubicBezTo>
                    <a:pt x="91" y="72"/>
                    <a:pt x="107" y="66"/>
                    <a:pt x="123" y="60"/>
                  </a:cubicBezTo>
                  <a:cubicBezTo>
                    <a:pt x="140" y="53"/>
                    <a:pt x="155" y="46"/>
                    <a:pt x="169" y="39"/>
                  </a:cubicBezTo>
                  <a:cubicBezTo>
                    <a:pt x="183" y="32"/>
                    <a:pt x="195" y="26"/>
                    <a:pt x="205" y="20"/>
                  </a:cubicBezTo>
                  <a:cubicBezTo>
                    <a:pt x="215" y="14"/>
                    <a:pt x="223" y="9"/>
                    <a:pt x="229" y="5"/>
                  </a:cubicBezTo>
                  <a:cubicBezTo>
                    <a:pt x="231" y="4"/>
                    <a:pt x="234" y="3"/>
                    <a:pt x="235" y="2"/>
                  </a:cubicBezTo>
                  <a:cubicBezTo>
                    <a:pt x="237" y="1"/>
                    <a:pt x="237" y="0"/>
                    <a:pt x="23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45">
              <a:extLst>
                <a:ext uri="{FF2B5EF4-FFF2-40B4-BE49-F238E27FC236}">
                  <a16:creationId xmlns:a16="http://schemas.microsoft.com/office/drawing/2014/main" id="{62687005-82AC-45FF-B4CA-A4D2DEA3A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1" y="3639"/>
              <a:ext cx="188" cy="437"/>
            </a:xfrm>
            <a:custGeom>
              <a:avLst/>
              <a:gdLst>
                <a:gd name="T0" fmla="*/ 79 w 79"/>
                <a:gd name="T1" fmla="*/ 0 h 184"/>
                <a:gd name="T2" fmla="*/ 77 w 79"/>
                <a:gd name="T3" fmla="*/ 0 h 184"/>
                <a:gd name="T4" fmla="*/ 70 w 79"/>
                <a:gd name="T5" fmla="*/ 1 h 184"/>
                <a:gd name="T6" fmla="*/ 45 w 79"/>
                <a:gd name="T7" fmla="*/ 4 h 184"/>
                <a:gd name="T8" fmla="*/ 29 w 79"/>
                <a:gd name="T9" fmla="*/ 10 h 184"/>
                <a:gd name="T10" fmla="*/ 15 w 79"/>
                <a:gd name="T11" fmla="*/ 23 h 184"/>
                <a:gd name="T12" fmla="*/ 7 w 79"/>
                <a:gd name="T13" fmla="*/ 43 h 184"/>
                <a:gd name="T14" fmla="*/ 4 w 79"/>
                <a:gd name="T15" fmla="*/ 66 h 184"/>
                <a:gd name="T16" fmla="*/ 2 w 79"/>
                <a:gd name="T17" fmla="*/ 149 h 184"/>
                <a:gd name="T18" fmla="*/ 1 w 79"/>
                <a:gd name="T19" fmla="*/ 175 h 184"/>
                <a:gd name="T20" fmla="*/ 1 w 79"/>
                <a:gd name="T21" fmla="*/ 182 h 184"/>
                <a:gd name="T22" fmla="*/ 0 w 79"/>
                <a:gd name="T23" fmla="*/ 184 h 184"/>
                <a:gd name="T24" fmla="*/ 0 w 79"/>
                <a:gd name="T25" fmla="*/ 182 h 184"/>
                <a:gd name="T26" fmla="*/ 0 w 79"/>
                <a:gd name="T27" fmla="*/ 175 h 184"/>
                <a:gd name="T28" fmla="*/ 0 w 79"/>
                <a:gd name="T29" fmla="*/ 149 h 184"/>
                <a:gd name="T30" fmla="*/ 2 w 79"/>
                <a:gd name="T31" fmla="*/ 66 h 184"/>
                <a:gd name="T32" fmla="*/ 5 w 79"/>
                <a:gd name="T33" fmla="*/ 42 h 184"/>
                <a:gd name="T34" fmla="*/ 13 w 79"/>
                <a:gd name="T35" fmla="*/ 22 h 184"/>
                <a:gd name="T36" fmla="*/ 28 w 79"/>
                <a:gd name="T37" fmla="*/ 8 h 184"/>
                <a:gd name="T38" fmla="*/ 45 w 79"/>
                <a:gd name="T39" fmla="*/ 3 h 184"/>
                <a:gd name="T40" fmla="*/ 70 w 79"/>
                <a:gd name="T41" fmla="*/ 0 h 184"/>
                <a:gd name="T42" fmla="*/ 77 w 79"/>
                <a:gd name="T43" fmla="*/ 0 h 184"/>
                <a:gd name="T44" fmla="*/ 79 w 79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9" h="184">
                  <a:moveTo>
                    <a:pt x="79" y="0"/>
                  </a:moveTo>
                  <a:cubicBezTo>
                    <a:pt x="79" y="0"/>
                    <a:pt x="79" y="0"/>
                    <a:pt x="77" y="0"/>
                  </a:cubicBezTo>
                  <a:cubicBezTo>
                    <a:pt x="75" y="1"/>
                    <a:pt x="73" y="1"/>
                    <a:pt x="70" y="1"/>
                  </a:cubicBezTo>
                  <a:cubicBezTo>
                    <a:pt x="64" y="1"/>
                    <a:pt x="56" y="2"/>
                    <a:pt x="45" y="4"/>
                  </a:cubicBezTo>
                  <a:cubicBezTo>
                    <a:pt x="40" y="5"/>
                    <a:pt x="35" y="7"/>
                    <a:pt x="29" y="10"/>
                  </a:cubicBezTo>
                  <a:cubicBezTo>
                    <a:pt x="24" y="13"/>
                    <a:pt x="18" y="17"/>
                    <a:pt x="15" y="23"/>
                  </a:cubicBezTo>
                  <a:cubicBezTo>
                    <a:pt x="11" y="28"/>
                    <a:pt x="8" y="35"/>
                    <a:pt x="7" y="43"/>
                  </a:cubicBezTo>
                  <a:cubicBezTo>
                    <a:pt x="5" y="50"/>
                    <a:pt x="5" y="58"/>
                    <a:pt x="4" y="66"/>
                  </a:cubicBezTo>
                  <a:cubicBezTo>
                    <a:pt x="3" y="99"/>
                    <a:pt x="3" y="128"/>
                    <a:pt x="2" y="149"/>
                  </a:cubicBezTo>
                  <a:cubicBezTo>
                    <a:pt x="1" y="160"/>
                    <a:pt x="1" y="168"/>
                    <a:pt x="1" y="175"/>
                  </a:cubicBezTo>
                  <a:cubicBezTo>
                    <a:pt x="1" y="178"/>
                    <a:pt x="1" y="180"/>
                    <a:pt x="1" y="182"/>
                  </a:cubicBezTo>
                  <a:cubicBezTo>
                    <a:pt x="0" y="183"/>
                    <a:pt x="0" y="184"/>
                    <a:pt x="0" y="184"/>
                  </a:cubicBezTo>
                  <a:cubicBezTo>
                    <a:pt x="0" y="184"/>
                    <a:pt x="0" y="183"/>
                    <a:pt x="0" y="182"/>
                  </a:cubicBezTo>
                  <a:cubicBezTo>
                    <a:pt x="0" y="180"/>
                    <a:pt x="0" y="177"/>
                    <a:pt x="0" y="175"/>
                  </a:cubicBezTo>
                  <a:cubicBezTo>
                    <a:pt x="0" y="168"/>
                    <a:pt x="0" y="160"/>
                    <a:pt x="0" y="149"/>
                  </a:cubicBezTo>
                  <a:cubicBezTo>
                    <a:pt x="1" y="128"/>
                    <a:pt x="2" y="99"/>
                    <a:pt x="2" y="66"/>
                  </a:cubicBezTo>
                  <a:cubicBezTo>
                    <a:pt x="3" y="58"/>
                    <a:pt x="3" y="50"/>
                    <a:pt x="5" y="42"/>
                  </a:cubicBezTo>
                  <a:cubicBezTo>
                    <a:pt x="6" y="35"/>
                    <a:pt x="9" y="28"/>
                    <a:pt x="13" y="22"/>
                  </a:cubicBezTo>
                  <a:cubicBezTo>
                    <a:pt x="17" y="16"/>
                    <a:pt x="23" y="11"/>
                    <a:pt x="28" y="8"/>
                  </a:cubicBezTo>
                  <a:cubicBezTo>
                    <a:pt x="34" y="6"/>
                    <a:pt x="40" y="4"/>
                    <a:pt x="45" y="3"/>
                  </a:cubicBezTo>
                  <a:cubicBezTo>
                    <a:pt x="55" y="1"/>
                    <a:pt x="64" y="0"/>
                    <a:pt x="70" y="0"/>
                  </a:cubicBezTo>
                  <a:cubicBezTo>
                    <a:pt x="73" y="0"/>
                    <a:pt x="75" y="0"/>
                    <a:pt x="77" y="0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46">
              <a:extLst>
                <a:ext uri="{FF2B5EF4-FFF2-40B4-BE49-F238E27FC236}">
                  <a16:creationId xmlns:a16="http://schemas.microsoft.com/office/drawing/2014/main" id="{97C6CC9A-6CD7-4E46-B6F4-752389038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" y="2725"/>
              <a:ext cx="334" cy="596"/>
            </a:xfrm>
            <a:custGeom>
              <a:avLst/>
              <a:gdLst>
                <a:gd name="T0" fmla="*/ 38 w 141"/>
                <a:gd name="T1" fmla="*/ 251 h 251"/>
                <a:gd name="T2" fmla="*/ 141 w 141"/>
                <a:gd name="T3" fmla="*/ 250 h 251"/>
                <a:gd name="T4" fmla="*/ 129 w 141"/>
                <a:gd name="T5" fmla="*/ 162 h 251"/>
                <a:gd name="T6" fmla="*/ 137 w 141"/>
                <a:gd name="T7" fmla="*/ 122 h 251"/>
                <a:gd name="T8" fmla="*/ 139 w 141"/>
                <a:gd name="T9" fmla="*/ 19 h 251"/>
                <a:gd name="T10" fmla="*/ 6 w 141"/>
                <a:gd name="T11" fmla="*/ 36 h 251"/>
                <a:gd name="T12" fmla="*/ 0 w 141"/>
                <a:gd name="T13" fmla="*/ 40 h 251"/>
                <a:gd name="T14" fmla="*/ 38 w 141"/>
                <a:gd name="T15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251">
                  <a:moveTo>
                    <a:pt x="38" y="251"/>
                  </a:moveTo>
                  <a:cubicBezTo>
                    <a:pt x="141" y="250"/>
                    <a:pt x="141" y="250"/>
                    <a:pt x="141" y="250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29" y="162"/>
                    <a:pt x="136" y="160"/>
                    <a:pt x="137" y="122"/>
                  </a:cubicBezTo>
                  <a:cubicBezTo>
                    <a:pt x="137" y="84"/>
                    <a:pt x="139" y="19"/>
                    <a:pt x="139" y="19"/>
                  </a:cubicBezTo>
                  <a:cubicBezTo>
                    <a:pt x="95" y="0"/>
                    <a:pt x="44" y="6"/>
                    <a:pt x="6" y="3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38" y="251"/>
                    <a:pt x="38" y="251"/>
                    <a:pt x="38" y="251"/>
                  </a:cubicBezTo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47">
              <a:extLst>
                <a:ext uri="{FF2B5EF4-FFF2-40B4-BE49-F238E27FC236}">
                  <a16:creationId xmlns:a16="http://schemas.microsoft.com/office/drawing/2014/main" id="{CAE37302-9DFD-4E0E-A96A-0614738AB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" y="2912"/>
              <a:ext cx="64" cy="126"/>
            </a:xfrm>
            <a:custGeom>
              <a:avLst/>
              <a:gdLst>
                <a:gd name="T0" fmla="*/ 26 w 27"/>
                <a:gd name="T1" fmla="*/ 8 h 53"/>
                <a:gd name="T2" fmla="*/ 0 w 27"/>
                <a:gd name="T3" fmla="*/ 26 h 53"/>
                <a:gd name="T4" fmla="*/ 27 w 27"/>
                <a:gd name="T5" fmla="*/ 46 h 53"/>
                <a:gd name="T6" fmla="*/ 26 w 27"/>
                <a:gd name="T7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53">
                  <a:moveTo>
                    <a:pt x="26" y="8"/>
                  </a:moveTo>
                  <a:cubicBezTo>
                    <a:pt x="25" y="8"/>
                    <a:pt x="0" y="0"/>
                    <a:pt x="0" y="26"/>
                  </a:cubicBezTo>
                  <a:cubicBezTo>
                    <a:pt x="1" y="53"/>
                    <a:pt x="27" y="46"/>
                    <a:pt x="27" y="46"/>
                  </a:cubicBezTo>
                  <a:cubicBezTo>
                    <a:pt x="27" y="45"/>
                    <a:pt x="26" y="8"/>
                    <a:pt x="26" y="8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48">
              <a:extLst>
                <a:ext uri="{FF2B5EF4-FFF2-40B4-BE49-F238E27FC236}">
                  <a16:creationId xmlns:a16="http://schemas.microsoft.com/office/drawing/2014/main" id="{42A119B2-DB70-4C47-B33A-5124FF84D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" y="2903"/>
              <a:ext cx="66" cy="123"/>
            </a:xfrm>
            <a:custGeom>
              <a:avLst/>
              <a:gdLst>
                <a:gd name="T0" fmla="*/ 4 w 28"/>
                <a:gd name="T1" fmla="*/ 7 h 52"/>
                <a:gd name="T2" fmla="*/ 27 w 28"/>
                <a:gd name="T3" fmla="*/ 26 h 52"/>
                <a:gd name="T4" fmla="*/ 0 w 28"/>
                <a:gd name="T5" fmla="*/ 45 h 52"/>
                <a:gd name="T6" fmla="*/ 4 w 28"/>
                <a:gd name="T7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2">
                  <a:moveTo>
                    <a:pt x="4" y="7"/>
                  </a:moveTo>
                  <a:cubicBezTo>
                    <a:pt x="4" y="6"/>
                    <a:pt x="28" y="0"/>
                    <a:pt x="27" y="26"/>
                  </a:cubicBezTo>
                  <a:cubicBezTo>
                    <a:pt x="26" y="52"/>
                    <a:pt x="0" y="46"/>
                    <a:pt x="0" y="45"/>
                  </a:cubicBezTo>
                  <a:cubicBezTo>
                    <a:pt x="0" y="45"/>
                    <a:pt x="4" y="7"/>
                    <a:pt x="4" y="7"/>
                  </a:cubicBez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49">
              <a:extLst>
                <a:ext uri="{FF2B5EF4-FFF2-40B4-BE49-F238E27FC236}">
                  <a16:creationId xmlns:a16="http://schemas.microsoft.com/office/drawing/2014/main" id="{D90FEA2B-C357-48D4-B851-48FD5C026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2658"/>
              <a:ext cx="408" cy="413"/>
            </a:xfrm>
            <a:custGeom>
              <a:avLst/>
              <a:gdLst>
                <a:gd name="T0" fmla="*/ 172 w 172"/>
                <a:gd name="T1" fmla="*/ 34 h 174"/>
                <a:gd name="T2" fmla="*/ 167 w 172"/>
                <a:gd name="T3" fmla="*/ 21 h 174"/>
                <a:gd name="T4" fmla="*/ 154 w 172"/>
                <a:gd name="T5" fmla="*/ 22 h 174"/>
                <a:gd name="T6" fmla="*/ 144 w 172"/>
                <a:gd name="T7" fmla="*/ 8 h 174"/>
                <a:gd name="T8" fmla="*/ 126 w 172"/>
                <a:gd name="T9" fmla="*/ 14 h 174"/>
                <a:gd name="T10" fmla="*/ 108 w 172"/>
                <a:gd name="T11" fmla="*/ 12 h 174"/>
                <a:gd name="T12" fmla="*/ 92 w 172"/>
                <a:gd name="T13" fmla="*/ 5 h 174"/>
                <a:gd name="T14" fmla="*/ 54 w 172"/>
                <a:gd name="T15" fmla="*/ 6 h 174"/>
                <a:gd name="T16" fmla="*/ 29 w 172"/>
                <a:gd name="T17" fmla="*/ 33 h 174"/>
                <a:gd name="T18" fmla="*/ 6 w 172"/>
                <a:gd name="T19" fmla="*/ 42 h 174"/>
                <a:gd name="T20" fmla="*/ 1 w 172"/>
                <a:gd name="T21" fmla="*/ 67 h 174"/>
                <a:gd name="T22" fmla="*/ 5 w 172"/>
                <a:gd name="T23" fmla="*/ 84 h 174"/>
                <a:gd name="T24" fmla="*/ 5 w 172"/>
                <a:gd name="T25" fmla="*/ 86 h 174"/>
                <a:gd name="T26" fmla="*/ 25 w 172"/>
                <a:gd name="T27" fmla="*/ 173 h 174"/>
                <a:gd name="T28" fmla="*/ 29 w 172"/>
                <a:gd name="T29" fmla="*/ 102 h 174"/>
                <a:gd name="T30" fmla="*/ 45 w 172"/>
                <a:gd name="T31" fmla="*/ 62 h 174"/>
                <a:gd name="T32" fmla="*/ 100 w 172"/>
                <a:gd name="T33" fmla="*/ 68 h 174"/>
                <a:gd name="T34" fmla="*/ 148 w 172"/>
                <a:gd name="T35" fmla="*/ 73 h 174"/>
                <a:gd name="T36" fmla="*/ 149 w 172"/>
                <a:gd name="T37" fmla="*/ 73 h 174"/>
                <a:gd name="T38" fmla="*/ 149 w 172"/>
                <a:gd name="T39" fmla="*/ 73 h 174"/>
                <a:gd name="T40" fmla="*/ 150 w 172"/>
                <a:gd name="T41" fmla="*/ 73 h 174"/>
                <a:gd name="T42" fmla="*/ 160 w 172"/>
                <a:gd name="T43" fmla="*/ 68 h 174"/>
                <a:gd name="T44" fmla="*/ 168 w 172"/>
                <a:gd name="T45" fmla="*/ 59 h 174"/>
                <a:gd name="T46" fmla="*/ 166 w 172"/>
                <a:gd name="T47" fmla="*/ 47 h 174"/>
                <a:gd name="T48" fmla="*/ 172 w 172"/>
                <a:gd name="T49" fmla="*/ 3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2" h="174">
                  <a:moveTo>
                    <a:pt x="172" y="34"/>
                  </a:moveTo>
                  <a:cubicBezTo>
                    <a:pt x="172" y="29"/>
                    <a:pt x="171" y="24"/>
                    <a:pt x="167" y="21"/>
                  </a:cubicBezTo>
                  <a:cubicBezTo>
                    <a:pt x="163" y="19"/>
                    <a:pt x="157" y="19"/>
                    <a:pt x="154" y="22"/>
                  </a:cubicBezTo>
                  <a:cubicBezTo>
                    <a:pt x="156" y="16"/>
                    <a:pt x="150" y="9"/>
                    <a:pt x="144" y="8"/>
                  </a:cubicBezTo>
                  <a:cubicBezTo>
                    <a:pt x="137" y="8"/>
                    <a:pt x="132" y="13"/>
                    <a:pt x="126" y="14"/>
                  </a:cubicBezTo>
                  <a:cubicBezTo>
                    <a:pt x="120" y="16"/>
                    <a:pt x="114" y="14"/>
                    <a:pt x="108" y="12"/>
                  </a:cubicBezTo>
                  <a:cubicBezTo>
                    <a:pt x="103" y="10"/>
                    <a:pt x="97" y="7"/>
                    <a:pt x="92" y="5"/>
                  </a:cubicBezTo>
                  <a:cubicBezTo>
                    <a:pt x="80" y="0"/>
                    <a:pt x="66" y="1"/>
                    <a:pt x="54" y="6"/>
                  </a:cubicBezTo>
                  <a:cubicBezTo>
                    <a:pt x="43" y="11"/>
                    <a:pt x="34" y="21"/>
                    <a:pt x="29" y="33"/>
                  </a:cubicBezTo>
                  <a:cubicBezTo>
                    <a:pt x="21" y="31"/>
                    <a:pt x="11" y="35"/>
                    <a:pt x="6" y="42"/>
                  </a:cubicBezTo>
                  <a:cubicBezTo>
                    <a:pt x="1" y="49"/>
                    <a:pt x="0" y="58"/>
                    <a:pt x="1" y="67"/>
                  </a:cubicBezTo>
                  <a:cubicBezTo>
                    <a:pt x="1" y="73"/>
                    <a:pt x="3" y="79"/>
                    <a:pt x="5" y="84"/>
                  </a:cubicBezTo>
                  <a:cubicBezTo>
                    <a:pt x="5" y="85"/>
                    <a:pt x="5" y="85"/>
                    <a:pt x="5" y="86"/>
                  </a:cubicBezTo>
                  <a:cubicBezTo>
                    <a:pt x="5" y="107"/>
                    <a:pt x="16" y="173"/>
                    <a:pt x="25" y="173"/>
                  </a:cubicBezTo>
                  <a:cubicBezTo>
                    <a:pt x="41" y="174"/>
                    <a:pt x="29" y="102"/>
                    <a:pt x="29" y="102"/>
                  </a:cubicBezTo>
                  <a:cubicBezTo>
                    <a:pt x="48" y="95"/>
                    <a:pt x="41" y="66"/>
                    <a:pt x="45" y="62"/>
                  </a:cubicBezTo>
                  <a:cubicBezTo>
                    <a:pt x="50" y="58"/>
                    <a:pt x="60" y="47"/>
                    <a:pt x="100" y="68"/>
                  </a:cubicBezTo>
                  <a:cubicBezTo>
                    <a:pt x="116" y="76"/>
                    <a:pt x="137" y="76"/>
                    <a:pt x="148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0" y="73"/>
                    <a:pt x="150" y="73"/>
                    <a:pt x="150" y="73"/>
                  </a:cubicBezTo>
                  <a:cubicBezTo>
                    <a:pt x="153" y="72"/>
                    <a:pt x="157" y="70"/>
                    <a:pt x="160" y="68"/>
                  </a:cubicBezTo>
                  <a:cubicBezTo>
                    <a:pt x="164" y="66"/>
                    <a:pt x="167" y="63"/>
                    <a:pt x="168" y="59"/>
                  </a:cubicBezTo>
                  <a:cubicBezTo>
                    <a:pt x="170" y="55"/>
                    <a:pt x="169" y="50"/>
                    <a:pt x="166" y="47"/>
                  </a:cubicBezTo>
                  <a:cubicBezTo>
                    <a:pt x="169" y="43"/>
                    <a:pt x="172" y="39"/>
                    <a:pt x="172" y="3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50">
              <a:extLst>
                <a:ext uri="{FF2B5EF4-FFF2-40B4-BE49-F238E27FC236}">
                  <a16:creationId xmlns:a16="http://schemas.microsoft.com/office/drawing/2014/main" id="{475E332C-A22D-4831-875B-0D8B358E3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" y="2737"/>
              <a:ext cx="334" cy="453"/>
            </a:xfrm>
            <a:custGeom>
              <a:avLst/>
              <a:gdLst>
                <a:gd name="T0" fmla="*/ 0 w 141"/>
                <a:gd name="T1" fmla="*/ 79 h 191"/>
                <a:gd name="T2" fmla="*/ 7 w 141"/>
                <a:gd name="T3" fmla="*/ 127 h 191"/>
                <a:gd name="T4" fmla="*/ 45 w 141"/>
                <a:gd name="T5" fmla="*/ 180 h 191"/>
                <a:gd name="T6" fmla="*/ 112 w 141"/>
                <a:gd name="T7" fmla="*/ 175 h 191"/>
                <a:gd name="T8" fmla="*/ 135 w 141"/>
                <a:gd name="T9" fmla="*/ 135 h 191"/>
                <a:gd name="T10" fmla="*/ 139 w 141"/>
                <a:gd name="T11" fmla="*/ 73 h 191"/>
                <a:gd name="T12" fmla="*/ 141 w 141"/>
                <a:gd name="T13" fmla="*/ 15 h 191"/>
                <a:gd name="T14" fmla="*/ 56 w 141"/>
                <a:gd name="T15" fmla="*/ 0 h 191"/>
                <a:gd name="T16" fmla="*/ 8 w 141"/>
                <a:gd name="T17" fmla="*/ 28 h 191"/>
                <a:gd name="T18" fmla="*/ 0 w 141"/>
                <a:gd name="T19" fmla="*/ 7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91">
                  <a:moveTo>
                    <a:pt x="0" y="79"/>
                  </a:moveTo>
                  <a:cubicBezTo>
                    <a:pt x="4" y="101"/>
                    <a:pt x="4" y="113"/>
                    <a:pt x="7" y="127"/>
                  </a:cubicBezTo>
                  <a:cubicBezTo>
                    <a:pt x="13" y="150"/>
                    <a:pt x="24" y="168"/>
                    <a:pt x="45" y="180"/>
                  </a:cubicBezTo>
                  <a:cubicBezTo>
                    <a:pt x="66" y="191"/>
                    <a:pt x="94" y="191"/>
                    <a:pt x="112" y="175"/>
                  </a:cubicBezTo>
                  <a:cubicBezTo>
                    <a:pt x="125" y="164"/>
                    <a:pt x="133" y="152"/>
                    <a:pt x="135" y="135"/>
                  </a:cubicBezTo>
                  <a:cubicBezTo>
                    <a:pt x="137" y="119"/>
                    <a:pt x="139" y="90"/>
                    <a:pt x="139" y="73"/>
                  </a:cubicBezTo>
                  <a:cubicBezTo>
                    <a:pt x="139" y="44"/>
                    <a:pt x="141" y="15"/>
                    <a:pt x="141" y="15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51">
              <a:extLst>
                <a:ext uri="{FF2B5EF4-FFF2-40B4-BE49-F238E27FC236}">
                  <a16:creationId xmlns:a16="http://schemas.microsoft.com/office/drawing/2014/main" id="{7915C42F-F70B-4598-83EB-2036FE19D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3185"/>
              <a:ext cx="69" cy="15"/>
            </a:xfrm>
            <a:custGeom>
              <a:avLst/>
              <a:gdLst>
                <a:gd name="T0" fmla="*/ 29 w 29"/>
                <a:gd name="T1" fmla="*/ 4 h 6"/>
                <a:gd name="T2" fmla="*/ 14 w 29"/>
                <a:gd name="T3" fmla="*/ 5 h 6"/>
                <a:gd name="T4" fmla="*/ 0 w 29"/>
                <a:gd name="T5" fmla="*/ 1 h 6"/>
                <a:gd name="T6" fmla="*/ 15 w 29"/>
                <a:gd name="T7" fmla="*/ 3 h 6"/>
                <a:gd name="T8" fmla="*/ 29 w 29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6">
                  <a:moveTo>
                    <a:pt x="29" y="4"/>
                  </a:moveTo>
                  <a:cubicBezTo>
                    <a:pt x="29" y="4"/>
                    <a:pt x="23" y="6"/>
                    <a:pt x="14" y="5"/>
                  </a:cubicBezTo>
                  <a:cubicBezTo>
                    <a:pt x="6" y="4"/>
                    <a:pt x="0" y="1"/>
                    <a:pt x="0" y="1"/>
                  </a:cubicBezTo>
                  <a:cubicBezTo>
                    <a:pt x="0" y="0"/>
                    <a:pt x="7" y="2"/>
                    <a:pt x="15" y="3"/>
                  </a:cubicBezTo>
                  <a:cubicBezTo>
                    <a:pt x="23" y="4"/>
                    <a:pt x="29" y="3"/>
                    <a:pt x="29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52">
              <a:extLst>
                <a:ext uri="{FF2B5EF4-FFF2-40B4-BE49-F238E27FC236}">
                  <a16:creationId xmlns:a16="http://schemas.microsoft.com/office/drawing/2014/main" id="{698884DA-8C0E-453D-A09D-F9DA9FC91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" y="2677"/>
              <a:ext cx="197" cy="72"/>
            </a:xfrm>
            <a:custGeom>
              <a:avLst/>
              <a:gdLst>
                <a:gd name="T0" fmla="*/ 83 w 83"/>
                <a:gd name="T1" fmla="*/ 21 h 30"/>
                <a:gd name="T2" fmla="*/ 79 w 83"/>
                <a:gd name="T3" fmla="*/ 22 h 30"/>
                <a:gd name="T4" fmla="*/ 69 w 83"/>
                <a:gd name="T5" fmla="*/ 19 h 30"/>
                <a:gd name="T6" fmla="*/ 55 w 83"/>
                <a:gd name="T7" fmla="*/ 10 h 30"/>
                <a:gd name="T8" fmla="*/ 37 w 83"/>
                <a:gd name="T9" fmla="*/ 1 h 30"/>
                <a:gd name="T10" fmla="*/ 17 w 83"/>
                <a:gd name="T11" fmla="*/ 5 h 30"/>
                <a:gd name="T12" fmla="*/ 5 w 83"/>
                <a:gd name="T13" fmla="*/ 16 h 30"/>
                <a:gd name="T14" fmla="*/ 0 w 83"/>
                <a:gd name="T15" fmla="*/ 30 h 30"/>
                <a:gd name="T16" fmla="*/ 1 w 83"/>
                <a:gd name="T17" fmla="*/ 26 h 30"/>
                <a:gd name="T18" fmla="*/ 5 w 83"/>
                <a:gd name="T19" fmla="*/ 16 h 30"/>
                <a:gd name="T20" fmla="*/ 17 w 83"/>
                <a:gd name="T21" fmla="*/ 4 h 30"/>
                <a:gd name="T22" fmla="*/ 37 w 83"/>
                <a:gd name="T23" fmla="*/ 0 h 30"/>
                <a:gd name="T24" fmla="*/ 55 w 83"/>
                <a:gd name="T25" fmla="*/ 9 h 30"/>
                <a:gd name="T26" fmla="*/ 69 w 83"/>
                <a:gd name="T27" fmla="*/ 18 h 30"/>
                <a:gd name="T28" fmla="*/ 79 w 83"/>
                <a:gd name="T29" fmla="*/ 21 h 30"/>
                <a:gd name="T30" fmla="*/ 83 w 83"/>
                <a:gd name="T31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30">
                  <a:moveTo>
                    <a:pt x="83" y="21"/>
                  </a:moveTo>
                  <a:cubicBezTo>
                    <a:pt x="83" y="21"/>
                    <a:pt x="82" y="21"/>
                    <a:pt x="79" y="22"/>
                  </a:cubicBezTo>
                  <a:cubicBezTo>
                    <a:pt x="77" y="22"/>
                    <a:pt x="73" y="21"/>
                    <a:pt x="69" y="19"/>
                  </a:cubicBezTo>
                  <a:cubicBezTo>
                    <a:pt x="64" y="17"/>
                    <a:pt x="60" y="13"/>
                    <a:pt x="55" y="10"/>
                  </a:cubicBezTo>
                  <a:cubicBezTo>
                    <a:pt x="50" y="6"/>
                    <a:pt x="44" y="2"/>
                    <a:pt x="37" y="1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2" y="8"/>
                    <a:pt x="8" y="12"/>
                    <a:pt x="5" y="16"/>
                  </a:cubicBezTo>
                  <a:cubicBezTo>
                    <a:pt x="1" y="24"/>
                    <a:pt x="1" y="30"/>
                    <a:pt x="0" y="30"/>
                  </a:cubicBezTo>
                  <a:cubicBezTo>
                    <a:pt x="0" y="30"/>
                    <a:pt x="0" y="29"/>
                    <a:pt x="1" y="26"/>
                  </a:cubicBezTo>
                  <a:cubicBezTo>
                    <a:pt x="1" y="23"/>
                    <a:pt x="2" y="20"/>
                    <a:pt x="5" y="16"/>
                  </a:cubicBezTo>
                  <a:cubicBezTo>
                    <a:pt x="7" y="11"/>
                    <a:pt x="11" y="7"/>
                    <a:pt x="17" y="4"/>
                  </a:cubicBezTo>
                  <a:cubicBezTo>
                    <a:pt x="22" y="1"/>
                    <a:pt x="30" y="0"/>
                    <a:pt x="37" y="0"/>
                  </a:cubicBezTo>
                  <a:cubicBezTo>
                    <a:pt x="44" y="1"/>
                    <a:pt x="50" y="5"/>
                    <a:pt x="55" y="9"/>
                  </a:cubicBezTo>
                  <a:cubicBezTo>
                    <a:pt x="60" y="13"/>
                    <a:pt x="65" y="16"/>
                    <a:pt x="69" y="18"/>
                  </a:cubicBezTo>
                  <a:cubicBezTo>
                    <a:pt x="73" y="20"/>
                    <a:pt x="77" y="21"/>
                    <a:pt x="79" y="21"/>
                  </a:cubicBezTo>
                  <a:cubicBezTo>
                    <a:pt x="82" y="21"/>
                    <a:pt x="83" y="21"/>
                    <a:pt x="83" y="2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53">
              <a:extLst>
                <a:ext uri="{FF2B5EF4-FFF2-40B4-BE49-F238E27FC236}">
                  <a16:creationId xmlns:a16="http://schemas.microsoft.com/office/drawing/2014/main" id="{50392AD7-949A-410B-9403-545F18286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" y="2741"/>
              <a:ext cx="73" cy="57"/>
            </a:xfrm>
            <a:custGeom>
              <a:avLst/>
              <a:gdLst>
                <a:gd name="T0" fmla="*/ 31 w 31"/>
                <a:gd name="T1" fmla="*/ 5 h 24"/>
                <a:gd name="T2" fmla="*/ 24 w 31"/>
                <a:gd name="T3" fmla="*/ 2 h 24"/>
                <a:gd name="T4" fmla="*/ 9 w 31"/>
                <a:gd name="T5" fmla="*/ 5 h 24"/>
                <a:gd name="T6" fmla="*/ 1 w 31"/>
                <a:gd name="T7" fmla="*/ 17 h 24"/>
                <a:gd name="T8" fmla="*/ 0 w 31"/>
                <a:gd name="T9" fmla="*/ 24 h 24"/>
                <a:gd name="T10" fmla="*/ 0 w 31"/>
                <a:gd name="T11" fmla="*/ 22 h 24"/>
                <a:gd name="T12" fmla="*/ 0 w 31"/>
                <a:gd name="T13" fmla="*/ 17 h 24"/>
                <a:gd name="T14" fmla="*/ 9 w 31"/>
                <a:gd name="T15" fmla="*/ 4 h 24"/>
                <a:gd name="T16" fmla="*/ 25 w 31"/>
                <a:gd name="T17" fmla="*/ 2 h 24"/>
                <a:gd name="T18" fmla="*/ 29 w 31"/>
                <a:gd name="T19" fmla="*/ 3 h 24"/>
                <a:gd name="T20" fmla="*/ 31 w 31"/>
                <a:gd name="T2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24">
                  <a:moveTo>
                    <a:pt x="31" y="5"/>
                  </a:moveTo>
                  <a:cubicBezTo>
                    <a:pt x="31" y="5"/>
                    <a:pt x="28" y="3"/>
                    <a:pt x="24" y="2"/>
                  </a:cubicBezTo>
                  <a:cubicBezTo>
                    <a:pt x="21" y="1"/>
                    <a:pt x="15" y="1"/>
                    <a:pt x="9" y="5"/>
                  </a:cubicBezTo>
                  <a:cubicBezTo>
                    <a:pt x="4" y="8"/>
                    <a:pt x="1" y="13"/>
                    <a:pt x="1" y="17"/>
                  </a:cubicBezTo>
                  <a:cubicBezTo>
                    <a:pt x="0" y="21"/>
                    <a:pt x="0" y="24"/>
                    <a:pt x="0" y="24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1"/>
                    <a:pt x="0" y="19"/>
                    <a:pt x="0" y="17"/>
                  </a:cubicBezTo>
                  <a:cubicBezTo>
                    <a:pt x="1" y="13"/>
                    <a:pt x="3" y="7"/>
                    <a:pt x="9" y="4"/>
                  </a:cubicBezTo>
                  <a:cubicBezTo>
                    <a:pt x="14" y="0"/>
                    <a:pt x="21" y="0"/>
                    <a:pt x="25" y="2"/>
                  </a:cubicBezTo>
                  <a:cubicBezTo>
                    <a:pt x="27" y="2"/>
                    <a:pt x="28" y="3"/>
                    <a:pt x="29" y="3"/>
                  </a:cubicBezTo>
                  <a:cubicBezTo>
                    <a:pt x="30" y="4"/>
                    <a:pt x="31" y="5"/>
                    <a:pt x="31" y="5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54">
              <a:extLst>
                <a:ext uri="{FF2B5EF4-FFF2-40B4-BE49-F238E27FC236}">
                  <a16:creationId xmlns:a16="http://schemas.microsoft.com/office/drawing/2014/main" id="{B7435F90-172A-4526-A885-9368D5669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" y="2908"/>
              <a:ext cx="33" cy="66"/>
            </a:xfrm>
            <a:custGeom>
              <a:avLst/>
              <a:gdLst>
                <a:gd name="T0" fmla="*/ 13 w 14"/>
                <a:gd name="T1" fmla="*/ 28 h 28"/>
                <a:gd name="T2" fmla="*/ 6 w 14"/>
                <a:gd name="T3" fmla="*/ 14 h 28"/>
                <a:gd name="T4" fmla="*/ 1 w 14"/>
                <a:gd name="T5" fmla="*/ 0 h 28"/>
                <a:gd name="T6" fmla="*/ 8 w 14"/>
                <a:gd name="T7" fmla="*/ 13 h 28"/>
                <a:gd name="T8" fmla="*/ 13 w 14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8">
                  <a:moveTo>
                    <a:pt x="13" y="28"/>
                  </a:moveTo>
                  <a:cubicBezTo>
                    <a:pt x="12" y="28"/>
                    <a:pt x="9" y="22"/>
                    <a:pt x="6" y="14"/>
                  </a:cubicBezTo>
                  <a:cubicBezTo>
                    <a:pt x="3" y="7"/>
                    <a:pt x="0" y="0"/>
                    <a:pt x="1" y="0"/>
                  </a:cubicBezTo>
                  <a:cubicBezTo>
                    <a:pt x="2" y="0"/>
                    <a:pt x="5" y="6"/>
                    <a:pt x="8" y="13"/>
                  </a:cubicBezTo>
                  <a:cubicBezTo>
                    <a:pt x="11" y="21"/>
                    <a:pt x="14" y="27"/>
                    <a:pt x="13" y="2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55">
              <a:extLst>
                <a:ext uri="{FF2B5EF4-FFF2-40B4-BE49-F238E27FC236}">
                  <a16:creationId xmlns:a16="http://schemas.microsoft.com/office/drawing/2014/main" id="{C1BD86B7-7E25-4CAD-830A-4C9E9AC10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" y="2943"/>
              <a:ext cx="45" cy="67"/>
            </a:xfrm>
            <a:custGeom>
              <a:avLst/>
              <a:gdLst>
                <a:gd name="T0" fmla="*/ 18 w 19"/>
                <a:gd name="T1" fmla="*/ 28 h 28"/>
                <a:gd name="T2" fmla="*/ 6 w 19"/>
                <a:gd name="T3" fmla="*/ 16 h 28"/>
                <a:gd name="T4" fmla="*/ 0 w 19"/>
                <a:gd name="T5" fmla="*/ 0 h 28"/>
                <a:gd name="T6" fmla="*/ 8 w 19"/>
                <a:gd name="T7" fmla="*/ 14 h 28"/>
                <a:gd name="T8" fmla="*/ 18 w 19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8">
                  <a:moveTo>
                    <a:pt x="18" y="28"/>
                  </a:moveTo>
                  <a:cubicBezTo>
                    <a:pt x="18" y="28"/>
                    <a:pt x="12" y="24"/>
                    <a:pt x="6" y="16"/>
                  </a:cubicBezTo>
                  <a:cubicBezTo>
                    <a:pt x="1" y="8"/>
                    <a:pt x="0" y="0"/>
                    <a:pt x="0" y="0"/>
                  </a:cubicBezTo>
                  <a:cubicBezTo>
                    <a:pt x="1" y="0"/>
                    <a:pt x="3" y="7"/>
                    <a:pt x="8" y="14"/>
                  </a:cubicBezTo>
                  <a:cubicBezTo>
                    <a:pt x="13" y="22"/>
                    <a:pt x="19" y="27"/>
                    <a:pt x="18" y="2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56">
              <a:extLst>
                <a:ext uri="{FF2B5EF4-FFF2-40B4-BE49-F238E27FC236}">
                  <a16:creationId xmlns:a16="http://schemas.microsoft.com/office/drawing/2014/main" id="{EF232DC7-8A95-4A4E-9C22-85ED0D91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2984"/>
              <a:ext cx="45" cy="38"/>
            </a:xfrm>
            <a:custGeom>
              <a:avLst/>
              <a:gdLst>
                <a:gd name="T0" fmla="*/ 18 w 19"/>
                <a:gd name="T1" fmla="*/ 16 h 16"/>
                <a:gd name="T2" fmla="*/ 8 w 19"/>
                <a:gd name="T3" fmla="*/ 9 h 16"/>
                <a:gd name="T4" fmla="*/ 1 w 19"/>
                <a:gd name="T5" fmla="*/ 0 h 16"/>
                <a:gd name="T6" fmla="*/ 10 w 19"/>
                <a:gd name="T7" fmla="*/ 7 h 16"/>
                <a:gd name="T8" fmla="*/ 18 w 19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6">
                  <a:moveTo>
                    <a:pt x="18" y="16"/>
                  </a:moveTo>
                  <a:cubicBezTo>
                    <a:pt x="18" y="16"/>
                    <a:pt x="13" y="14"/>
                    <a:pt x="8" y="9"/>
                  </a:cubicBezTo>
                  <a:cubicBezTo>
                    <a:pt x="3" y="5"/>
                    <a:pt x="0" y="0"/>
                    <a:pt x="1" y="0"/>
                  </a:cubicBezTo>
                  <a:cubicBezTo>
                    <a:pt x="1" y="0"/>
                    <a:pt x="5" y="3"/>
                    <a:pt x="10" y="7"/>
                  </a:cubicBezTo>
                  <a:cubicBezTo>
                    <a:pt x="15" y="12"/>
                    <a:pt x="19" y="15"/>
                    <a:pt x="18" y="1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57">
              <a:extLst>
                <a:ext uri="{FF2B5EF4-FFF2-40B4-BE49-F238E27FC236}">
                  <a16:creationId xmlns:a16="http://schemas.microsoft.com/office/drawing/2014/main" id="{72350546-ECA7-4391-8BB5-C92FC12B8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936"/>
              <a:ext cx="26" cy="57"/>
            </a:xfrm>
            <a:custGeom>
              <a:avLst/>
              <a:gdLst>
                <a:gd name="T0" fmla="*/ 10 w 11"/>
                <a:gd name="T1" fmla="*/ 0 h 24"/>
                <a:gd name="T2" fmla="*/ 8 w 11"/>
                <a:gd name="T3" fmla="*/ 13 h 24"/>
                <a:gd name="T4" fmla="*/ 0 w 11"/>
                <a:gd name="T5" fmla="*/ 24 h 24"/>
                <a:gd name="T6" fmla="*/ 6 w 11"/>
                <a:gd name="T7" fmla="*/ 12 h 24"/>
                <a:gd name="T8" fmla="*/ 10 w 1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4">
                  <a:moveTo>
                    <a:pt x="10" y="0"/>
                  </a:moveTo>
                  <a:cubicBezTo>
                    <a:pt x="11" y="0"/>
                    <a:pt x="11" y="6"/>
                    <a:pt x="8" y="13"/>
                  </a:cubicBezTo>
                  <a:cubicBezTo>
                    <a:pt x="5" y="20"/>
                    <a:pt x="1" y="24"/>
                    <a:pt x="0" y="24"/>
                  </a:cubicBezTo>
                  <a:cubicBezTo>
                    <a:pt x="0" y="24"/>
                    <a:pt x="3" y="19"/>
                    <a:pt x="6" y="12"/>
                  </a:cubicBezTo>
                  <a:cubicBezTo>
                    <a:pt x="9" y="6"/>
                    <a:pt x="10" y="0"/>
                    <a:pt x="1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58">
              <a:extLst>
                <a:ext uri="{FF2B5EF4-FFF2-40B4-BE49-F238E27FC236}">
                  <a16:creationId xmlns:a16="http://schemas.microsoft.com/office/drawing/2014/main" id="{6FE1B691-B36D-4F3D-BC87-34FEF9F89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3" y="2886"/>
              <a:ext cx="26" cy="74"/>
            </a:xfrm>
            <a:custGeom>
              <a:avLst/>
              <a:gdLst>
                <a:gd name="T0" fmla="*/ 10 w 11"/>
                <a:gd name="T1" fmla="*/ 1 h 31"/>
                <a:gd name="T2" fmla="*/ 8 w 11"/>
                <a:gd name="T3" fmla="*/ 17 h 31"/>
                <a:gd name="T4" fmla="*/ 0 w 11"/>
                <a:gd name="T5" fmla="*/ 31 h 31"/>
                <a:gd name="T6" fmla="*/ 6 w 11"/>
                <a:gd name="T7" fmla="*/ 16 h 31"/>
                <a:gd name="T8" fmla="*/ 10 w 11"/>
                <a:gd name="T9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1">
                  <a:moveTo>
                    <a:pt x="10" y="1"/>
                  </a:moveTo>
                  <a:cubicBezTo>
                    <a:pt x="10" y="0"/>
                    <a:pt x="11" y="8"/>
                    <a:pt x="8" y="17"/>
                  </a:cubicBezTo>
                  <a:cubicBezTo>
                    <a:pt x="5" y="25"/>
                    <a:pt x="1" y="31"/>
                    <a:pt x="0" y="31"/>
                  </a:cubicBezTo>
                  <a:cubicBezTo>
                    <a:pt x="0" y="30"/>
                    <a:pt x="3" y="24"/>
                    <a:pt x="6" y="16"/>
                  </a:cubicBezTo>
                  <a:cubicBezTo>
                    <a:pt x="8" y="8"/>
                    <a:pt x="9" y="0"/>
                    <a:pt x="10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59">
              <a:extLst>
                <a:ext uri="{FF2B5EF4-FFF2-40B4-BE49-F238E27FC236}">
                  <a16:creationId xmlns:a16="http://schemas.microsoft.com/office/drawing/2014/main" id="{EE8E8C78-4DEB-44F8-8828-2FE42FE1B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" y="2722"/>
              <a:ext cx="237" cy="55"/>
            </a:xfrm>
            <a:custGeom>
              <a:avLst/>
              <a:gdLst>
                <a:gd name="T0" fmla="*/ 100 w 100"/>
                <a:gd name="T1" fmla="*/ 17 h 23"/>
                <a:gd name="T2" fmla="*/ 96 w 100"/>
                <a:gd name="T3" fmla="*/ 19 h 23"/>
                <a:gd name="T4" fmla="*/ 85 w 100"/>
                <a:gd name="T5" fmla="*/ 23 h 23"/>
                <a:gd name="T6" fmla="*/ 68 w 100"/>
                <a:gd name="T7" fmla="*/ 20 h 23"/>
                <a:gd name="T8" fmla="*/ 49 w 100"/>
                <a:gd name="T9" fmla="*/ 11 h 23"/>
                <a:gd name="T10" fmla="*/ 29 w 100"/>
                <a:gd name="T11" fmla="*/ 2 h 23"/>
                <a:gd name="T12" fmla="*/ 12 w 100"/>
                <a:gd name="T13" fmla="*/ 2 h 23"/>
                <a:gd name="T14" fmla="*/ 2 w 100"/>
                <a:gd name="T15" fmla="*/ 8 h 23"/>
                <a:gd name="T16" fmla="*/ 0 w 100"/>
                <a:gd name="T17" fmla="*/ 11 h 23"/>
                <a:gd name="T18" fmla="*/ 2 w 100"/>
                <a:gd name="T19" fmla="*/ 8 h 23"/>
                <a:gd name="T20" fmla="*/ 12 w 100"/>
                <a:gd name="T21" fmla="*/ 2 h 23"/>
                <a:gd name="T22" fmla="*/ 30 w 100"/>
                <a:gd name="T23" fmla="*/ 1 h 23"/>
                <a:gd name="T24" fmla="*/ 49 w 100"/>
                <a:gd name="T25" fmla="*/ 10 h 23"/>
                <a:gd name="T26" fmla="*/ 68 w 100"/>
                <a:gd name="T27" fmla="*/ 19 h 23"/>
                <a:gd name="T28" fmla="*/ 85 w 100"/>
                <a:gd name="T29" fmla="*/ 22 h 23"/>
                <a:gd name="T30" fmla="*/ 100 w 100"/>
                <a:gd name="T31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23">
                  <a:moveTo>
                    <a:pt x="100" y="17"/>
                  </a:moveTo>
                  <a:cubicBezTo>
                    <a:pt x="100" y="17"/>
                    <a:pt x="99" y="18"/>
                    <a:pt x="96" y="19"/>
                  </a:cubicBezTo>
                  <a:cubicBezTo>
                    <a:pt x="94" y="21"/>
                    <a:pt x="90" y="22"/>
                    <a:pt x="85" y="23"/>
                  </a:cubicBezTo>
                  <a:cubicBezTo>
                    <a:pt x="80" y="23"/>
                    <a:pt x="74" y="22"/>
                    <a:pt x="68" y="20"/>
                  </a:cubicBezTo>
                  <a:cubicBezTo>
                    <a:pt x="62" y="18"/>
                    <a:pt x="55" y="14"/>
                    <a:pt x="49" y="11"/>
                  </a:cubicBezTo>
                  <a:cubicBezTo>
                    <a:pt x="42" y="7"/>
                    <a:pt x="36" y="4"/>
                    <a:pt x="29" y="2"/>
                  </a:cubicBezTo>
                  <a:cubicBezTo>
                    <a:pt x="23" y="1"/>
                    <a:pt x="17" y="1"/>
                    <a:pt x="12" y="2"/>
                  </a:cubicBezTo>
                  <a:cubicBezTo>
                    <a:pt x="8" y="4"/>
                    <a:pt x="4" y="6"/>
                    <a:pt x="2" y="8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0"/>
                    <a:pt x="2" y="8"/>
                  </a:cubicBezTo>
                  <a:cubicBezTo>
                    <a:pt x="4" y="6"/>
                    <a:pt x="7" y="3"/>
                    <a:pt x="12" y="2"/>
                  </a:cubicBezTo>
                  <a:cubicBezTo>
                    <a:pt x="17" y="0"/>
                    <a:pt x="23" y="0"/>
                    <a:pt x="30" y="1"/>
                  </a:cubicBezTo>
                  <a:cubicBezTo>
                    <a:pt x="36" y="3"/>
                    <a:pt x="43" y="6"/>
                    <a:pt x="49" y="10"/>
                  </a:cubicBezTo>
                  <a:cubicBezTo>
                    <a:pt x="56" y="13"/>
                    <a:pt x="62" y="17"/>
                    <a:pt x="68" y="19"/>
                  </a:cubicBezTo>
                  <a:cubicBezTo>
                    <a:pt x="74" y="22"/>
                    <a:pt x="80" y="23"/>
                    <a:pt x="85" y="22"/>
                  </a:cubicBezTo>
                  <a:cubicBezTo>
                    <a:pt x="95" y="21"/>
                    <a:pt x="100" y="16"/>
                    <a:pt x="100" y="17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60">
              <a:extLst>
                <a:ext uri="{FF2B5EF4-FFF2-40B4-BE49-F238E27FC236}">
                  <a16:creationId xmlns:a16="http://schemas.microsoft.com/office/drawing/2014/main" id="{C6615978-3674-4DF0-B79B-601C6F2B8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" y="2791"/>
              <a:ext cx="95" cy="17"/>
            </a:xfrm>
            <a:custGeom>
              <a:avLst/>
              <a:gdLst>
                <a:gd name="T0" fmla="*/ 40 w 40"/>
                <a:gd name="T1" fmla="*/ 0 h 7"/>
                <a:gd name="T2" fmla="*/ 39 w 40"/>
                <a:gd name="T3" fmla="*/ 1 h 7"/>
                <a:gd name="T4" fmla="*/ 35 w 40"/>
                <a:gd name="T5" fmla="*/ 3 h 7"/>
                <a:gd name="T6" fmla="*/ 20 w 40"/>
                <a:gd name="T7" fmla="*/ 7 h 7"/>
                <a:gd name="T8" fmla="*/ 5 w 40"/>
                <a:gd name="T9" fmla="*/ 6 h 7"/>
                <a:gd name="T10" fmla="*/ 1 w 40"/>
                <a:gd name="T11" fmla="*/ 4 h 7"/>
                <a:gd name="T12" fmla="*/ 0 w 40"/>
                <a:gd name="T13" fmla="*/ 4 h 7"/>
                <a:gd name="T14" fmla="*/ 6 w 40"/>
                <a:gd name="T15" fmla="*/ 5 h 7"/>
                <a:gd name="T16" fmla="*/ 20 w 40"/>
                <a:gd name="T17" fmla="*/ 6 h 7"/>
                <a:gd name="T18" fmla="*/ 35 w 40"/>
                <a:gd name="T19" fmla="*/ 2 h 7"/>
                <a:gd name="T20" fmla="*/ 40 w 40"/>
                <a:gd name="T2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7">
                  <a:moveTo>
                    <a:pt x="40" y="0"/>
                  </a:moveTo>
                  <a:cubicBezTo>
                    <a:pt x="40" y="0"/>
                    <a:pt x="40" y="0"/>
                    <a:pt x="39" y="1"/>
                  </a:cubicBezTo>
                  <a:cubicBezTo>
                    <a:pt x="38" y="2"/>
                    <a:pt x="37" y="2"/>
                    <a:pt x="35" y="3"/>
                  </a:cubicBezTo>
                  <a:cubicBezTo>
                    <a:pt x="31" y="5"/>
                    <a:pt x="26" y="6"/>
                    <a:pt x="20" y="7"/>
                  </a:cubicBezTo>
                  <a:cubicBezTo>
                    <a:pt x="14" y="7"/>
                    <a:pt x="9" y="7"/>
                    <a:pt x="5" y="6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2" y="4"/>
                    <a:pt x="6" y="5"/>
                  </a:cubicBezTo>
                  <a:cubicBezTo>
                    <a:pt x="9" y="6"/>
                    <a:pt x="15" y="6"/>
                    <a:pt x="20" y="6"/>
                  </a:cubicBezTo>
                  <a:cubicBezTo>
                    <a:pt x="26" y="5"/>
                    <a:pt x="31" y="4"/>
                    <a:pt x="35" y="2"/>
                  </a:cubicBezTo>
                  <a:cubicBezTo>
                    <a:pt x="38" y="1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261">
              <a:extLst>
                <a:ext uri="{FF2B5EF4-FFF2-40B4-BE49-F238E27FC236}">
                  <a16:creationId xmlns:a16="http://schemas.microsoft.com/office/drawing/2014/main" id="{8C659E7F-6E79-4AAE-9EB8-DA1D8AD7A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7" y="3242"/>
              <a:ext cx="1002" cy="568"/>
            </a:xfrm>
            <a:custGeom>
              <a:avLst/>
              <a:gdLst>
                <a:gd name="T0" fmla="*/ 0 w 422"/>
                <a:gd name="T1" fmla="*/ 239 h 239"/>
                <a:gd name="T2" fmla="*/ 32 w 422"/>
                <a:gd name="T3" fmla="*/ 74 h 239"/>
                <a:gd name="T4" fmla="*/ 142 w 422"/>
                <a:gd name="T5" fmla="*/ 24 h 239"/>
                <a:gd name="T6" fmla="*/ 149 w 422"/>
                <a:gd name="T7" fmla="*/ 4 h 239"/>
                <a:gd name="T8" fmla="*/ 259 w 422"/>
                <a:gd name="T9" fmla="*/ 0 h 239"/>
                <a:gd name="T10" fmla="*/ 267 w 422"/>
                <a:gd name="T11" fmla="*/ 23 h 239"/>
                <a:gd name="T12" fmla="*/ 372 w 422"/>
                <a:gd name="T13" fmla="*/ 62 h 239"/>
                <a:gd name="T14" fmla="*/ 422 w 422"/>
                <a:gd name="T15" fmla="*/ 222 h 239"/>
                <a:gd name="T16" fmla="*/ 0 w 422"/>
                <a:gd name="T17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239">
                  <a:moveTo>
                    <a:pt x="0" y="239"/>
                  </a:moveTo>
                  <a:cubicBezTo>
                    <a:pt x="0" y="239"/>
                    <a:pt x="19" y="90"/>
                    <a:pt x="32" y="74"/>
                  </a:cubicBezTo>
                  <a:cubicBezTo>
                    <a:pt x="45" y="57"/>
                    <a:pt x="142" y="24"/>
                    <a:pt x="142" y="24"/>
                  </a:cubicBezTo>
                  <a:cubicBezTo>
                    <a:pt x="149" y="4"/>
                    <a:pt x="149" y="4"/>
                    <a:pt x="149" y="4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349" y="43"/>
                    <a:pt x="372" y="62"/>
                  </a:cubicBezTo>
                  <a:cubicBezTo>
                    <a:pt x="394" y="81"/>
                    <a:pt x="422" y="222"/>
                    <a:pt x="422" y="222"/>
                  </a:cubicBezTo>
                  <a:cubicBezTo>
                    <a:pt x="0" y="239"/>
                    <a:pt x="0" y="239"/>
                    <a:pt x="0" y="23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62">
              <a:extLst>
                <a:ext uri="{FF2B5EF4-FFF2-40B4-BE49-F238E27FC236}">
                  <a16:creationId xmlns:a16="http://schemas.microsoft.com/office/drawing/2014/main" id="{FB9B083E-14B4-4C7E-8EF4-DE73B9D58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3299"/>
              <a:ext cx="264" cy="10"/>
            </a:xfrm>
            <a:custGeom>
              <a:avLst/>
              <a:gdLst>
                <a:gd name="T0" fmla="*/ 111 w 111"/>
                <a:gd name="T1" fmla="*/ 0 h 4"/>
                <a:gd name="T2" fmla="*/ 55 w 111"/>
                <a:gd name="T3" fmla="*/ 3 h 4"/>
                <a:gd name="T4" fmla="*/ 0 w 111"/>
                <a:gd name="T5" fmla="*/ 3 h 4"/>
                <a:gd name="T6" fmla="*/ 55 w 111"/>
                <a:gd name="T7" fmla="*/ 1 h 4"/>
                <a:gd name="T8" fmla="*/ 111 w 11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4">
                  <a:moveTo>
                    <a:pt x="111" y="0"/>
                  </a:moveTo>
                  <a:cubicBezTo>
                    <a:pt x="111" y="1"/>
                    <a:pt x="86" y="2"/>
                    <a:pt x="55" y="3"/>
                  </a:cubicBezTo>
                  <a:cubicBezTo>
                    <a:pt x="25" y="4"/>
                    <a:pt x="0" y="4"/>
                    <a:pt x="0" y="3"/>
                  </a:cubicBezTo>
                  <a:cubicBezTo>
                    <a:pt x="0" y="3"/>
                    <a:pt x="25" y="1"/>
                    <a:pt x="55" y="1"/>
                  </a:cubicBezTo>
                  <a:cubicBezTo>
                    <a:pt x="86" y="0"/>
                    <a:pt x="111" y="0"/>
                    <a:pt x="11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263">
              <a:extLst>
                <a:ext uri="{FF2B5EF4-FFF2-40B4-BE49-F238E27FC236}">
                  <a16:creationId xmlns:a16="http://schemas.microsoft.com/office/drawing/2014/main" id="{4338A194-46CB-4A6C-A8D6-159D6C773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" y="3489"/>
              <a:ext cx="33" cy="195"/>
            </a:xfrm>
            <a:custGeom>
              <a:avLst/>
              <a:gdLst>
                <a:gd name="T0" fmla="*/ 14 w 14"/>
                <a:gd name="T1" fmla="*/ 82 h 82"/>
                <a:gd name="T2" fmla="*/ 6 w 14"/>
                <a:gd name="T3" fmla="*/ 42 h 82"/>
                <a:gd name="T4" fmla="*/ 1 w 14"/>
                <a:gd name="T5" fmla="*/ 0 h 82"/>
                <a:gd name="T6" fmla="*/ 8 w 14"/>
                <a:gd name="T7" fmla="*/ 41 h 82"/>
                <a:gd name="T8" fmla="*/ 14 w 14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2">
                  <a:moveTo>
                    <a:pt x="14" y="82"/>
                  </a:moveTo>
                  <a:cubicBezTo>
                    <a:pt x="13" y="82"/>
                    <a:pt x="10" y="64"/>
                    <a:pt x="6" y="42"/>
                  </a:cubicBezTo>
                  <a:cubicBezTo>
                    <a:pt x="3" y="19"/>
                    <a:pt x="0" y="0"/>
                    <a:pt x="1" y="0"/>
                  </a:cubicBezTo>
                  <a:cubicBezTo>
                    <a:pt x="1" y="0"/>
                    <a:pt x="5" y="19"/>
                    <a:pt x="8" y="41"/>
                  </a:cubicBezTo>
                  <a:cubicBezTo>
                    <a:pt x="12" y="64"/>
                    <a:pt x="14" y="82"/>
                    <a:pt x="14" y="8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264">
              <a:extLst>
                <a:ext uri="{FF2B5EF4-FFF2-40B4-BE49-F238E27FC236}">
                  <a16:creationId xmlns:a16="http://schemas.microsoft.com/office/drawing/2014/main" id="{466BFA81-CD3E-4655-B881-F1653A1CE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" y="3466"/>
              <a:ext cx="12" cy="204"/>
            </a:xfrm>
            <a:custGeom>
              <a:avLst/>
              <a:gdLst>
                <a:gd name="T0" fmla="*/ 5 w 5"/>
                <a:gd name="T1" fmla="*/ 86 h 86"/>
                <a:gd name="T2" fmla="*/ 2 w 5"/>
                <a:gd name="T3" fmla="*/ 43 h 86"/>
                <a:gd name="T4" fmla="*/ 1 w 5"/>
                <a:gd name="T5" fmla="*/ 0 h 86"/>
                <a:gd name="T6" fmla="*/ 4 w 5"/>
                <a:gd name="T7" fmla="*/ 43 h 86"/>
                <a:gd name="T8" fmla="*/ 5 w 5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6">
                  <a:moveTo>
                    <a:pt x="5" y="86"/>
                  </a:moveTo>
                  <a:cubicBezTo>
                    <a:pt x="4" y="86"/>
                    <a:pt x="3" y="66"/>
                    <a:pt x="2" y="43"/>
                  </a:cubicBezTo>
                  <a:cubicBezTo>
                    <a:pt x="1" y="19"/>
                    <a:pt x="0" y="0"/>
                    <a:pt x="1" y="0"/>
                  </a:cubicBezTo>
                  <a:cubicBezTo>
                    <a:pt x="1" y="0"/>
                    <a:pt x="3" y="19"/>
                    <a:pt x="4" y="43"/>
                  </a:cubicBezTo>
                  <a:cubicBezTo>
                    <a:pt x="5" y="66"/>
                    <a:pt x="5" y="86"/>
                    <a:pt x="5" y="8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265">
              <a:extLst>
                <a:ext uri="{FF2B5EF4-FFF2-40B4-BE49-F238E27FC236}">
                  <a16:creationId xmlns:a16="http://schemas.microsoft.com/office/drawing/2014/main" id="{6BE911E0-0410-4A32-A2D8-09A8EA6CE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7" y="3299"/>
              <a:ext cx="287" cy="45"/>
            </a:xfrm>
            <a:prstGeom prst="rect">
              <a:avLst/>
            </a:pr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266">
              <a:extLst>
                <a:ext uri="{FF2B5EF4-FFF2-40B4-BE49-F238E27FC236}">
                  <a16:creationId xmlns:a16="http://schemas.microsoft.com/office/drawing/2014/main" id="{8E053779-94DF-4CB6-B35D-908DEE2AE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3299"/>
              <a:ext cx="264" cy="7"/>
            </a:xfrm>
            <a:custGeom>
              <a:avLst/>
              <a:gdLst>
                <a:gd name="T0" fmla="*/ 111 w 111"/>
                <a:gd name="T1" fmla="*/ 0 h 3"/>
                <a:gd name="T2" fmla="*/ 0 w 111"/>
                <a:gd name="T3" fmla="*/ 3 h 3"/>
                <a:gd name="T4" fmla="*/ 0 w 111"/>
                <a:gd name="T5" fmla="*/ 3 h 3"/>
                <a:gd name="T6" fmla="*/ 11 w 111"/>
                <a:gd name="T7" fmla="*/ 3 h 3"/>
                <a:gd name="T8" fmla="*/ 55 w 111"/>
                <a:gd name="T9" fmla="*/ 3 h 3"/>
                <a:gd name="T10" fmla="*/ 111 w 111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3">
                  <a:moveTo>
                    <a:pt x="111" y="0"/>
                  </a:moveTo>
                  <a:cubicBezTo>
                    <a:pt x="74" y="1"/>
                    <a:pt x="36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4" y="3"/>
                    <a:pt x="11" y="3"/>
                  </a:cubicBezTo>
                  <a:cubicBezTo>
                    <a:pt x="21" y="3"/>
                    <a:pt x="37" y="3"/>
                    <a:pt x="55" y="3"/>
                  </a:cubicBezTo>
                  <a:cubicBezTo>
                    <a:pt x="84" y="2"/>
                    <a:pt x="107" y="1"/>
                    <a:pt x="11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67">
              <a:extLst>
                <a:ext uri="{FF2B5EF4-FFF2-40B4-BE49-F238E27FC236}">
                  <a16:creationId xmlns:a16="http://schemas.microsoft.com/office/drawing/2014/main" id="{89A88135-6BD0-4A01-899F-F920478C0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0" y="3249"/>
              <a:ext cx="11" cy="57"/>
            </a:xfrm>
            <a:custGeom>
              <a:avLst/>
              <a:gdLst>
                <a:gd name="T0" fmla="*/ 0 w 5"/>
                <a:gd name="T1" fmla="*/ 24 h 24"/>
                <a:gd name="T2" fmla="*/ 1 w 5"/>
                <a:gd name="T3" fmla="*/ 12 h 24"/>
                <a:gd name="T4" fmla="*/ 5 w 5"/>
                <a:gd name="T5" fmla="*/ 0 h 24"/>
                <a:gd name="T6" fmla="*/ 2 w 5"/>
                <a:gd name="T7" fmla="*/ 12 h 24"/>
                <a:gd name="T8" fmla="*/ 0 w 5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4">
                  <a:moveTo>
                    <a:pt x="0" y="24"/>
                  </a:moveTo>
                  <a:cubicBezTo>
                    <a:pt x="0" y="24"/>
                    <a:pt x="0" y="18"/>
                    <a:pt x="1" y="12"/>
                  </a:cubicBezTo>
                  <a:cubicBezTo>
                    <a:pt x="3" y="5"/>
                    <a:pt x="4" y="0"/>
                    <a:pt x="5" y="0"/>
                  </a:cubicBezTo>
                  <a:cubicBezTo>
                    <a:pt x="5" y="0"/>
                    <a:pt x="4" y="6"/>
                    <a:pt x="2" y="12"/>
                  </a:cubicBezTo>
                  <a:cubicBezTo>
                    <a:pt x="1" y="18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68">
              <a:extLst>
                <a:ext uri="{FF2B5EF4-FFF2-40B4-BE49-F238E27FC236}">
                  <a16:creationId xmlns:a16="http://schemas.microsoft.com/office/drawing/2014/main" id="{EE00A1B0-12DB-4514-A1D8-1F291EED8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" y="3245"/>
              <a:ext cx="9" cy="54"/>
            </a:xfrm>
            <a:custGeom>
              <a:avLst/>
              <a:gdLst>
                <a:gd name="T0" fmla="*/ 3 w 4"/>
                <a:gd name="T1" fmla="*/ 23 h 23"/>
                <a:gd name="T2" fmla="*/ 1 w 4"/>
                <a:gd name="T3" fmla="*/ 12 h 23"/>
                <a:gd name="T4" fmla="*/ 0 w 4"/>
                <a:gd name="T5" fmla="*/ 0 h 23"/>
                <a:gd name="T6" fmla="*/ 2 w 4"/>
                <a:gd name="T7" fmla="*/ 11 h 23"/>
                <a:gd name="T8" fmla="*/ 3 w 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3">
                  <a:moveTo>
                    <a:pt x="3" y="23"/>
                  </a:moveTo>
                  <a:cubicBezTo>
                    <a:pt x="3" y="23"/>
                    <a:pt x="1" y="18"/>
                    <a:pt x="1" y="12"/>
                  </a:cubicBezTo>
                  <a:cubicBezTo>
                    <a:pt x="0" y="5"/>
                    <a:pt x="0" y="0"/>
                    <a:pt x="0" y="0"/>
                  </a:cubicBezTo>
                  <a:cubicBezTo>
                    <a:pt x="1" y="0"/>
                    <a:pt x="1" y="5"/>
                    <a:pt x="2" y="11"/>
                  </a:cubicBezTo>
                  <a:cubicBezTo>
                    <a:pt x="3" y="18"/>
                    <a:pt x="4" y="23"/>
                    <a:pt x="3" y="2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69">
              <a:extLst>
                <a:ext uri="{FF2B5EF4-FFF2-40B4-BE49-F238E27FC236}">
                  <a16:creationId xmlns:a16="http://schemas.microsoft.com/office/drawing/2014/main" id="{9984299C-5AC5-4EEA-A4CD-2FC5E7C71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3273"/>
              <a:ext cx="280" cy="10"/>
            </a:xfrm>
            <a:custGeom>
              <a:avLst/>
              <a:gdLst>
                <a:gd name="T0" fmla="*/ 118 w 118"/>
                <a:gd name="T1" fmla="*/ 1 h 4"/>
                <a:gd name="T2" fmla="*/ 117 w 118"/>
                <a:gd name="T3" fmla="*/ 1 h 4"/>
                <a:gd name="T4" fmla="*/ 114 w 118"/>
                <a:gd name="T5" fmla="*/ 1 h 4"/>
                <a:gd name="T6" fmla="*/ 101 w 118"/>
                <a:gd name="T7" fmla="*/ 1 h 4"/>
                <a:gd name="T8" fmla="*/ 59 w 118"/>
                <a:gd name="T9" fmla="*/ 2 h 4"/>
                <a:gd name="T10" fmla="*/ 17 w 118"/>
                <a:gd name="T11" fmla="*/ 4 h 4"/>
                <a:gd name="T12" fmla="*/ 5 w 118"/>
                <a:gd name="T13" fmla="*/ 4 h 4"/>
                <a:gd name="T14" fmla="*/ 1 w 118"/>
                <a:gd name="T15" fmla="*/ 4 h 4"/>
                <a:gd name="T16" fmla="*/ 0 w 118"/>
                <a:gd name="T17" fmla="*/ 4 h 4"/>
                <a:gd name="T18" fmla="*/ 1 w 118"/>
                <a:gd name="T19" fmla="*/ 4 h 4"/>
                <a:gd name="T20" fmla="*/ 5 w 118"/>
                <a:gd name="T21" fmla="*/ 3 h 4"/>
                <a:gd name="T22" fmla="*/ 17 w 118"/>
                <a:gd name="T23" fmla="*/ 3 h 4"/>
                <a:gd name="T24" fmla="*/ 59 w 118"/>
                <a:gd name="T25" fmla="*/ 1 h 4"/>
                <a:gd name="T26" fmla="*/ 101 w 118"/>
                <a:gd name="T27" fmla="*/ 0 h 4"/>
                <a:gd name="T28" fmla="*/ 114 w 118"/>
                <a:gd name="T29" fmla="*/ 1 h 4"/>
                <a:gd name="T30" fmla="*/ 117 w 118"/>
                <a:gd name="T31" fmla="*/ 1 h 4"/>
                <a:gd name="T32" fmla="*/ 118 w 118"/>
                <a:gd name="T3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4">
                  <a:moveTo>
                    <a:pt x="118" y="1"/>
                  </a:moveTo>
                  <a:cubicBezTo>
                    <a:pt x="118" y="1"/>
                    <a:pt x="118" y="1"/>
                    <a:pt x="117" y="1"/>
                  </a:cubicBezTo>
                  <a:cubicBezTo>
                    <a:pt x="116" y="1"/>
                    <a:pt x="115" y="1"/>
                    <a:pt x="114" y="1"/>
                  </a:cubicBezTo>
                  <a:cubicBezTo>
                    <a:pt x="110" y="1"/>
                    <a:pt x="106" y="1"/>
                    <a:pt x="101" y="1"/>
                  </a:cubicBezTo>
                  <a:cubicBezTo>
                    <a:pt x="90" y="2"/>
                    <a:pt x="75" y="2"/>
                    <a:pt x="59" y="2"/>
                  </a:cubicBezTo>
                  <a:cubicBezTo>
                    <a:pt x="43" y="3"/>
                    <a:pt x="29" y="3"/>
                    <a:pt x="17" y="4"/>
                  </a:cubicBezTo>
                  <a:cubicBezTo>
                    <a:pt x="12" y="4"/>
                    <a:pt x="8" y="4"/>
                    <a:pt x="5" y="4"/>
                  </a:cubicBezTo>
                  <a:cubicBezTo>
                    <a:pt x="3" y="4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5" y="3"/>
                  </a:cubicBezTo>
                  <a:cubicBezTo>
                    <a:pt x="8" y="3"/>
                    <a:pt x="12" y="3"/>
                    <a:pt x="17" y="3"/>
                  </a:cubicBezTo>
                  <a:cubicBezTo>
                    <a:pt x="28" y="2"/>
                    <a:pt x="43" y="1"/>
                    <a:pt x="59" y="1"/>
                  </a:cubicBezTo>
                  <a:cubicBezTo>
                    <a:pt x="76" y="1"/>
                    <a:pt x="90" y="0"/>
                    <a:pt x="101" y="0"/>
                  </a:cubicBezTo>
                  <a:cubicBezTo>
                    <a:pt x="106" y="0"/>
                    <a:pt x="110" y="1"/>
                    <a:pt x="114" y="1"/>
                  </a:cubicBezTo>
                  <a:cubicBezTo>
                    <a:pt x="115" y="1"/>
                    <a:pt x="116" y="1"/>
                    <a:pt x="117" y="1"/>
                  </a:cubicBezTo>
                  <a:cubicBezTo>
                    <a:pt x="118" y="1"/>
                    <a:pt x="118" y="1"/>
                    <a:pt x="118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70">
              <a:extLst>
                <a:ext uri="{FF2B5EF4-FFF2-40B4-BE49-F238E27FC236}">
                  <a16:creationId xmlns:a16="http://schemas.microsoft.com/office/drawing/2014/main" id="{13F54201-9FC2-48E8-9934-68F7C3740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" y="3401"/>
              <a:ext cx="21" cy="283"/>
            </a:xfrm>
            <a:custGeom>
              <a:avLst/>
              <a:gdLst>
                <a:gd name="T0" fmla="*/ 1 w 9"/>
                <a:gd name="T1" fmla="*/ 119 h 119"/>
                <a:gd name="T2" fmla="*/ 1 w 9"/>
                <a:gd name="T3" fmla="*/ 118 h 119"/>
                <a:gd name="T4" fmla="*/ 1 w 9"/>
                <a:gd name="T5" fmla="*/ 114 h 119"/>
                <a:gd name="T6" fmla="*/ 0 w 9"/>
                <a:gd name="T7" fmla="*/ 101 h 119"/>
                <a:gd name="T8" fmla="*/ 1 w 9"/>
                <a:gd name="T9" fmla="*/ 59 h 119"/>
                <a:gd name="T10" fmla="*/ 6 w 9"/>
                <a:gd name="T11" fmla="*/ 17 h 119"/>
                <a:gd name="T12" fmla="*/ 8 w 9"/>
                <a:gd name="T13" fmla="*/ 5 h 119"/>
                <a:gd name="T14" fmla="*/ 9 w 9"/>
                <a:gd name="T15" fmla="*/ 1 h 119"/>
                <a:gd name="T16" fmla="*/ 9 w 9"/>
                <a:gd name="T17" fmla="*/ 0 h 119"/>
                <a:gd name="T18" fmla="*/ 9 w 9"/>
                <a:gd name="T19" fmla="*/ 1 h 119"/>
                <a:gd name="T20" fmla="*/ 8 w 9"/>
                <a:gd name="T21" fmla="*/ 5 h 119"/>
                <a:gd name="T22" fmla="*/ 6 w 9"/>
                <a:gd name="T23" fmla="*/ 17 h 119"/>
                <a:gd name="T24" fmla="*/ 2 w 9"/>
                <a:gd name="T25" fmla="*/ 59 h 119"/>
                <a:gd name="T26" fmla="*/ 1 w 9"/>
                <a:gd name="T27" fmla="*/ 101 h 119"/>
                <a:gd name="T28" fmla="*/ 1 w 9"/>
                <a:gd name="T29" fmla="*/ 114 h 119"/>
                <a:gd name="T30" fmla="*/ 1 w 9"/>
                <a:gd name="T31" fmla="*/ 118 h 119"/>
                <a:gd name="T32" fmla="*/ 1 w 9"/>
                <a:gd name="T3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19">
                  <a:moveTo>
                    <a:pt x="1" y="119"/>
                  </a:moveTo>
                  <a:cubicBezTo>
                    <a:pt x="1" y="119"/>
                    <a:pt x="1" y="118"/>
                    <a:pt x="1" y="118"/>
                  </a:cubicBezTo>
                  <a:cubicBezTo>
                    <a:pt x="1" y="117"/>
                    <a:pt x="1" y="115"/>
                    <a:pt x="1" y="114"/>
                  </a:cubicBezTo>
                  <a:cubicBezTo>
                    <a:pt x="1" y="111"/>
                    <a:pt x="0" y="107"/>
                    <a:pt x="0" y="101"/>
                  </a:cubicBezTo>
                  <a:cubicBezTo>
                    <a:pt x="0" y="91"/>
                    <a:pt x="0" y="76"/>
                    <a:pt x="1" y="59"/>
                  </a:cubicBezTo>
                  <a:cubicBezTo>
                    <a:pt x="2" y="43"/>
                    <a:pt x="4" y="28"/>
                    <a:pt x="6" y="17"/>
                  </a:cubicBezTo>
                  <a:cubicBezTo>
                    <a:pt x="6" y="12"/>
                    <a:pt x="7" y="7"/>
                    <a:pt x="8" y="5"/>
                  </a:cubicBezTo>
                  <a:cubicBezTo>
                    <a:pt x="8" y="3"/>
                    <a:pt x="8" y="2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5"/>
                  </a:cubicBezTo>
                  <a:cubicBezTo>
                    <a:pt x="8" y="8"/>
                    <a:pt x="7" y="12"/>
                    <a:pt x="6" y="17"/>
                  </a:cubicBezTo>
                  <a:cubicBezTo>
                    <a:pt x="5" y="28"/>
                    <a:pt x="3" y="43"/>
                    <a:pt x="2" y="59"/>
                  </a:cubicBezTo>
                  <a:cubicBezTo>
                    <a:pt x="1" y="76"/>
                    <a:pt x="1" y="91"/>
                    <a:pt x="1" y="101"/>
                  </a:cubicBezTo>
                  <a:cubicBezTo>
                    <a:pt x="1" y="106"/>
                    <a:pt x="1" y="111"/>
                    <a:pt x="1" y="114"/>
                  </a:cubicBezTo>
                  <a:cubicBezTo>
                    <a:pt x="1" y="115"/>
                    <a:pt x="1" y="117"/>
                    <a:pt x="1" y="118"/>
                  </a:cubicBezTo>
                  <a:cubicBezTo>
                    <a:pt x="1" y="118"/>
                    <a:pt x="1" y="119"/>
                    <a:pt x="1" y="119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71">
              <a:extLst>
                <a:ext uri="{FF2B5EF4-FFF2-40B4-BE49-F238E27FC236}">
                  <a16:creationId xmlns:a16="http://schemas.microsoft.com/office/drawing/2014/main" id="{4518EBD0-7A97-4E5B-8ACC-E85BDB6FA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3603"/>
              <a:ext cx="147" cy="24"/>
            </a:xfrm>
            <a:custGeom>
              <a:avLst/>
              <a:gdLst>
                <a:gd name="T0" fmla="*/ 62 w 62"/>
                <a:gd name="T1" fmla="*/ 1 h 10"/>
                <a:gd name="T2" fmla="*/ 31 w 62"/>
                <a:gd name="T3" fmla="*/ 6 h 10"/>
                <a:gd name="T4" fmla="*/ 0 w 62"/>
                <a:gd name="T5" fmla="*/ 10 h 10"/>
                <a:gd name="T6" fmla="*/ 31 w 62"/>
                <a:gd name="T7" fmla="*/ 5 h 10"/>
                <a:gd name="T8" fmla="*/ 62 w 62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0">
                  <a:moveTo>
                    <a:pt x="62" y="1"/>
                  </a:moveTo>
                  <a:cubicBezTo>
                    <a:pt x="62" y="1"/>
                    <a:pt x="48" y="3"/>
                    <a:pt x="31" y="6"/>
                  </a:cubicBezTo>
                  <a:cubicBezTo>
                    <a:pt x="14" y="8"/>
                    <a:pt x="0" y="10"/>
                    <a:pt x="0" y="10"/>
                  </a:cubicBezTo>
                  <a:cubicBezTo>
                    <a:pt x="0" y="10"/>
                    <a:pt x="14" y="7"/>
                    <a:pt x="31" y="5"/>
                  </a:cubicBezTo>
                  <a:cubicBezTo>
                    <a:pt x="48" y="2"/>
                    <a:pt x="62" y="0"/>
                    <a:pt x="62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72">
              <a:extLst>
                <a:ext uri="{FF2B5EF4-FFF2-40B4-BE49-F238E27FC236}">
                  <a16:creationId xmlns:a16="http://schemas.microsoft.com/office/drawing/2014/main" id="{2FFAEFCD-B0A0-4398-B771-099232C45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" y="3480"/>
              <a:ext cx="118" cy="33"/>
            </a:xfrm>
            <a:custGeom>
              <a:avLst/>
              <a:gdLst>
                <a:gd name="T0" fmla="*/ 50 w 50"/>
                <a:gd name="T1" fmla="*/ 14 h 14"/>
                <a:gd name="T2" fmla="*/ 43 w 50"/>
                <a:gd name="T3" fmla="*/ 11 h 14"/>
                <a:gd name="T4" fmla="*/ 25 w 50"/>
                <a:gd name="T5" fmla="*/ 4 h 14"/>
                <a:gd name="T6" fmla="*/ 7 w 50"/>
                <a:gd name="T7" fmla="*/ 1 h 14"/>
                <a:gd name="T8" fmla="*/ 0 w 50"/>
                <a:gd name="T9" fmla="*/ 1 h 14"/>
                <a:gd name="T10" fmla="*/ 2 w 50"/>
                <a:gd name="T11" fmla="*/ 0 h 14"/>
                <a:gd name="T12" fmla="*/ 7 w 50"/>
                <a:gd name="T13" fmla="*/ 0 h 14"/>
                <a:gd name="T14" fmla="*/ 26 w 50"/>
                <a:gd name="T15" fmla="*/ 3 h 14"/>
                <a:gd name="T16" fmla="*/ 43 w 50"/>
                <a:gd name="T17" fmla="*/ 10 h 14"/>
                <a:gd name="T18" fmla="*/ 48 w 50"/>
                <a:gd name="T19" fmla="*/ 13 h 14"/>
                <a:gd name="T20" fmla="*/ 50 w 50"/>
                <a:gd name="T2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14">
                  <a:moveTo>
                    <a:pt x="50" y="14"/>
                  </a:moveTo>
                  <a:cubicBezTo>
                    <a:pt x="49" y="14"/>
                    <a:pt x="47" y="13"/>
                    <a:pt x="43" y="11"/>
                  </a:cubicBezTo>
                  <a:cubicBezTo>
                    <a:pt x="38" y="9"/>
                    <a:pt x="32" y="6"/>
                    <a:pt x="25" y="4"/>
                  </a:cubicBezTo>
                  <a:cubicBezTo>
                    <a:pt x="18" y="2"/>
                    <a:pt x="12" y="2"/>
                    <a:pt x="7" y="1"/>
                  </a:cubicBezTo>
                  <a:cubicBezTo>
                    <a:pt x="3" y="1"/>
                    <a:pt x="0" y="1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2" y="0"/>
                    <a:pt x="19" y="1"/>
                    <a:pt x="26" y="3"/>
                  </a:cubicBezTo>
                  <a:cubicBezTo>
                    <a:pt x="33" y="5"/>
                    <a:pt x="39" y="8"/>
                    <a:pt x="43" y="10"/>
                  </a:cubicBezTo>
                  <a:cubicBezTo>
                    <a:pt x="45" y="11"/>
                    <a:pt x="47" y="12"/>
                    <a:pt x="48" y="13"/>
                  </a:cubicBezTo>
                  <a:cubicBezTo>
                    <a:pt x="49" y="14"/>
                    <a:pt x="50" y="14"/>
                    <a:pt x="50" y="1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73">
              <a:extLst>
                <a:ext uri="{FF2B5EF4-FFF2-40B4-BE49-F238E27FC236}">
                  <a16:creationId xmlns:a16="http://schemas.microsoft.com/office/drawing/2014/main" id="{237235BB-E24A-44EA-941E-83EC638B4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" y="3352"/>
              <a:ext cx="90" cy="330"/>
            </a:xfrm>
            <a:custGeom>
              <a:avLst/>
              <a:gdLst>
                <a:gd name="T0" fmla="*/ 38 w 38"/>
                <a:gd name="T1" fmla="*/ 139 h 139"/>
                <a:gd name="T2" fmla="*/ 37 w 38"/>
                <a:gd name="T3" fmla="*/ 137 h 139"/>
                <a:gd name="T4" fmla="*/ 36 w 38"/>
                <a:gd name="T5" fmla="*/ 133 h 139"/>
                <a:gd name="T6" fmla="*/ 33 w 38"/>
                <a:gd name="T7" fmla="*/ 118 h 139"/>
                <a:gd name="T8" fmla="*/ 21 w 38"/>
                <a:gd name="T9" fmla="*/ 69 h 139"/>
                <a:gd name="T10" fmla="*/ 6 w 38"/>
                <a:gd name="T11" fmla="*/ 20 h 139"/>
                <a:gd name="T12" fmla="*/ 1 w 38"/>
                <a:gd name="T13" fmla="*/ 5 h 139"/>
                <a:gd name="T14" fmla="*/ 0 w 38"/>
                <a:gd name="T15" fmla="*/ 1 h 139"/>
                <a:gd name="T16" fmla="*/ 0 w 38"/>
                <a:gd name="T17" fmla="*/ 0 h 139"/>
                <a:gd name="T18" fmla="*/ 0 w 38"/>
                <a:gd name="T19" fmla="*/ 1 h 139"/>
                <a:gd name="T20" fmla="*/ 2 w 38"/>
                <a:gd name="T21" fmla="*/ 5 h 139"/>
                <a:gd name="T22" fmla="*/ 7 w 38"/>
                <a:gd name="T23" fmla="*/ 20 h 139"/>
                <a:gd name="T24" fmla="*/ 22 w 38"/>
                <a:gd name="T25" fmla="*/ 69 h 139"/>
                <a:gd name="T26" fmla="*/ 34 w 38"/>
                <a:gd name="T27" fmla="*/ 118 h 139"/>
                <a:gd name="T28" fmla="*/ 37 w 38"/>
                <a:gd name="T29" fmla="*/ 133 h 139"/>
                <a:gd name="T30" fmla="*/ 38 w 38"/>
                <a:gd name="T31" fmla="*/ 137 h 139"/>
                <a:gd name="T32" fmla="*/ 38 w 38"/>
                <a:gd name="T3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139">
                  <a:moveTo>
                    <a:pt x="38" y="139"/>
                  </a:moveTo>
                  <a:cubicBezTo>
                    <a:pt x="38" y="139"/>
                    <a:pt x="38" y="138"/>
                    <a:pt x="37" y="137"/>
                  </a:cubicBezTo>
                  <a:cubicBezTo>
                    <a:pt x="37" y="136"/>
                    <a:pt x="37" y="135"/>
                    <a:pt x="36" y="133"/>
                  </a:cubicBezTo>
                  <a:cubicBezTo>
                    <a:pt x="36" y="129"/>
                    <a:pt x="34" y="124"/>
                    <a:pt x="33" y="118"/>
                  </a:cubicBezTo>
                  <a:cubicBezTo>
                    <a:pt x="30" y="106"/>
                    <a:pt x="26" y="88"/>
                    <a:pt x="21" y="69"/>
                  </a:cubicBezTo>
                  <a:cubicBezTo>
                    <a:pt x="15" y="50"/>
                    <a:pt x="10" y="33"/>
                    <a:pt x="6" y="20"/>
                  </a:cubicBezTo>
                  <a:cubicBezTo>
                    <a:pt x="4" y="14"/>
                    <a:pt x="3" y="9"/>
                    <a:pt x="1" y="5"/>
                  </a:cubicBezTo>
                  <a:cubicBezTo>
                    <a:pt x="1" y="4"/>
                    <a:pt x="1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1" y="4"/>
                    <a:pt x="2" y="5"/>
                  </a:cubicBezTo>
                  <a:cubicBezTo>
                    <a:pt x="3" y="9"/>
                    <a:pt x="5" y="14"/>
                    <a:pt x="7" y="20"/>
                  </a:cubicBezTo>
                  <a:cubicBezTo>
                    <a:pt x="11" y="32"/>
                    <a:pt x="17" y="49"/>
                    <a:pt x="22" y="69"/>
                  </a:cubicBezTo>
                  <a:cubicBezTo>
                    <a:pt x="27" y="88"/>
                    <a:pt x="31" y="105"/>
                    <a:pt x="34" y="118"/>
                  </a:cubicBezTo>
                  <a:cubicBezTo>
                    <a:pt x="35" y="124"/>
                    <a:pt x="36" y="130"/>
                    <a:pt x="37" y="133"/>
                  </a:cubicBezTo>
                  <a:cubicBezTo>
                    <a:pt x="37" y="135"/>
                    <a:pt x="37" y="136"/>
                    <a:pt x="38" y="137"/>
                  </a:cubicBezTo>
                  <a:cubicBezTo>
                    <a:pt x="38" y="138"/>
                    <a:pt x="38" y="139"/>
                    <a:pt x="38" y="139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74">
              <a:extLst>
                <a:ext uri="{FF2B5EF4-FFF2-40B4-BE49-F238E27FC236}">
                  <a16:creationId xmlns:a16="http://schemas.microsoft.com/office/drawing/2014/main" id="{0E1A4AE7-B0A2-409E-BEBD-AA2D0060C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3309"/>
              <a:ext cx="69" cy="356"/>
            </a:xfrm>
            <a:custGeom>
              <a:avLst/>
              <a:gdLst>
                <a:gd name="T0" fmla="*/ 29 w 29"/>
                <a:gd name="T1" fmla="*/ 150 h 150"/>
                <a:gd name="T2" fmla="*/ 29 w 29"/>
                <a:gd name="T3" fmla="*/ 149 h 150"/>
                <a:gd name="T4" fmla="*/ 28 w 29"/>
                <a:gd name="T5" fmla="*/ 145 h 150"/>
                <a:gd name="T6" fmla="*/ 26 w 29"/>
                <a:gd name="T7" fmla="*/ 128 h 150"/>
                <a:gd name="T8" fmla="*/ 17 w 29"/>
                <a:gd name="T9" fmla="*/ 75 h 150"/>
                <a:gd name="T10" fmla="*/ 5 w 29"/>
                <a:gd name="T11" fmla="*/ 22 h 150"/>
                <a:gd name="T12" fmla="*/ 1 w 29"/>
                <a:gd name="T13" fmla="*/ 6 h 150"/>
                <a:gd name="T14" fmla="*/ 0 w 29"/>
                <a:gd name="T15" fmla="*/ 2 h 150"/>
                <a:gd name="T16" fmla="*/ 0 w 29"/>
                <a:gd name="T17" fmla="*/ 0 h 150"/>
                <a:gd name="T18" fmla="*/ 0 w 29"/>
                <a:gd name="T19" fmla="*/ 2 h 150"/>
                <a:gd name="T20" fmla="*/ 1 w 29"/>
                <a:gd name="T21" fmla="*/ 6 h 150"/>
                <a:gd name="T22" fmla="*/ 6 w 29"/>
                <a:gd name="T23" fmla="*/ 22 h 150"/>
                <a:gd name="T24" fmla="*/ 18 w 29"/>
                <a:gd name="T25" fmla="*/ 75 h 150"/>
                <a:gd name="T26" fmla="*/ 27 w 29"/>
                <a:gd name="T27" fmla="*/ 128 h 150"/>
                <a:gd name="T28" fmla="*/ 29 w 29"/>
                <a:gd name="T29" fmla="*/ 144 h 150"/>
                <a:gd name="T30" fmla="*/ 29 w 29"/>
                <a:gd name="T31" fmla="*/ 149 h 150"/>
                <a:gd name="T32" fmla="*/ 29 w 29"/>
                <a:gd name="T3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150">
                  <a:moveTo>
                    <a:pt x="29" y="150"/>
                  </a:moveTo>
                  <a:cubicBezTo>
                    <a:pt x="29" y="150"/>
                    <a:pt x="29" y="150"/>
                    <a:pt x="29" y="149"/>
                  </a:cubicBezTo>
                  <a:cubicBezTo>
                    <a:pt x="29" y="148"/>
                    <a:pt x="29" y="146"/>
                    <a:pt x="28" y="145"/>
                  </a:cubicBezTo>
                  <a:cubicBezTo>
                    <a:pt x="28" y="140"/>
                    <a:pt x="27" y="135"/>
                    <a:pt x="26" y="128"/>
                  </a:cubicBezTo>
                  <a:cubicBezTo>
                    <a:pt x="24" y="115"/>
                    <a:pt x="21" y="96"/>
                    <a:pt x="17" y="75"/>
                  </a:cubicBezTo>
                  <a:cubicBezTo>
                    <a:pt x="12" y="54"/>
                    <a:pt x="8" y="35"/>
                    <a:pt x="5" y="22"/>
                  </a:cubicBezTo>
                  <a:cubicBezTo>
                    <a:pt x="3" y="15"/>
                    <a:pt x="2" y="10"/>
                    <a:pt x="1" y="6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1" y="4"/>
                    <a:pt x="1" y="6"/>
                  </a:cubicBezTo>
                  <a:cubicBezTo>
                    <a:pt x="3" y="10"/>
                    <a:pt x="4" y="15"/>
                    <a:pt x="6" y="22"/>
                  </a:cubicBezTo>
                  <a:cubicBezTo>
                    <a:pt x="9" y="35"/>
                    <a:pt x="14" y="54"/>
                    <a:pt x="18" y="75"/>
                  </a:cubicBezTo>
                  <a:cubicBezTo>
                    <a:pt x="22" y="95"/>
                    <a:pt x="25" y="114"/>
                    <a:pt x="27" y="128"/>
                  </a:cubicBezTo>
                  <a:cubicBezTo>
                    <a:pt x="28" y="135"/>
                    <a:pt x="28" y="141"/>
                    <a:pt x="29" y="144"/>
                  </a:cubicBezTo>
                  <a:cubicBezTo>
                    <a:pt x="29" y="146"/>
                    <a:pt x="29" y="148"/>
                    <a:pt x="29" y="149"/>
                  </a:cubicBezTo>
                  <a:cubicBezTo>
                    <a:pt x="29" y="150"/>
                    <a:pt x="29" y="150"/>
                    <a:pt x="29" y="15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75">
              <a:extLst>
                <a:ext uri="{FF2B5EF4-FFF2-40B4-BE49-F238E27FC236}">
                  <a16:creationId xmlns:a16="http://schemas.microsoft.com/office/drawing/2014/main" id="{93BA671A-8E64-4D05-B06D-7715A7F5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" y="3302"/>
              <a:ext cx="42" cy="370"/>
            </a:xfrm>
            <a:custGeom>
              <a:avLst/>
              <a:gdLst>
                <a:gd name="T0" fmla="*/ 18 w 18"/>
                <a:gd name="T1" fmla="*/ 156 h 156"/>
                <a:gd name="T2" fmla="*/ 18 w 18"/>
                <a:gd name="T3" fmla="*/ 155 h 156"/>
                <a:gd name="T4" fmla="*/ 16 w 18"/>
                <a:gd name="T5" fmla="*/ 150 h 156"/>
                <a:gd name="T6" fmla="*/ 13 w 18"/>
                <a:gd name="T7" fmla="*/ 134 h 156"/>
                <a:gd name="T8" fmla="*/ 4 w 18"/>
                <a:gd name="T9" fmla="*/ 79 h 156"/>
                <a:gd name="T10" fmla="*/ 0 w 18"/>
                <a:gd name="T11" fmla="*/ 23 h 156"/>
                <a:gd name="T12" fmla="*/ 0 w 18"/>
                <a:gd name="T13" fmla="*/ 6 h 156"/>
                <a:gd name="T14" fmla="*/ 0 w 18"/>
                <a:gd name="T15" fmla="*/ 2 h 156"/>
                <a:gd name="T16" fmla="*/ 0 w 18"/>
                <a:gd name="T17" fmla="*/ 0 h 156"/>
                <a:gd name="T18" fmla="*/ 0 w 18"/>
                <a:gd name="T19" fmla="*/ 2 h 156"/>
                <a:gd name="T20" fmla="*/ 0 w 18"/>
                <a:gd name="T21" fmla="*/ 6 h 156"/>
                <a:gd name="T22" fmla="*/ 1 w 18"/>
                <a:gd name="T23" fmla="*/ 23 h 156"/>
                <a:gd name="T24" fmla="*/ 5 w 18"/>
                <a:gd name="T25" fmla="*/ 79 h 156"/>
                <a:gd name="T26" fmla="*/ 13 w 18"/>
                <a:gd name="T27" fmla="*/ 133 h 156"/>
                <a:gd name="T28" fmla="*/ 17 w 18"/>
                <a:gd name="T29" fmla="*/ 150 h 156"/>
                <a:gd name="T30" fmla="*/ 18 w 18"/>
                <a:gd name="T31" fmla="*/ 154 h 156"/>
                <a:gd name="T32" fmla="*/ 18 w 18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156">
                  <a:moveTo>
                    <a:pt x="18" y="156"/>
                  </a:moveTo>
                  <a:cubicBezTo>
                    <a:pt x="18" y="156"/>
                    <a:pt x="18" y="156"/>
                    <a:pt x="18" y="155"/>
                  </a:cubicBezTo>
                  <a:cubicBezTo>
                    <a:pt x="17" y="153"/>
                    <a:pt x="17" y="152"/>
                    <a:pt x="16" y="150"/>
                  </a:cubicBezTo>
                  <a:cubicBezTo>
                    <a:pt x="15" y="146"/>
                    <a:pt x="14" y="141"/>
                    <a:pt x="13" y="134"/>
                  </a:cubicBezTo>
                  <a:cubicBezTo>
                    <a:pt x="10" y="120"/>
                    <a:pt x="6" y="100"/>
                    <a:pt x="4" y="79"/>
                  </a:cubicBezTo>
                  <a:cubicBezTo>
                    <a:pt x="1" y="57"/>
                    <a:pt x="0" y="38"/>
                    <a:pt x="0" y="23"/>
                  </a:cubicBezTo>
                  <a:cubicBezTo>
                    <a:pt x="0" y="16"/>
                    <a:pt x="0" y="10"/>
                    <a:pt x="0" y="6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1" y="16"/>
                    <a:pt x="1" y="23"/>
                  </a:cubicBezTo>
                  <a:cubicBezTo>
                    <a:pt x="1" y="38"/>
                    <a:pt x="2" y="57"/>
                    <a:pt x="5" y="79"/>
                  </a:cubicBezTo>
                  <a:cubicBezTo>
                    <a:pt x="7" y="100"/>
                    <a:pt x="11" y="120"/>
                    <a:pt x="13" y="133"/>
                  </a:cubicBezTo>
                  <a:cubicBezTo>
                    <a:pt x="15" y="140"/>
                    <a:pt x="16" y="146"/>
                    <a:pt x="17" y="150"/>
                  </a:cubicBezTo>
                  <a:cubicBezTo>
                    <a:pt x="17" y="152"/>
                    <a:pt x="18" y="153"/>
                    <a:pt x="18" y="154"/>
                  </a:cubicBezTo>
                  <a:cubicBezTo>
                    <a:pt x="18" y="155"/>
                    <a:pt x="18" y="156"/>
                    <a:pt x="18" y="156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76">
              <a:extLst>
                <a:ext uri="{FF2B5EF4-FFF2-40B4-BE49-F238E27FC236}">
                  <a16:creationId xmlns:a16="http://schemas.microsoft.com/office/drawing/2014/main" id="{6538067B-99AA-4137-BE06-78A07480D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3333"/>
              <a:ext cx="33" cy="325"/>
            </a:xfrm>
            <a:custGeom>
              <a:avLst/>
              <a:gdLst>
                <a:gd name="T0" fmla="*/ 14 w 14"/>
                <a:gd name="T1" fmla="*/ 137 h 137"/>
                <a:gd name="T2" fmla="*/ 14 w 14"/>
                <a:gd name="T3" fmla="*/ 136 h 137"/>
                <a:gd name="T4" fmla="*/ 12 w 14"/>
                <a:gd name="T5" fmla="*/ 132 h 137"/>
                <a:gd name="T6" fmla="*/ 9 w 14"/>
                <a:gd name="T7" fmla="*/ 117 h 137"/>
                <a:gd name="T8" fmla="*/ 2 w 14"/>
                <a:gd name="T9" fmla="*/ 69 h 137"/>
                <a:gd name="T10" fmla="*/ 3 w 14"/>
                <a:gd name="T11" fmla="*/ 20 h 137"/>
                <a:gd name="T12" fmla="*/ 5 w 14"/>
                <a:gd name="T13" fmla="*/ 5 h 137"/>
                <a:gd name="T14" fmla="*/ 6 w 14"/>
                <a:gd name="T15" fmla="*/ 1 h 137"/>
                <a:gd name="T16" fmla="*/ 6 w 14"/>
                <a:gd name="T17" fmla="*/ 0 h 137"/>
                <a:gd name="T18" fmla="*/ 6 w 14"/>
                <a:gd name="T19" fmla="*/ 1 h 137"/>
                <a:gd name="T20" fmla="*/ 6 w 14"/>
                <a:gd name="T21" fmla="*/ 5 h 137"/>
                <a:gd name="T22" fmla="*/ 4 w 14"/>
                <a:gd name="T23" fmla="*/ 20 h 137"/>
                <a:gd name="T24" fmla="*/ 3 w 14"/>
                <a:gd name="T25" fmla="*/ 69 h 137"/>
                <a:gd name="T26" fmla="*/ 9 w 14"/>
                <a:gd name="T27" fmla="*/ 117 h 137"/>
                <a:gd name="T28" fmla="*/ 13 w 14"/>
                <a:gd name="T29" fmla="*/ 132 h 137"/>
                <a:gd name="T30" fmla="*/ 14 w 14"/>
                <a:gd name="T31" fmla="*/ 136 h 137"/>
                <a:gd name="T32" fmla="*/ 14 w 14"/>
                <a:gd name="T3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37">
                  <a:moveTo>
                    <a:pt x="14" y="137"/>
                  </a:moveTo>
                  <a:cubicBezTo>
                    <a:pt x="14" y="137"/>
                    <a:pt x="14" y="136"/>
                    <a:pt x="14" y="136"/>
                  </a:cubicBezTo>
                  <a:cubicBezTo>
                    <a:pt x="13" y="134"/>
                    <a:pt x="13" y="133"/>
                    <a:pt x="12" y="132"/>
                  </a:cubicBezTo>
                  <a:cubicBezTo>
                    <a:pt x="11" y="128"/>
                    <a:pt x="10" y="123"/>
                    <a:pt x="9" y="117"/>
                  </a:cubicBezTo>
                  <a:cubicBezTo>
                    <a:pt x="6" y="105"/>
                    <a:pt x="3" y="88"/>
                    <a:pt x="2" y="69"/>
                  </a:cubicBezTo>
                  <a:cubicBezTo>
                    <a:pt x="0" y="50"/>
                    <a:pt x="2" y="32"/>
                    <a:pt x="3" y="20"/>
                  </a:cubicBezTo>
                  <a:cubicBezTo>
                    <a:pt x="4" y="13"/>
                    <a:pt x="5" y="8"/>
                    <a:pt x="5" y="5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2"/>
                    <a:pt x="6" y="4"/>
                    <a:pt x="6" y="5"/>
                  </a:cubicBezTo>
                  <a:cubicBezTo>
                    <a:pt x="5" y="9"/>
                    <a:pt x="5" y="14"/>
                    <a:pt x="4" y="20"/>
                  </a:cubicBezTo>
                  <a:cubicBezTo>
                    <a:pt x="3" y="32"/>
                    <a:pt x="2" y="50"/>
                    <a:pt x="3" y="69"/>
                  </a:cubicBezTo>
                  <a:cubicBezTo>
                    <a:pt x="4" y="88"/>
                    <a:pt x="7" y="105"/>
                    <a:pt x="9" y="117"/>
                  </a:cubicBezTo>
                  <a:cubicBezTo>
                    <a:pt x="11" y="123"/>
                    <a:pt x="12" y="128"/>
                    <a:pt x="13" y="132"/>
                  </a:cubicBezTo>
                  <a:cubicBezTo>
                    <a:pt x="13" y="133"/>
                    <a:pt x="14" y="134"/>
                    <a:pt x="14" y="136"/>
                  </a:cubicBezTo>
                  <a:cubicBezTo>
                    <a:pt x="14" y="136"/>
                    <a:pt x="14" y="137"/>
                    <a:pt x="14" y="13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77">
              <a:extLst>
                <a:ext uri="{FF2B5EF4-FFF2-40B4-BE49-F238E27FC236}">
                  <a16:creationId xmlns:a16="http://schemas.microsoft.com/office/drawing/2014/main" id="{D21772D3-6AE9-41CC-8B42-8CE05CA04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" y="3385"/>
              <a:ext cx="5" cy="102"/>
            </a:xfrm>
            <a:custGeom>
              <a:avLst/>
              <a:gdLst>
                <a:gd name="T0" fmla="*/ 1 w 2"/>
                <a:gd name="T1" fmla="*/ 42 h 43"/>
                <a:gd name="T2" fmla="*/ 1 w 2"/>
                <a:gd name="T3" fmla="*/ 21 h 43"/>
                <a:gd name="T4" fmla="*/ 2 w 2"/>
                <a:gd name="T5" fmla="*/ 0 h 43"/>
                <a:gd name="T6" fmla="*/ 2 w 2"/>
                <a:gd name="T7" fmla="*/ 21 h 43"/>
                <a:gd name="T8" fmla="*/ 1 w 2"/>
                <a:gd name="T9" fmla="*/ 4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3">
                  <a:moveTo>
                    <a:pt x="1" y="42"/>
                  </a:moveTo>
                  <a:cubicBezTo>
                    <a:pt x="1" y="42"/>
                    <a:pt x="0" y="33"/>
                    <a:pt x="1" y="21"/>
                  </a:cubicBezTo>
                  <a:cubicBezTo>
                    <a:pt x="1" y="9"/>
                    <a:pt x="1" y="0"/>
                    <a:pt x="2" y="0"/>
                  </a:cubicBezTo>
                  <a:cubicBezTo>
                    <a:pt x="2" y="0"/>
                    <a:pt x="2" y="9"/>
                    <a:pt x="2" y="21"/>
                  </a:cubicBezTo>
                  <a:cubicBezTo>
                    <a:pt x="2" y="33"/>
                    <a:pt x="1" y="43"/>
                    <a:pt x="1" y="42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78">
              <a:extLst>
                <a:ext uri="{FF2B5EF4-FFF2-40B4-BE49-F238E27FC236}">
                  <a16:creationId xmlns:a16="http://schemas.microsoft.com/office/drawing/2014/main" id="{3EE0A2C5-1541-4910-A7C3-5ED0B9FD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" y="3380"/>
              <a:ext cx="764" cy="40"/>
            </a:xfrm>
            <a:custGeom>
              <a:avLst/>
              <a:gdLst>
                <a:gd name="T0" fmla="*/ 322 w 322"/>
                <a:gd name="T1" fmla="*/ 0 h 17"/>
                <a:gd name="T2" fmla="*/ 319 w 322"/>
                <a:gd name="T3" fmla="*/ 0 h 17"/>
                <a:gd name="T4" fmla="*/ 309 w 322"/>
                <a:gd name="T5" fmla="*/ 2 h 17"/>
                <a:gd name="T6" fmla="*/ 275 w 322"/>
                <a:gd name="T7" fmla="*/ 6 h 17"/>
                <a:gd name="T8" fmla="*/ 161 w 322"/>
                <a:gd name="T9" fmla="*/ 15 h 17"/>
                <a:gd name="T10" fmla="*/ 47 w 322"/>
                <a:gd name="T11" fmla="*/ 16 h 17"/>
                <a:gd name="T12" fmla="*/ 12 w 322"/>
                <a:gd name="T13" fmla="*/ 15 h 17"/>
                <a:gd name="T14" fmla="*/ 3 w 322"/>
                <a:gd name="T15" fmla="*/ 14 h 17"/>
                <a:gd name="T16" fmla="*/ 0 w 322"/>
                <a:gd name="T17" fmla="*/ 14 h 17"/>
                <a:gd name="T18" fmla="*/ 3 w 322"/>
                <a:gd name="T19" fmla="*/ 14 h 17"/>
                <a:gd name="T20" fmla="*/ 12 w 322"/>
                <a:gd name="T21" fmla="*/ 14 h 17"/>
                <a:gd name="T22" fmla="*/ 47 w 322"/>
                <a:gd name="T23" fmla="*/ 15 h 17"/>
                <a:gd name="T24" fmla="*/ 161 w 322"/>
                <a:gd name="T25" fmla="*/ 14 h 17"/>
                <a:gd name="T26" fmla="*/ 275 w 322"/>
                <a:gd name="T27" fmla="*/ 5 h 17"/>
                <a:gd name="T28" fmla="*/ 309 w 322"/>
                <a:gd name="T29" fmla="*/ 1 h 17"/>
                <a:gd name="T30" fmla="*/ 319 w 322"/>
                <a:gd name="T31" fmla="*/ 0 h 17"/>
                <a:gd name="T32" fmla="*/ 322 w 322"/>
                <a:gd name="T3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2" h="17">
                  <a:moveTo>
                    <a:pt x="322" y="0"/>
                  </a:moveTo>
                  <a:cubicBezTo>
                    <a:pt x="322" y="0"/>
                    <a:pt x="321" y="0"/>
                    <a:pt x="319" y="0"/>
                  </a:cubicBezTo>
                  <a:cubicBezTo>
                    <a:pt x="316" y="1"/>
                    <a:pt x="313" y="1"/>
                    <a:pt x="309" y="2"/>
                  </a:cubicBezTo>
                  <a:cubicBezTo>
                    <a:pt x="301" y="3"/>
                    <a:pt x="290" y="5"/>
                    <a:pt x="275" y="6"/>
                  </a:cubicBezTo>
                  <a:cubicBezTo>
                    <a:pt x="246" y="10"/>
                    <a:pt x="206" y="13"/>
                    <a:pt x="161" y="15"/>
                  </a:cubicBezTo>
                  <a:cubicBezTo>
                    <a:pt x="117" y="17"/>
                    <a:pt x="76" y="17"/>
                    <a:pt x="47" y="16"/>
                  </a:cubicBezTo>
                  <a:cubicBezTo>
                    <a:pt x="32" y="16"/>
                    <a:pt x="21" y="15"/>
                    <a:pt x="12" y="15"/>
                  </a:cubicBezTo>
                  <a:cubicBezTo>
                    <a:pt x="9" y="15"/>
                    <a:pt x="5" y="15"/>
                    <a:pt x="3" y="14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14"/>
                    <a:pt x="1" y="14"/>
                    <a:pt x="3" y="14"/>
                  </a:cubicBezTo>
                  <a:cubicBezTo>
                    <a:pt x="5" y="14"/>
                    <a:pt x="9" y="14"/>
                    <a:pt x="12" y="14"/>
                  </a:cubicBezTo>
                  <a:cubicBezTo>
                    <a:pt x="21" y="15"/>
                    <a:pt x="32" y="15"/>
                    <a:pt x="47" y="15"/>
                  </a:cubicBezTo>
                  <a:cubicBezTo>
                    <a:pt x="76" y="16"/>
                    <a:pt x="117" y="16"/>
                    <a:pt x="161" y="14"/>
                  </a:cubicBezTo>
                  <a:cubicBezTo>
                    <a:pt x="206" y="12"/>
                    <a:pt x="246" y="9"/>
                    <a:pt x="275" y="5"/>
                  </a:cubicBezTo>
                  <a:cubicBezTo>
                    <a:pt x="289" y="4"/>
                    <a:pt x="301" y="2"/>
                    <a:pt x="309" y="1"/>
                  </a:cubicBezTo>
                  <a:cubicBezTo>
                    <a:pt x="313" y="1"/>
                    <a:pt x="316" y="0"/>
                    <a:pt x="319" y="0"/>
                  </a:cubicBezTo>
                  <a:cubicBezTo>
                    <a:pt x="321" y="0"/>
                    <a:pt x="322" y="0"/>
                    <a:pt x="322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79">
              <a:extLst>
                <a:ext uri="{FF2B5EF4-FFF2-40B4-BE49-F238E27FC236}">
                  <a16:creationId xmlns:a16="http://schemas.microsoft.com/office/drawing/2014/main" id="{977D3143-7086-41B0-8100-B97696744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" y="3544"/>
              <a:ext cx="665" cy="24"/>
            </a:xfrm>
            <a:custGeom>
              <a:avLst/>
              <a:gdLst>
                <a:gd name="T0" fmla="*/ 280 w 280"/>
                <a:gd name="T1" fmla="*/ 1 h 10"/>
                <a:gd name="T2" fmla="*/ 278 w 280"/>
                <a:gd name="T3" fmla="*/ 1 h 10"/>
                <a:gd name="T4" fmla="*/ 269 w 280"/>
                <a:gd name="T5" fmla="*/ 1 h 10"/>
                <a:gd name="T6" fmla="*/ 239 w 280"/>
                <a:gd name="T7" fmla="*/ 1 h 10"/>
                <a:gd name="T8" fmla="*/ 140 w 280"/>
                <a:gd name="T9" fmla="*/ 3 h 10"/>
                <a:gd name="T10" fmla="*/ 41 w 280"/>
                <a:gd name="T11" fmla="*/ 8 h 10"/>
                <a:gd name="T12" fmla="*/ 11 w 280"/>
                <a:gd name="T13" fmla="*/ 10 h 10"/>
                <a:gd name="T14" fmla="*/ 3 w 280"/>
                <a:gd name="T15" fmla="*/ 10 h 10"/>
                <a:gd name="T16" fmla="*/ 0 w 280"/>
                <a:gd name="T17" fmla="*/ 10 h 10"/>
                <a:gd name="T18" fmla="*/ 3 w 280"/>
                <a:gd name="T19" fmla="*/ 10 h 10"/>
                <a:gd name="T20" fmla="*/ 11 w 280"/>
                <a:gd name="T21" fmla="*/ 9 h 10"/>
                <a:gd name="T22" fmla="*/ 41 w 280"/>
                <a:gd name="T23" fmla="*/ 7 h 10"/>
                <a:gd name="T24" fmla="*/ 140 w 280"/>
                <a:gd name="T25" fmla="*/ 2 h 10"/>
                <a:gd name="T26" fmla="*/ 239 w 280"/>
                <a:gd name="T27" fmla="*/ 0 h 10"/>
                <a:gd name="T28" fmla="*/ 269 w 280"/>
                <a:gd name="T29" fmla="*/ 1 h 10"/>
                <a:gd name="T30" fmla="*/ 278 w 280"/>
                <a:gd name="T31" fmla="*/ 1 h 10"/>
                <a:gd name="T32" fmla="*/ 280 w 280"/>
                <a:gd name="T3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0" h="10">
                  <a:moveTo>
                    <a:pt x="280" y="1"/>
                  </a:moveTo>
                  <a:cubicBezTo>
                    <a:pt x="280" y="1"/>
                    <a:pt x="279" y="1"/>
                    <a:pt x="278" y="1"/>
                  </a:cubicBezTo>
                  <a:cubicBezTo>
                    <a:pt x="276" y="1"/>
                    <a:pt x="273" y="1"/>
                    <a:pt x="269" y="1"/>
                  </a:cubicBezTo>
                  <a:cubicBezTo>
                    <a:pt x="262" y="1"/>
                    <a:pt x="252" y="1"/>
                    <a:pt x="239" y="1"/>
                  </a:cubicBezTo>
                  <a:cubicBezTo>
                    <a:pt x="214" y="1"/>
                    <a:pt x="179" y="2"/>
                    <a:pt x="140" y="3"/>
                  </a:cubicBezTo>
                  <a:cubicBezTo>
                    <a:pt x="101" y="4"/>
                    <a:pt x="66" y="6"/>
                    <a:pt x="41" y="8"/>
                  </a:cubicBezTo>
                  <a:cubicBezTo>
                    <a:pt x="28" y="9"/>
                    <a:pt x="18" y="9"/>
                    <a:pt x="11" y="10"/>
                  </a:cubicBezTo>
                  <a:cubicBezTo>
                    <a:pt x="7" y="10"/>
                    <a:pt x="5" y="10"/>
                    <a:pt x="3" y="10"/>
                  </a:cubicBezTo>
                  <a:cubicBezTo>
                    <a:pt x="1" y="10"/>
                    <a:pt x="0" y="10"/>
                    <a:pt x="0" y="10"/>
                  </a:cubicBezTo>
                  <a:cubicBezTo>
                    <a:pt x="0" y="10"/>
                    <a:pt x="1" y="10"/>
                    <a:pt x="3" y="10"/>
                  </a:cubicBezTo>
                  <a:cubicBezTo>
                    <a:pt x="5" y="10"/>
                    <a:pt x="7" y="10"/>
                    <a:pt x="11" y="9"/>
                  </a:cubicBezTo>
                  <a:cubicBezTo>
                    <a:pt x="18" y="9"/>
                    <a:pt x="28" y="8"/>
                    <a:pt x="41" y="7"/>
                  </a:cubicBezTo>
                  <a:cubicBezTo>
                    <a:pt x="66" y="5"/>
                    <a:pt x="101" y="3"/>
                    <a:pt x="140" y="2"/>
                  </a:cubicBezTo>
                  <a:cubicBezTo>
                    <a:pt x="179" y="0"/>
                    <a:pt x="214" y="0"/>
                    <a:pt x="239" y="0"/>
                  </a:cubicBezTo>
                  <a:cubicBezTo>
                    <a:pt x="252" y="0"/>
                    <a:pt x="262" y="0"/>
                    <a:pt x="269" y="1"/>
                  </a:cubicBezTo>
                  <a:cubicBezTo>
                    <a:pt x="273" y="1"/>
                    <a:pt x="276" y="1"/>
                    <a:pt x="278" y="1"/>
                  </a:cubicBezTo>
                  <a:cubicBezTo>
                    <a:pt x="279" y="1"/>
                    <a:pt x="280" y="1"/>
                    <a:pt x="280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80">
              <a:extLst>
                <a:ext uri="{FF2B5EF4-FFF2-40B4-BE49-F238E27FC236}">
                  <a16:creationId xmlns:a16="http://schemas.microsoft.com/office/drawing/2014/main" id="{4A630387-EA8F-46A2-B3A5-16A8726E7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" y="3589"/>
              <a:ext cx="90" cy="14"/>
            </a:xfrm>
            <a:custGeom>
              <a:avLst/>
              <a:gdLst>
                <a:gd name="T0" fmla="*/ 38 w 38"/>
                <a:gd name="T1" fmla="*/ 0 h 6"/>
                <a:gd name="T2" fmla="*/ 19 w 38"/>
                <a:gd name="T3" fmla="*/ 3 h 6"/>
                <a:gd name="T4" fmla="*/ 0 w 38"/>
                <a:gd name="T5" fmla="*/ 5 h 6"/>
                <a:gd name="T6" fmla="*/ 19 w 38"/>
                <a:gd name="T7" fmla="*/ 2 h 6"/>
                <a:gd name="T8" fmla="*/ 38 w 38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6">
                  <a:moveTo>
                    <a:pt x="38" y="0"/>
                  </a:moveTo>
                  <a:cubicBezTo>
                    <a:pt x="38" y="1"/>
                    <a:pt x="30" y="2"/>
                    <a:pt x="19" y="3"/>
                  </a:cubicBezTo>
                  <a:cubicBezTo>
                    <a:pt x="9" y="5"/>
                    <a:pt x="0" y="6"/>
                    <a:pt x="0" y="5"/>
                  </a:cubicBezTo>
                  <a:cubicBezTo>
                    <a:pt x="0" y="5"/>
                    <a:pt x="9" y="3"/>
                    <a:pt x="19" y="2"/>
                  </a:cubicBezTo>
                  <a:cubicBezTo>
                    <a:pt x="30" y="1"/>
                    <a:pt x="38" y="0"/>
                    <a:pt x="38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281">
              <a:extLst>
                <a:ext uri="{FF2B5EF4-FFF2-40B4-BE49-F238E27FC236}">
                  <a16:creationId xmlns:a16="http://schemas.microsoft.com/office/drawing/2014/main" id="{ECDC9FDE-A6AD-4035-A689-B91F24686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" y="3416"/>
              <a:ext cx="23" cy="244"/>
            </a:xfrm>
            <a:custGeom>
              <a:avLst/>
              <a:gdLst>
                <a:gd name="T0" fmla="*/ 10 w 10"/>
                <a:gd name="T1" fmla="*/ 103 h 103"/>
                <a:gd name="T2" fmla="*/ 9 w 10"/>
                <a:gd name="T3" fmla="*/ 99 h 103"/>
                <a:gd name="T4" fmla="*/ 6 w 10"/>
                <a:gd name="T5" fmla="*/ 88 h 103"/>
                <a:gd name="T6" fmla="*/ 1 w 10"/>
                <a:gd name="T7" fmla="*/ 52 h 103"/>
                <a:gd name="T8" fmla="*/ 1 w 10"/>
                <a:gd name="T9" fmla="*/ 15 h 103"/>
                <a:gd name="T10" fmla="*/ 1 w 10"/>
                <a:gd name="T11" fmla="*/ 4 h 103"/>
                <a:gd name="T12" fmla="*/ 2 w 10"/>
                <a:gd name="T13" fmla="*/ 0 h 103"/>
                <a:gd name="T14" fmla="*/ 2 w 10"/>
                <a:gd name="T15" fmla="*/ 4 h 103"/>
                <a:gd name="T16" fmla="*/ 2 w 10"/>
                <a:gd name="T17" fmla="*/ 15 h 103"/>
                <a:gd name="T18" fmla="*/ 3 w 10"/>
                <a:gd name="T19" fmla="*/ 52 h 103"/>
                <a:gd name="T20" fmla="*/ 7 w 10"/>
                <a:gd name="T21" fmla="*/ 88 h 103"/>
                <a:gd name="T22" fmla="*/ 9 w 10"/>
                <a:gd name="T23" fmla="*/ 99 h 103"/>
                <a:gd name="T24" fmla="*/ 10 w 1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3">
                  <a:moveTo>
                    <a:pt x="10" y="103"/>
                  </a:moveTo>
                  <a:cubicBezTo>
                    <a:pt x="10" y="103"/>
                    <a:pt x="10" y="102"/>
                    <a:pt x="9" y="99"/>
                  </a:cubicBezTo>
                  <a:cubicBezTo>
                    <a:pt x="8" y="96"/>
                    <a:pt x="7" y="93"/>
                    <a:pt x="6" y="88"/>
                  </a:cubicBezTo>
                  <a:cubicBezTo>
                    <a:pt x="5" y="79"/>
                    <a:pt x="3" y="66"/>
                    <a:pt x="1" y="52"/>
                  </a:cubicBezTo>
                  <a:cubicBezTo>
                    <a:pt x="0" y="38"/>
                    <a:pt x="0" y="25"/>
                    <a:pt x="1" y="15"/>
                  </a:cubicBezTo>
                  <a:cubicBezTo>
                    <a:pt x="1" y="11"/>
                    <a:pt x="1" y="7"/>
                    <a:pt x="1" y="4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2"/>
                    <a:pt x="2" y="4"/>
                  </a:cubicBezTo>
                  <a:cubicBezTo>
                    <a:pt x="2" y="7"/>
                    <a:pt x="2" y="11"/>
                    <a:pt x="2" y="15"/>
                  </a:cubicBezTo>
                  <a:cubicBezTo>
                    <a:pt x="1" y="25"/>
                    <a:pt x="2" y="38"/>
                    <a:pt x="3" y="52"/>
                  </a:cubicBezTo>
                  <a:cubicBezTo>
                    <a:pt x="4" y="66"/>
                    <a:pt x="6" y="79"/>
                    <a:pt x="7" y="88"/>
                  </a:cubicBezTo>
                  <a:cubicBezTo>
                    <a:pt x="8" y="92"/>
                    <a:pt x="9" y="96"/>
                    <a:pt x="9" y="99"/>
                  </a:cubicBezTo>
                  <a:cubicBezTo>
                    <a:pt x="10" y="101"/>
                    <a:pt x="10" y="103"/>
                    <a:pt x="10" y="10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282">
              <a:extLst>
                <a:ext uri="{FF2B5EF4-FFF2-40B4-BE49-F238E27FC236}">
                  <a16:creationId xmlns:a16="http://schemas.microsoft.com/office/drawing/2014/main" id="{1A0301EA-1A76-4ACC-A0C6-BC5B33207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" y="3646"/>
              <a:ext cx="1059" cy="442"/>
            </a:xfrm>
            <a:custGeom>
              <a:avLst/>
              <a:gdLst>
                <a:gd name="T0" fmla="*/ 446 w 446"/>
                <a:gd name="T1" fmla="*/ 186 h 186"/>
                <a:gd name="T2" fmla="*/ 0 w 446"/>
                <a:gd name="T3" fmla="*/ 186 h 186"/>
                <a:gd name="T4" fmla="*/ 0 w 446"/>
                <a:gd name="T5" fmla="*/ 62 h 186"/>
                <a:gd name="T6" fmla="*/ 62 w 446"/>
                <a:gd name="T7" fmla="*/ 0 h 186"/>
                <a:gd name="T8" fmla="*/ 384 w 446"/>
                <a:gd name="T9" fmla="*/ 0 h 186"/>
                <a:gd name="T10" fmla="*/ 446 w 446"/>
                <a:gd name="T11" fmla="*/ 62 h 186"/>
                <a:gd name="T12" fmla="*/ 446 w 446"/>
                <a:gd name="T1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6" h="186">
                  <a:moveTo>
                    <a:pt x="446" y="186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418" y="0"/>
                    <a:pt x="446" y="28"/>
                    <a:pt x="446" y="62"/>
                  </a:cubicBezTo>
                  <a:lnTo>
                    <a:pt x="446" y="186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83">
              <a:extLst>
                <a:ext uri="{FF2B5EF4-FFF2-40B4-BE49-F238E27FC236}">
                  <a16:creationId xmlns:a16="http://schemas.microsoft.com/office/drawing/2014/main" id="{3403115B-6856-41FA-B7B0-EC98ED3A4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" y="3819"/>
              <a:ext cx="565" cy="231"/>
            </a:xfrm>
            <a:custGeom>
              <a:avLst/>
              <a:gdLst>
                <a:gd name="T0" fmla="*/ 238 w 238"/>
                <a:gd name="T1" fmla="*/ 0 h 97"/>
                <a:gd name="T2" fmla="*/ 236 w 238"/>
                <a:gd name="T3" fmla="*/ 2 h 97"/>
                <a:gd name="T4" fmla="*/ 229 w 238"/>
                <a:gd name="T5" fmla="*/ 6 h 97"/>
                <a:gd name="T6" fmla="*/ 206 w 238"/>
                <a:gd name="T7" fmla="*/ 21 h 97"/>
                <a:gd name="T8" fmla="*/ 170 w 238"/>
                <a:gd name="T9" fmla="*/ 41 h 97"/>
                <a:gd name="T10" fmla="*/ 124 w 238"/>
                <a:gd name="T11" fmla="*/ 62 h 97"/>
                <a:gd name="T12" fmla="*/ 77 w 238"/>
                <a:gd name="T13" fmla="*/ 79 h 97"/>
                <a:gd name="T14" fmla="*/ 37 w 238"/>
                <a:gd name="T15" fmla="*/ 90 h 97"/>
                <a:gd name="T16" fmla="*/ 10 w 238"/>
                <a:gd name="T17" fmla="*/ 95 h 97"/>
                <a:gd name="T18" fmla="*/ 2 w 238"/>
                <a:gd name="T19" fmla="*/ 96 h 97"/>
                <a:gd name="T20" fmla="*/ 0 w 238"/>
                <a:gd name="T21" fmla="*/ 97 h 97"/>
                <a:gd name="T22" fmla="*/ 2 w 238"/>
                <a:gd name="T23" fmla="*/ 96 h 97"/>
                <a:gd name="T24" fmla="*/ 10 w 238"/>
                <a:gd name="T25" fmla="*/ 94 h 97"/>
                <a:gd name="T26" fmla="*/ 37 w 238"/>
                <a:gd name="T27" fmla="*/ 88 h 97"/>
                <a:gd name="T28" fmla="*/ 76 w 238"/>
                <a:gd name="T29" fmla="*/ 77 h 97"/>
                <a:gd name="T30" fmla="*/ 123 w 238"/>
                <a:gd name="T31" fmla="*/ 60 h 97"/>
                <a:gd name="T32" fmla="*/ 169 w 238"/>
                <a:gd name="T33" fmla="*/ 39 h 97"/>
                <a:gd name="T34" fmla="*/ 205 w 238"/>
                <a:gd name="T35" fmla="*/ 20 h 97"/>
                <a:gd name="T36" fmla="*/ 229 w 238"/>
                <a:gd name="T37" fmla="*/ 5 h 97"/>
                <a:gd name="T38" fmla="*/ 235 w 238"/>
                <a:gd name="T39" fmla="*/ 2 h 97"/>
                <a:gd name="T40" fmla="*/ 238 w 238"/>
                <a:gd name="T41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97">
                  <a:moveTo>
                    <a:pt x="238" y="0"/>
                  </a:moveTo>
                  <a:cubicBezTo>
                    <a:pt x="238" y="0"/>
                    <a:pt x="237" y="1"/>
                    <a:pt x="236" y="2"/>
                  </a:cubicBezTo>
                  <a:cubicBezTo>
                    <a:pt x="234" y="3"/>
                    <a:pt x="232" y="4"/>
                    <a:pt x="229" y="6"/>
                  </a:cubicBezTo>
                  <a:cubicBezTo>
                    <a:pt x="224" y="10"/>
                    <a:pt x="216" y="15"/>
                    <a:pt x="206" y="21"/>
                  </a:cubicBezTo>
                  <a:cubicBezTo>
                    <a:pt x="196" y="27"/>
                    <a:pt x="184" y="34"/>
                    <a:pt x="170" y="41"/>
                  </a:cubicBezTo>
                  <a:cubicBezTo>
                    <a:pt x="156" y="48"/>
                    <a:pt x="141" y="55"/>
                    <a:pt x="124" y="62"/>
                  </a:cubicBezTo>
                  <a:cubicBezTo>
                    <a:pt x="107" y="68"/>
                    <a:pt x="91" y="74"/>
                    <a:pt x="77" y="79"/>
                  </a:cubicBezTo>
                  <a:cubicBezTo>
                    <a:pt x="62" y="83"/>
                    <a:pt x="48" y="87"/>
                    <a:pt x="37" y="90"/>
                  </a:cubicBezTo>
                  <a:cubicBezTo>
                    <a:pt x="25" y="92"/>
                    <a:pt x="16" y="94"/>
                    <a:pt x="10" y="95"/>
                  </a:cubicBezTo>
                  <a:cubicBezTo>
                    <a:pt x="7" y="96"/>
                    <a:pt x="4" y="96"/>
                    <a:pt x="2" y="96"/>
                  </a:cubicBezTo>
                  <a:cubicBezTo>
                    <a:pt x="1" y="97"/>
                    <a:pt x="0" y="97"/>
                    <a:pt x="0" y="97"/>
                  </a:cubicBezTo>
                  <a:cubicBezTo>
                    <a:pt x="0" y="97"/>
                    <a:pt x="1" y="96"/>
                    <a:pt x="2" y="96"/>
                  </a:cubicBezTo>
                  <a:cubicBezTo>
                    <a:pt x="4" y="96"/>
                    <a:pt x="7" y="95"/>
                    <a:pt x="10" y="94"/>
                  </a:cubicBezTo>
                  <a:cubicBezTo>
                    <a:pt x="16" y="93"/>
                    <a:pt x="25" y="91"/>
                    <a:pt x="37" y="88"/>
                  </a:cubicBezTo>
                  <a:cubicBezTo>
                    <a:pt x="48" y="85"/>
                    <a:pt x="61" y="81"/>
                    <a:pt x="76" y="77"/>
                  </a:cubicBezTo>
                  <a:cubicBezTo>
                    <a:pt x="91" y="72"/>
                    <a:pt x="107" y="66"/>
                    <a:pt x="123" y="60"/>
                  </a:cubicBezTo>
                  <a:cubicBezTo>
                    <a:pt x="140" y="53"/>
                    <a:pt x="155" y="46"/>
                    <a:pt x="169" y="39"/>
                  </a:cubicBezTo>
                  <a:cubicBezTo>
                    <a:pt x="183" y="32"/>
                    <a:pt x="195" y="26"/>
                    <a:pt x="205" y="20"/>
                  </a:cubicBezTo>
                  <a:cubicBezTo>
                    <a:pt x="215" y="14"/>
                    <a:pt x="223" y="9"/>
                    <a:pt x="229" y="5"/>
                  </a:cubicBezTo>
                  <a:cubicBezTo>
                    <a:pt x="232" y="4"/>
                    <a:pt x="234" y="3"/>
                    <a:pt x="235" y="2"/>
                  </a:cubicBezTo>
                  <a:cubicBezTo>
                    <a:pt x="237" y="1"/>
                    <a:pt x="238" y="0"/>
                    <a:pt x="23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84">
              <a:extLst>
                <a:ext uri="{FF2B5EF4-FFF2-40B4-BE49-F238E27FC236}">
                  <a16:creationId xmlns:a16="http://schemas.microsoft.com/office/drawing/2014/main" id="{356B7BCD-34D4-4C77-865A-A9D03DCEB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3648"/>
              <a:ext cx="190" cy="437"/>
            </a:xfrm>
            <a:custGeom>
              <a:avLst/>
              <a:gdLst>
                <a:gd name="T0" fmla="*/ 80 w 80"/>
                <a:gd name="T1" fmla="*/ 0 h 184"/>
                <a:gd name="T2" fmla="*/ 77 w 80"/>
                <a:gd name="T3" fmla="*/ 0 h 184"/>
                <a:gd name="T4" fmla="*/ 70 w 80"/>
                <a:gd name="T5" fmla="*/ 1 h 184"/>
                <a:gd name="T6" fmla="*/ 45 w 80"/>
                <a:gd name="T7" fmla="*/ 4 h 184"/>
                <a:gd name="T8" fmla="*/ 29 w 80"/>
                <a:gd name="T9" fmla="*/ 10 h 184"/>
                <a:gd name="T10" fmla="*/ 15 w 80"/>
                <a:gd name="T11" fmla="*/ 23 h 184"/>
                <a:gd name="T12" fmla="*/ 7 w 80"/>
                <a:gd name="T13" fmla="*/ 43 h 184"/>
                <a:gd name="T14" fmla="*/ 5 w 80"/>
                <a:gd name="T15" fmla="*/ 66 h 184"/>
                <a:gd name="T16" fmla="*/ 2 w 80"/>
                <a:gd name="T17" fmla="*/ 150 h 184"/>
                <a:gd name="T18" fmla="*/ 1 w 80"/>
                <a:gd name="T19" fmla="*/ 175 h 184"/>
                <a:gd name="T20" fmla="*/ 1 w 80"/>
                <a:gd name="T21" fmla="*/ 182 h 184"/>
                <a:gd name="T22" fmla="*/ 0 w 80"/>
                <a:gd name="T23" fmla="*/ 184 h 184"/>
                <a:gd name="T24" fmla="*/ 0 w 80"/>
                <a:gd name="T25" fmla="*/ 182 h 184"/>
                <a:gd name="T26" fmla="*/ 0 w 80"/>
                <a:gd name="T27" fmla="*/ 175 h 184"/>
                <a:gd name="T28" fmla="*/ 1 w 80"/>
                <a:gd name="T29" fmla="*/ 149 h 184"/>
                <a:gd name="T30" fmla="*/ 3 w 80"/>
                <a:gd name="T31" fmla="*/ 66 h 184"/>
                <a:gd name="T32" fmla="*/ 5 w 80"/>
                <a:gd name="T33" fmla="*/ 42 h 184"/>
                <a:gd name="T34" fmla="*/ 13 w 80"/>
                <a:gd name="T35" fmla="*/ 22 h 184"/>
                <a:gd name="T36" fmla="*/ 29 w 80"/>
                <a:gd name="T37" fmla="*/ 9 h 184"/>
                <a:gd name="T38" fmla="*/ 45 w 80"/>
                <a:gd name="T39" fmla="*/ 3 h 184"/>
                <a:gd name="T40" fmla="*/ 70 w 80"/>
                <a:gd name="T41" fmla="*/ 0 h 184"/>
                <a:gd name="T42" fmla="*/ 77 w 80"/>
                <a:gd name="T43" fmla="*/ 0 h 184"/>
                <a:gd name="T44" fmla="*/ 80 w 80"/>
                <a:gd name="T4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184">
                  <a:moveTo>
                    <a:pt x="80" y="0"/>
                  </a:moveTo>
                  <a:cubicBezTo>
                    <a:pt x="80" y="0"/>
                    <a:pt x="79" y="0"/>
                    <a:pt x="77" y="0"/>
                  </a:cubicBezTo>
                  <a:cubicBezTo>
                    <a:pt x="75" y="1"/>
                    <a:pt x="73" y="1"/>
                    <a:pt x="70" y="1"/>
                  </a:cubicBezTo>
                  <a:cubicBezTo>
                    <a:pt x="64" y="1"/>
                    <a:pt x="56" y="2"/>
                    <a:pt x="45" y="4"/>
                  </a:cubicBezTo>
                  <a:cubicBezTo>
                    <a:pt x="40" y="5"/>
                    <a:pt x="35" y="7"/>
                    <a:pt x="29" y="10"/>
                  </a:cubicBezTo>
                  <a:cubicBezTo>
                    <a:pt x="24" y="13"/>
                    <a:pt x="19" y="17"/>
                    <a:pt x="15" y="23"/>
                  </a:cubicBezTo>
                  <a:cubicBezTo>
                    <a:pt x="11" y="28"/>
                    <a:pt x="8" y="35"/>
                    <a:pt x="7" y="43"/>
                  </a:cubicBezTo>
                  <a:cubicBezTo>
                    <a:pt x="5" y="50"/>
                    <a:pt x="5" y="58"/>
                    <a:pt x="5" y="66"/>
                  </a:cubicBezTo>
                  <a:cubicBezTo>
                    <a:pt x="4" y="99"/>
                    <a:pt x="3" y="128"/>
                    <a:pt x="2" y="150"/>
                  </a:cubicBezTo>
                  <a:cubicBezTo>
                    <a:pt x="2" y="160"/>
                    <a:pt x="1" y="168"/>
                    <a:pt x="1" y="175"/>
                  </a:cubicBezTo>
                  <a:cubicBezTo>
                    <a:pt x="1" y="178"/>
                    <a:pt x="1" y="180"/>
                    <a:pt x="1" y="182"/>
                  </a:cubicBezTo>
                  <a:cubicBezTo>
                    <a:pt x="1" y="183"/>
                    <a:pt x="0" y="184"/>
                    <a:pt x="0" y="184"/>
                  </a:cubicBezTo>
                  <a:cubicBezTo>
                    <a:pt x="0" y="184"/>
                    <a:pt x="0" y="183"/>
                    <a:pt x="0" y="182"/>
                  </a:cubicBezTo>
                  <a:cubicBezTo>
                    <a:pt x="0" y="180"/>
                    <a:pt x="0" y="178"/>
                    <a:pt x="0" y="175"/>
                  </a:cubicBezTo>
                  <a:cubicBezTo>
                    <a:pt x="0" y="168"/>
                    <a:pt x="0" y="160"/>
                    <a:pt x="1" y="149"/>
                  </a:cubicBezTo>
                  <a:cubicBezTo>
                    <a:pt x="1" y="128"/>
                    <a:pt x="2" y="99"/>
                    <a:pt x="3" y="66"/>
                  </a:cubicBezTo>
                  <a:cubicBezTo>
                    <a:pt x="3" y="58"/>
                    <a:pt x="3" y="50"/>
                    <a:pt x="5" y="42"/>
                  </a:cubicBezTo>
                  <a:cubicBezTo>
                    <a:pt x="6" y="35"/>
                    <a:pt x="9" y="28"/>
                    <a:pt x="13" y="22"/>
                  </a:cubicBezTo>
                  <a:cubicBezTo>
                    <a:pt x="17" y="16"/>
                    <a:pt x="23" y="11"/>
                    <a:pt x="29" y="9"/>
                  </a:cubicBezTo>
                  <a:cubicBezTo>
                    <a:pt x="34" y="6"/>
                    <a:pt x="40" y="4"/>
                    <a:pt x="45" y="3"/>
                  </a:cubicBezTo>
                  <a:cubicBezTo>
                    <a:pt x="56" y="1"/>
                    <a:pt x="64" y="0"/>
                    <a:pt x="70" y="0"/>
                  </a:cubicBezTo>
                  <a:cubicBezTo>
                    <a:pt x="73" y="0"/>
                    <a:pt x="76" y="0"/>
                    <a:pt x="77" y="0"/>
                  </a:cubicBezTo>
                  <a:cubicBezTo>
                    <a:pt x="79" y="0"/>
                    <a:pt x="80" y="0"/>
                    <a:pt x="8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2" name="Rectangle: Rounded Corners 331">
            <a:extLst>
              <a:ext uri="{FF2B5EF4-FFF2-40B4-BE49-F238E27FC236}">
                <a16:creationId xmlns:a16="http://schemas.microsoft.com/office/drawing/2014/main" id="{ACE5AB4C-AFE7-4299-B0CD-0D9DD6B8B790}"/>
              </a:ext>
            </a:extLst>
          </p:cNvPr>
          <p:cNvSpPr/>
          <p:nvPr/>
        </p:nvSpPr>
        <p:spPr>
          <a:xfrm>
            <a:off x="1445925" y="3491013"/>
            <a:ext cx="141918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3" name="Rectangle: Rounded Corners 332">
            <a:extLst>
              <a:ext uri="{FF2B5EF4-FFF2-40B4-BE49-F238E27FC236}">
                <a16:creationId xmlns:a16="http://schemas.microsoft.com/office/drawing/2014/main" id="{52F45F7D-059B-4F7E-B23A-15452A2339B8}"/>
              </a:ext>
            </a:extLst>
          </p:cNvPr>
          <p:cNvSpPr/>
          <p:nvPr/>
        </p:nvSpPr>
        <p:spPr>
          <a:xfrm>
            <a:off x="1445925" y="3612457"/>
            <a:ext cx="141918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4" name="Rectangle: Rounded Corners 333">
            <a:extLst>
              <a:ext uri="{FF2B5EF4-FFF2-40B4-BE49-F238E27FC236}">
                <a16:creationId xmlns:a16="http://schemas.microsoft.com/office/drawing/2014/main" id="{61C7B396-21DB-4A15-99C4-5480EC82326C}"/>
              </a:ext>
            </a:extLst>
          </p:cNvPr>
          <p:cNvSpPr/>
          <p:nvPr/>
        </p:nvSpPr>
        <p:spPr>
          <a:xfrm>
            <a:off x="1445925" y="3733901"/>
            <a:ext cx="141918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5" name="Rectangle: Rounded Corners 334">
            <a:extLst>
              <a:ext uri="{FF2B5EF4-FFF2-40B4-BE49-F238E27FC236}">
                <a16:creationId xmlns:a16="http://schemas.microsoft.com/office/drawing/2014/main" id="{FBCF02AA-9574-4FDE-91F9-E4FD7F595700}"/>
              </a:ext>
            </a:extLst>
          </p:cNvPr>
          <p:cNvSpPr/>
          <p:nvPr/>
        </p:nvSpPr>
        <p:spPr>
          <a:xfrm>
            <a:off x="1445925" y="3855345"/>
            <a:ext cx="141918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6" name="Rectangle: Rounded Corners 335">
            <a:extLst>
              <a:ext uri="{FF2B5EF4-FFF2-40B4-BE49-F238E27FC236}">
                <a16:creationId xmlns:a16="http://schemas.microsoft.com/office/drawing/2014/main" id="{FB99F84A-2291-4876-AA63-46ADC82E0599}"/>
              </a:ext>
            </a:extLst>
          </p:cNvPr>
          <p:cNvSpPr/>
          <p:nvPr/>
        </p:nvSpPr>
        <p:spPr>
          <a:xfrm>
            <a:off x="1445925" y="3976789"/>
            <a:ext cx="141918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7" name="Rectangle: Rounded Corners 336">
            <a:extLst>
              <a:ext uri="{FF2B5EF4-FFF2-40B4-BE49-F238E27FC236}">
                <a16:creationId xmlns:a16="http://schemas.microsoft.com/office/drawing/2014/main" id="{6D13C668-830E-4FE4-AE6E-B8F1876E196F}"/>
              </a:ext>
            </a:extLst>
          </p:cNvPr>
          <p:cNvSpPr/>
          <p:nvPr/>
        </p:nvSpPr>
        <p:spPr>
          <a:xfrm>
            <a:off x="1445925" y="4098233"/>
            <a:ext cx="129125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8" name="Rectangle: Rounded Corners 337">
            <a:extLst>
              <a:ext uri="{FF2B5EF4-FFF2-40B4-BE49-F238E27FC236}">
                <a16:creationId xmlns:a16="http://schemas.microsoft.com/office/drawing/2014/main" id="{47804F4C-0F39-44E0-80C1-542DFFEB21E2}"/>
              </a:ext>
            </a:extLst>
          </p:cNvPr>
          <p:cNvSpPr/>
          <p:nvPr/>
        </p:nvSpPr>
        <p:spPr>
          <a:xfrm>
            <a:off x="1445925" y="4219677"/>
            <a:ext cx="1134898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9" name="Rectangle: Rounded Corners 338">
            <a:extLst>
              <a:ext uri="{FF2B5EF4-FFF2-40B4-BE49-F238E27FC236}">
                <a16:creationId xmlns:a16="http://schemas.microsoft.com/office/drawing/2014/main" id="{B3C43B7B-B5C8-4BF5-8CB8-27C38CD2AFE4}"/>
              </a:ext>
            </a:extLst>
          </p:cNvPr>
          <p:cNvSpPr/>
          <p:nvPr/>
        </p:nvSpPr>
        <p:spPr>
          <a:xfrm>
            <a:off x="1445925" y="4341121"/>
            <a:ext cx="1082529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0" name="Rectangle: Rounded Corners 339">
            <a:extLst>
              <a:ext uri="{FF2B5EF4-FFF2-40B4-BE49-F238E27FC236}">
                <a16:creationId xmlns:a16="http://schemas.microsoft.com/office/drawing/2014/main" id="{99ADE257-96DF-414D-859D-32FDDAB19E4A}"/>
              </a:ext>
            </a:extLst>
          </p:cNvPr>
          <p:cNvSpPr/>
          <p:nvPr/>
        </p:nvSpPr>
        <p:spPr>
          <a:xfrm>
            <a:off x="1445925" y="4462565"/>
            <a:ext cx="1036892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1" name="Rectangle: Rounded Corners 340">
            <a:extLst>
              <a:ext uri="{FF2B5EF4-FFF2-40B4-BE49-F238E27FC236}">
                <a16:creationId xmlns:a16="http://schemas.microsoft.com/office/drawing/2014/main" id="{CBFE46EB-B15C-41AF-B6F9-86DF73BEECDF}"/>
              </a:ext>
            </a:extLst>
          </p:cNvPr>
          <p:cNvSpPr/>
          <p:nvPr/>
        </p:nvSpPr>
        <p:spPr>
          <a:xfrm>
            <a:off x="1445925" y="4584009"/>
            <a:ext cx="965074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2" name="Rectangle: Rounded Corners 341">
            <a:extLst>
              <a:ext uri="{FF2B5EF4-FFF2-40B4-BE49-F238E27FC236}">
                <a16:creationId xmlns:a16="http://schemas.microsoft.com/office/drawing/2014/main" id="{39616EFB-C42B-44BB-A47C-6F265145AECD}"/>
              </a:ext>
            </a:extLst>
          </p:cNvPr>
          <p:cNvSpPr/>
          <p:nvPr/>
        </p:nvSpPr>
        <p:spPr>
          <a:xfrm>
            <a:off x="1445925" y="4705451"/>
            <a:ext cx="965074" cy="5389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7" name="Subtitle 176">
            <a:extLst>
              <a:ext uri="{FF2B5EF4-FFF2-40B4-BE49-F238E27FC236}">
                <a16:creationId xmlns:a16="http://schemas.microsoft.com/office/drawing/2014/main" id="{A34B86CC-A38B-4D36-965F-DB609329207F}"/>
              </a:ext>
            </a:extLst>
          </p:cNvPr>
          <p:cNvSpPr txBox="1">
            <a:spLocks/>
          </p:cNvSpPr>
          <p:nvPr/>
        </p:nvSpPr>
        <p:spPr>
          <a:xfrm>
            <a:off x="6639125" y="5068337"/>
            <a:ext cx="50672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  <a:defRPr/>
            </a:pPr>
            <a:r>
              <a:rPr lang="pt-BR" sz="1800" b="1" i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salto: da oralidade ao conhecimento científico</a:t>
            </a:r>
            <a:endParaRPr lang="en-ID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4" name="Subtitle 176">
            <a:extLst>
              <a:ext uri="{FF2B5EF4-FFF2-40B4-BE49-F238E27FC236}">
                <a16:creationId xmlns:a16="http://schemas.microsoft.com/office/drawing/2014/main" id="{72ED71C5-FCF7-4B23-8254-81D8466ED808}"/>
              </a:ext>
            </a:extLst>
          </p:cNvPr>
          <p:cNvSpPr txBox="1">
            <a:spLocks/>
          </p:cNvSpPr>
          <p:nvPr/>
        </p:nvSpPr>
        <p:spPr>
          <a:xfrm>
            <a:off x="6522109" y="1787836"/>
            <a:ext cx="5384899" cy="7200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D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5" name="Subtitle 176">
            <a:extLst>
              <a:ext uri="{FF2B5EF4-FFF2-40B4-BE49-F238E27FC236}">
                <a16:creationId xmlns:a16="http://schemas.microsoft.com/office/drawing/2014/main" id="{07562729-DC1A-40C1-9DD3-8B659BC329D9}"/>
              </a:ext>
            </a:extLst>
          </p:cNvPr>
          <p:cNvSpPr txBox="1">
            <a:spLocks/>
          </p:cNvSpPr>
          <p:nvPr/>
        </p:nvSpPr>
        <p:spPr>
          <a:xfrm>
            <a:off x="6596700" y="6018385"/>
            <a:ext cx="5067248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 tipos de conhecimento</a:t>
            </a:r>
          </a:p>
          <a:p>
            <a:pPr marL="0"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ção entre Ciência, tecnologia e sociedade</a:t>
            </a:r>
          </a:p>
          <a:p>
            <a:pPr marL="0"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dade prática da produção científica</a:t>
            </a:r>
          </a:p>
        </p:txBody>
      </p:sp>
      <p:sp>
        <p:nvSpPr>
          <p:cNvPr id="346" name="Subtitle 176">
            <a:extLst>
              <a:ext uri="{FF2B5EF4-FFF2-40B4-BE49-F238E27FC236}">
                <a16:creationId xmlns:a16="http://schemas.microsoft.com/office/drawing/2014/main" id="{E5931934-F497-4137-B816-70F4E587EF39}"/>
              </a:ext>
            </a:extLst>
          </p:cNvPr>
          <p:cNvSpPr txBox="1">
            <a:spLocks/>
          </p:cNvSpPr>
          <p:nvPr/>
        </p:nvSpPr>
        <p:spPr>
          <a:xfrm>
            <a:off x="6555298" y="3564425"/>
            <a:ext cx="5445613" cy="63166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érebro e a </a:t>
            </a:r>
            <a:r>
              <a:rPr lang="pt-BR" sz="160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roplasticidade</a:t>
            </a:r>
            <a:endParaRPr lang="en-ID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116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>
            <a:extLst>
              <a:ext uri="{FF2B5EF4-FFF2-40B4-BE49-F238E27FC236}">
                <a16:creationId xmlns:a16="http://schemas.microsoft.com/office/drawing/2014/main" id="{FC055ECE-6A81-41FA-B505-F88566DB06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2" name="Object 81" hidden="1">
                        <a:extLst>
                          <a:ext uri="{FF2B5EF4-FFF2-40B4-BE49-F238E27FC236}">
                            <a16:creationId xmlns:a16="http://schemas.microsoft.com/office/drawing/2014/main" id="{FC055ECE-6A81-41FA-B505-F88566DB0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F798B784-8660-4753-8835-2E75FD9D2C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7" name="Rectangle: Top Corners Rounded 136">
            <a:extLst>
              <a:ext uri="{FF2B5EF4-FFF2-40B4-BE49-F238E27FC236}">
                <a16:creationId xmlns:a16="http://schemas.microsoft.com/office/drawing/2014/main" id="{D99CBC5E-8C4C-4961-9638-298344632A27}"/>
              </a:ext>
            </a:extLst>
          </p:cNvPr>
          <p:cNvSpPr/>
          <p:nvPr/>
        </p:nvSpPr>
        <p:spPr>
          <a:xfrm>
            <a:off x="6665" y="-24707"/>
            <a:ext cx="12185335" cy="1488750"/>
          </a:xfrm>
          <a:prstGeom prst="round2SameRect">
            <a:avLst>
              <a:gd name="adj1" fmla="val 0"/>
              <a:gd name="adj2" fmla="val 2478"/>
            </a:avLst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3F36C327-A4D4-4345-AE0D-9EBC60AF49C5}"/>
              </a:ext>
            </a:extLst>
          </p:cNvPr>
          <p:cNvSpPr/>
          <p:nvPr/>
        </p:nvSpPr>
        <p:spPr>
          <a:xfrm flipV="1">
            <a:off x="6982496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AA715A07-50A7-4B93-9E41-211CE0437E61}"/>
              </a:ext>
            </a:extLst>
          </p:cNvPr>
          <p:cNvSpPr/>
          <p:nvPr/>
        </p:nvSpPr>
        <p:spPr>
          <a:xfrm flipH="1">
            <a:off x="0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78FF5FA-115B-4620-9C5C-7337B165D625}"/>
              </a:ext>
            </a:extLst>
          </p:cNvPr>
          <p:cNvSpPr/>
          <p:nvPr/>
        </p:nvSpPr>
        <p:spPr>
          <a:xfrm>
            <a:off x="113491" y="1443953"/>
            <a:ext cx="11965018" cy="5436867"/>
          </a:xfrm>
          <a:prstGeom prst="roundRect">
            <a:avLst>
              <a:gd name="adj" fmla="val 31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4134D27-3E47-4359-8650-B6B335CCC3D6}"/>
              </a:ext>
            </a:extLst>
          </p:cNvPr>
          <p:cNvSpPr/>
          <p:nvPr/>
        </p:nvSpPr>
        <p:spPr>
          <a:xfrm>
            <a:off x="6029814" y="2189776"/>
            <a:ext cx="132373" cy="3709189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EA63-54EB-47BB-9461-D8BC77BE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 err="1"/>
              <a:t>Unidade</a:t>
            </a:r>
            <a:r>
              <a:rPr lang="en-US" sz="3000" dirty="0"/>
              <a:t> 3: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6EEA6F0F-EC9D-4F77-9E8A-682A78F2C1B0}"/>
              </a:ext>
            </a:extLst>
          </p:cNvPr>
          <p:cNvSpPr/>
          <p:nvPr/>
        </p:nvSpPr>
        <p:spPr>
          <a:xfrm>
            <a:off x="4438650" y="5200650"/>
            <a:ext cx="3314700" cy="1657350"/>
          </a:xfrm>
          <a:custGeom>
            <a:avLst/>
            <a:gdLst>
              <a:gd name="connsiteX0" fmla="*/ 1657350 w 3314700"/>
              <a:gd name="connsiteY0" fmla="*/ 0 h 1657350"/>
              <a:gd name="connsiteX1" fmla="*/ 3314700 w 3314700"/>
              <a:gd name="connsiteY1" fmla="*/ 1657350 h 1657350"/>
              <a:gd name="connsiteX2" fmla="*/ 0 w 3314700"/>
              <a:gd name="connsiteY2" fmla="*/ 1657350 h 1657350"/>
              <a:gd name="connsiteX3" fmla="*/ 1657350 w 3314700"/>
              <a:gd name="connsiteY3" fmla="*/ 0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4700" h="1657350">
                <a:moveTo>
                  <a:pt x="1657350" y="0"/>
                </a:moveTo>
                <a:cubicBezTo>
                  <a:pt x="2572679" y="0"/>
                  <a:pt x="3314700" y="742021"/>
                  <a:pt x="3314700" y="1657350"/>
                </a:cubicBezTo>
                <a:lnTo>
                  <a:pt x="0" y="1657350"/>
                </a:lnTo>
                <a:cubicBezTo>
                  <a:pt x="0" y="742021"/>
                  <a:pt x="742021" y="0"/>
                  <a:pt x="1657350" y="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5642798-B6EF-4EA9-B787-15DFC069FB4B}"/>
              </a:ext>
            </a:extLst>
          </p:cNvPr>
          <p:cNvGrpSpPr/>
          <p:nvPr/>
        </p:nvGrpSpPr>
        <p:grpSpPr>
          <a:xfrm>
            <a:off x="4996290" y="4994275"/>
            <a:ext cx="2199421" cy="1863726"/>
            <a:chOff x="4980055" y="4994275"/>
            <a:chExt cx="2199421" cy="1863726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B40DA2B-6CA2-42EE-BA96-AB24CE64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1944" y="6234896"/>
              <a:ext cx="60048" cy="49851"/>
            </a:xfrm>
            <a:custGeom>
              <a:avLst/>
              <a:gdLst>
                <a:gd name="T0" fmla="*/ 106 w 106"/>
                <a:gd name="T1" fmla="*/ 14 h 88"/>
                <a:gd name="T2" fmla="*/ 2 w 106"/>
                <a:gd name="T3" fmla="*/ 0 h 88"/>
                <a:gd name="T4" fmla="*/ 0 w 106"/>
                <a:gd name="T5" fmla="*/ 88 h 88"/>
                <a:gd name="T6" fmla="*/ 106 w 106"/>
                <a:gd name="T7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88">
                  <a:moveTo>
                    <a:pt x="106" y="14"/>
                  </a:moveTo>
                  <a:lnTo>
                    <a:pt x="2" y="0"/>
                  </a:lnTo>
                  <a:lnTo>
                    <a:pt x="0" y="88"/>
                  </a:lnTo>
                  <a:lnTo>
                    <a:pt x="106" y="14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BC4184D-EC4F-45B7-8034-78C9A42AC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55290"/>
              <a:ext cx="40788" cy="36822"/>
            </a:xfrm>
            <a:custGeom>
              <a:avLst/>
              <a:gdLst>
                <a:gd name="T0" fmla="*/ 72 w 72"/>
                <a:gd name="T1" fmla="*/ 0 h 65"/>
                <a:gd name="T2" fmla="*/ 0 w 72"/>
                <a:gd name="T3" fmla="*/ 21 h 65"/>
                <a:gd name="T4" fmla="*/ 67 w 72"/>
                <a:gd name="T5" fmla="*/ 65 h 65"/>
                <a:gd name="T6" fmla="*/ 72 w 72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65">
                  <a:moveTo>
                    <a:pt x="72" y="0"/>
                  </a:moveTo>
                  <a:lnTo>
                    <a:pt x="0" y="21"/>
                  </a:lnTo>
                  <a:lnTo>
                    <a:pt x="67" y="6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FB9018D-D4E6-4430-B222-4BD1597FF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117" y="6312506"/>
              <a:ext cx="773831" cy="545494"/>
            </a:xfrm>
            <a:custGeom>
              <a:avLst/>
              <a:gdLst>
                <a:gd name="connsiteX0" fmla="*/ 773831 w 773831"/>
                <a:gd name="connsiteY0" fmla="*/ 0 h 545494"/>
                <a:gd name="connsiteX1" fmla="*/ 736671 w 773831"/>
                <a:gd name="connsiteY1" fmla="*/ 545494 h 545494"/>
                <a:gd name="connsiteX2" fmla="*/ 10021 w 773831"/>
                <a:gd name="connsiteY2" fmla="*/ 545494 h 545494"/>
                <a:gd name="connsiteX3" fmla="*/ 0 w 773831"/>
                <a:gd name="connsiteY3" fmla="*/ 6798 h 545494"/>
                <a:gd name="connsiteX4" fmla="*/ 344995 w 773831"/>
                <a:gd name="connsiteY4" fmla="*/ 167116 h 5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831" h="545494">
                  <a:moveTo>
                    <a:pt x="773831" y="0"/>
                  </a:moveTo>
                  <a:lnTo>
                    <a:pt x="736671" y="545494"/>
                  </a:lnTo>
                  <a:lnTo>
                    <a:pt x="10021" y="545494"/>
                  </a:lnTo>
                  <a:lnTo>
                    <a:pt x="0" y="6798"/>
                  </a:lnTo>
                  <a:lnTo>
                    <a:pt x="344995" y="167116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C79D7A4F-1F53-4405-B296-098E5376E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0566" y="5412914"/>
              <a:ext cx="237927" cy="239060"/>
            </a:xfrm>
            <a:custGeom>
              <a:avLst/>
              <a:gdLst>
                <a:gd name="T0" fmla="*/ 187 w 187"/>
                <a:gd name="T1" fmla="*/ 95 h 188"/>
                <a:gd name="T2" fmla="*/ 93 w 187"/>
                <a:gd name="T3" fmla="*/ 188 h 188"/>
                <a:gd name="T4" fmla="*/ 0 w 187"/>
                <a:gd name="T5" fmla="*/ 125 h 188"/>
                <a:gd name="T6" fmla="*/ 93 w 187"/>
                <a:gd name="T7" fmla="*/ 1 h 188"/>
                <a:gd name="T8" fmla="*/ 187 w 187"/>
                <a:gd name="T9" fmla="*/ 9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8">
                  <a:moveTo>
                    <a:pt x="187" y="95"/>
                  </a:moveTo>
                  <a:cubicBezTo>
                    <a:pt x="187" y="146"/>
                    <a:pt x="145" y="188"/>
                    <a:pt x="93" y="188"/>
                  </a:cubicBezTo>
                  <a:cubicBezTo>
                    <a:pt x="42" y="188"/>
                    <a:pt x="0" y="177"/>
                    <a:pt x="0" y="125"/>
                  </a:cubicBezTo>
                  <a:cubicBezTo>
                    <a:pt x="0" y="73"/>
                    <a:pt x="49" y="2"/>
                    <a:pt x="93" y="1"/>
                  </a:cubicBezTo>
                  <a:cubicBezTo>
                    <a:pt x="145" y="0"/>
                    <a:pt x="187" y="43"/>
                    <a:pt x="187" y="95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E63C769C-45AA-42E9-97F5-0F3BF4205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97" y="5481460"/>
              <a:ext cx="177879" cy="174480"/>
            </a:xfrm>
            <a:custGeom>
              <a:avLst/>
              <a:gdLst>
                <a:gd name="T0" fmla="*/ 23 w 140"/>
                <a:gd name="T1" fmla="*/ 112 h 137"/>
                <a:gd name="T2" fmla="*/ 29 w 140"/>
                <a:gd name="T3" fmla="*/ 24 h 137"/>
                <a:gd name="T4" fmla="*/ 117 w 140"/>
                <a:gd name="T5" fmla="*/ 26 h 137"/>
                <a:gd name="T6" fmla="*/ 111 w 140"/>
                <a:gd name="T7" fmla="*/ 114 h 137"/>
                <a:gd name="T8" fmla="*/ 23 w 140"/>
                <a:gd name="T9" fmla="*/ 1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7">
                  <a:moveTo>
                    <a:pt x="23" y="112"/>
                  </a:moveTo>
                  <a:cubicBezTo>
                    <a:pt x="0" y="88"/>
                    <a:pt x="3" y="48"/>
                    <a:pt x="29" y="24"/>
                  </a:cubicBezTo>
                  <a:cubicBezTo>
                    <a:pt x="55" y="0"/>
                    <a:pt x="95" y="1"/>
                    <a:pt x="117" y="26"/>
                  </a:cubicBezTo>
                  <a:cubicBezTo>
                    <a:pt x="140" y="50"/>
                    <a:pt x="137" y="90"/>
                    <a:pt x="111" y="114"/>
                  </a:cubicBezTo>
                  <a:cubicBezTo>
                    <a:pt x="85" y="137"/>
                    <a:pt x="46" y="137"/>
                    <a:pt x="23" y="112"/>
                  </a:cubicBezTo>
                  <a:close/>
                </a:path>
              </a:pathLst>
            </a:cu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D80409D-1C4E-435A-8366-1B2F9156A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424" y="5411781"/>
              <a:ext cx="236794" cy="237927"/>
            </a:xfrm>
            <a:custGeom>
              <a:avLst/>
              <a:gdLst>
                <a:gd name="T0" fmla="*/ 186 w 186"/>
                <a:gd name="T1" fmla="*/ 120 h 187"/>
                <a:gd name="T2" fmla="*/ 93 w 186"/>
                <a:gd name="T3" fmla="*/ 187 h 187"/>
                <a:gd name="T4" fmla="*/ 0 w 186"/>
                <a:gd name="T5" fmla="*/ 94 h 187"/>
                <a:gd name="T6" fmla="*/ 93 w 186"/>
                <a:gd name="T7" fmla="*/ 0 h 187"/>
                <a:gd name="T8" fmla="*/ 186 w 186"/>
                <a:gd name="T9" fmla="*/ 12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7">
                  <a:moveTo>
                    <a:pt x="186" y="120"/>
                  </a:moveTo>
                  <a:cubicBezTo>
                    <a:pt x="186" y="171"/>
                    <a:pt x="145" y="187"/>
                    <a:pt x="93" y="187"/>
                  </a:cubicBezTo>
                  <a:cubicBezTo>
                    <a:pt x="42" y="187"/>
                    <a:pt x="0" y="145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68"/>
                    <a:pt x="186" y="120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3F38AAB6-2168-49E2-846A-A7354BFBA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4542" y="5495622"/>
              <a:ext cx="155219" cy="154086"/>
            </a:xfrm>
            <a:prstGeom prst="ellipse">
              <a:avLst/>
            </a:pr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4D828908-0247-48D1-AB46-98876E9E5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136" y="5783401"/>
              <a:ext cx="675827" cy="735309"/>
            </a:xfrm>
            <a:custGeom>
              <a:avLst/>
              <a:gdLst>
                <a:gd name="T0" fmla="*/ 9 w 1193"/>
                <a:gd name="T1" fmla="*/ 168 h 1298"/>
                <a:gd name="T2" fmla="*/ 0 w 1193"/>
                <a:gd name="T3" fmla="*/ 885 h 1298"/>
                <a:gd name="T4" fmla="*/ 517 w 1193"/>
                <a:gd name="T5" fmla="*/ 1298 h 1298"/>
                <a:gd name="T6" fmla="*/ 1193 w 1193"/>
                <a:gd name="T7" fmla="*/ 903 h 1298"/>
                <a:gd name="T8" fmla="*/ 1103 w 1193"/>
                <a:gd name="T9" fmla="*/ 0 h 1298"/>
                <a:gd name="T10" fmla="*/ 9 w 1193"/>
                <a:gd name="T11" fmla="*/ 168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3" h="1298">
                  <a:moveTo>
                    <a:pt x="9" y="168"/>
                  </a:moveTo>
                  <a:lnTo>
                    <a:pt x="0" y="885"/>
                  </a:lnTo>
                  <a:lnTo>
                    <a:pt x="517" y="1298"/>
                  </a:lnTo>
                  <a:lnTo>
                    <a:pt x="1193" y="903"/>
                  </a:lnTo>
                  <a:lnTo>
                    <a:pt x="1103" y="0"/>
                  </a:lnTo>
                  <a:lnTo>
                    <a:pt x="9" y="168"/>
                  </a:lnTo>
                  <a:close/>
                </a:path>
              </a:pathLst>
            </a:custGeom>
            <a:solidFill>
              <a:srgbClr val="F9A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0D353887-3FC1-4235-B8FE-F0147C8FE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034" y="5114938"/>
              <a:ext cx="762501" cy="953409"/>
            </a:xfrm>
            <a:custGeom>
              <a:avLst/>
              <a:gdLst>
                <a:gd name="T0" fmla="*/ 109 w 599"/>
                <a:gd name="T1" fmla="*/ 190 h 749"/>
                <a:gd name="T2" fmla="*/ 33 w 599"/>
                <a:gd name="T3" fmla="*/ 508 h 749"/>
                <a:gd name="T4" fmla="*/ 252 w 599"/>
                <a:gd name="T5" fmla="*/ 732 h 749"/>
                <a:gd name="T6" fmla="*/ 592 w 599"/>
                <a:gd name="T7" fmla="*/ 549 h 749"/>
                <a:gd name="T8" fmla="*/ 556 w 599"/>
                <a:gd name="T9" fmla="*/ 163 h 749"/>
                <a:gd name="T10" fmla="*/ 332 w 599"/>
                <a:gd name="T11" fmla="*/ 0 h 749"/>
                <a:gd name="T12" fmla="*/ 109 w 599"/>
                <a:gd name="T13" fmla="*/ 19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749">
                  <a:moveTo>
                    <a:pt x="109" y="190"/>
                  </a:moveTo>
                  <a:cubicBezTo>
                    <a:pt x="33" y="508"/>
                    <a:pt x="33" y="508"/>
                    <a:pt x="33" y="508"/>
                  </a:cubicBezTo>
                  <a:cubicBezTo>
                    <a:pt x="33" y="508"/>
                    <a:pt x="0" y="716"/>
                    <a:pt x="252" y="732"/>
                  </a:cubicBezTo>
                  <a:cubicBezTo>
                    <a:pt x="505" y="749"/>
                    <a:pt x="599" y="646"/>
                    <a:pt x="592" y="549"/>
                  </a:cubicBezTo>
                  <a:cubicBezTo>
                    <a:pt x="586" y="443"/>
                    <a:pt x="575" y="256"/>
                    <a:pt x="556" y="163"/>
                  </a:cubicBezTo>
                  <a:cubicBezTo>
                    <a:pt x="542" y="95"/>
                    <a:pt x="504" y="0"/>
                    <a:pt x="332" y="0"/>
                  </a:cubicBezTo>
                  <a:cubicBezTo>
                    <a:pt x="160" y="0"/>
                    <a:pt x="109" y="190"/>
                    <a:pt x="109" y="190"/>
                  </a:cubicBezTo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2ADF8E-790D-4DD6-9AB0-466DC53C9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980" y="6548168"/>
              <a:ext cx="169361" cy="309833"/>
            </a:xfrm>
            <a:custGeom>
              <a:avLst/>
              <a:gdLst>
                <a:gd name="connsiteX0" fmla="*/ 104590 w 169361"/>
                <a:gd name="connsiteY0" fmla="*/ 0 h 309833"/>
                <a:gd name="connsiteX1" fmla="*/ 169361 w 169361"/>
                <a:gd name="connsiteY1" fmla="*/ 309833 h 309833"/>
                <a:gd name="connsiteX2" fmla="*/ 0 w 169361"/>
                <a:gd name="connsiteY2" fmla="*/ 309833 h 309833"/>
                <a:gd name="connsiteX3" fmla="*/ 43409 w 169361"/>
                <a:gd name="connsiteY3" fmla="*/ 19261 h 309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61" h="309833">
                  <a:moveTo>
                    <a:pt x="104590" y="0"/>
                  </a:moveTo>
                  <a:lnTo>
                    <a:pt x="169361" y="309833"/>
                  </a:lnTo>
                  <a:lnTo>
                    <a:pt x="0" y="309833"/>
                  </a:lnTo>
                  <a:lnTo>
                    <a:pt x="43409" y="19261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4DDC595B-CDA9-4761-91FE-4B7D6286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492" y="5174987"/>
              <a:ext cx="186943" cy="305340"/>
            </a:xfrm>
            <a:custGeom>
              <a:avLst/>
              <a:gdLst>
                <a:gd name="T0" fmla="*/ 62 w 147"/>
                <a:gd name="T1" fmla="*/ 240 h 240"/>
                <a:gd name="T2" fmla="*/ 56 w 147"/>
                <a:gd name="T3" fmla="*/ 40 h 240"/>
                <a:gd name="T4" fmla="*/ 147 w 147"/>
                <a:gd name="T5" fmla="*/ 0 h 240"/>
                <a:gd name="T6" fmla="*/ 62 w 147"/>
                <a:gd name="T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240">
                  <a:moveTo>
                    <a:pt x="62" y="240"/>
                  </a:moveTo>
                  <a:cubicBezTo>
                    <a:pt x="62" y="240"/>
                    <a:pt x="0" y="69"/>
                    <a:pt x="56" y="40"/>
                  </a:cubicBezTo>
                  <a:cubicBezTo>
                    <a:pt x="112" y="11"/>
                    <a:pt x="147" y="0"/>
                    <a:pt x="147" y="0"/>
                  </a:cubicBezTo>
                  <a:cubicBezTo>
                    <a:pt x="62" y="240"/>
                    <a:pt x="62" y="240"/>
                    <a:pt x="62" y="240"/>
                  </a:cubicBezTo>
                </a:path>
              </a:pathLst>
            </a:custGeom>
            <a:solidFill>
              <a:srgbClr val="1E1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9C6F7EF2-2694-43C4-8482-355B717B4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5124002"/>
              <a:ext cx="232829" cy="370487"/>
            </a:xfrm>
            <a:custGeom>
              <a:avLst/>
              <a:gdLst>
                <a:gd name="T0" fmla="*/ 30 w 183"/>
                <a:gd name="T1" fmla="*/ 64 h 291"/>
                <a:gd name="T2" fmla="*/ 104 w 183"/>
                <a:gd name="T3" fmla="*/ 291 h 291"/>
                <a:gd name="T4" fmla="*/ 110 w 183"/>
                <a:gd name="T5" fmla="*/ 57 h 291"/>
                <a:gd name="T6" fmla="*/ 0 w 183"/>
                <a:gd name="T7" fmla="*/ 44 h 291"/>
                <a:gd name="T8" fmla="*/ 30 w 183"/>
                <a:gd name="T9" fmla="*/ 6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91">
                  <a:moveTo>
                    <a:pt x="30" y="64"/>
                  </a:moveTo>
                  <a:cubicBezTo>
                    <a:pt x="104" y="291"/>
                    <a:pt x="104" y="291"/>
                    <a:pt x="104" y="291"/>
                  </a:cubicBezTo>
                  <a:cubicBezTo>
                    <a:pt x="104" y="291"/>
                    <a:pt x="183" y="114"/>
                    <a:pt x="110" y="57"/>
                  </a:cubicBezTo>
                  <a:cubicBezTo>
                    <a:pt x="37" y="0"/>
                    <a:pt x="0" y="44"/>
                    <a:pt x="0" y="44"/>
                  </a:cubicBezTo>
                  <a:lnTo>
                    <a:pt x="30" y="64"/>
                  </a:ln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16FFACFB-ADBD-442F-BE58-02FE501D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835" y="4994275"/>
              <a:ext cx="568760" cy="301375"/>
            </a:xfrm>
            <a:custGeom>
              <a:avLst/>
              <a:gdLst>
                <a:gd name="T0" fmla="*/ 74 w 447"/>
                <a:gd name="T1" fmla="*/ 22 h 237"/>
                <a:gd name="T2" fmla="*/ 28 w 447"/>
                <a:gd name="T3" fmla="*/ 25 h 237"/>
                <a:gd name="T4" fmla="*/ 1 w 447"/>
                <a:gd name="T5" fmla="*/ 77 h 237"/>
                <a:gd name="T6" fmla="*/ 18 w 447"/>
                <a:gd name="T7" fmla="*/ 136 h 237"/>
                <a:gd name="T8" fmla="*/ 219 w 447"/>
                <a:gd name="T9" fmla="*/ 236 h 237"/>
                <a:gd name="T10" fmla="*/ 382 w 447"/>
                <a:gd name="T11" fmla="*/ 189 h 237"/>
                <a:gd name="T12" fmla="*/ 427 w 447"/>
                <a:gd name="T13" fmla="*/ 158 h 237"/>
                <a:gd name="T14" fmla="*/ 447 w 447"/>
                <a:gd name="T15" fmla="*/ 133 h 237"/>
                <a:gd name="T16" fmla="*/ 370 w 447"/>
                <a:gd name="T17" fmla="*/ 39 h 237"/>
                <a:gd name="T18" fmla="*/ 256 w 447"/>
                <a:gd name="T19" fmla="*/ 14 h 237"/>
                <a:gd name="T20" fmla="*/ 206 w 447"/>
                <a:gd name="T21" fmla="*/ 39 h 237"/>
                <a:gd name="T22" fmla="*/ 99 w 447"/>
                <a:gd name="T23" fmla="*/ 35 h 237"/>
                <a:gd name="T24" fmla="*/ 74 w 447"/>
                <a:gd name="T25" fmla="*/ 2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237">
                  <a:moveTo>
                    <a:pt x="74" y="22"/>
                  </a:moveTo>
                  <a:cubicBezTo>
                    <a:pt x="59" y="13"/>
                    <a:pt x="43" y="16"/>
                    <a:pt x="28" y="25"/>
                  </a:cubicBezTo>
                  <a:cubicBezTo>
                    <a:pt x="11" y="36"/>
                    <a:pt x="1" y="57"/>
                    <a:pt x="1" y="77"/>
                  </a:cubicBezTo>
                  <a:cubicBezTo>
                    <a:pt x="0" y="98"/>
                    <a:pt x="8" y="118"/>
                    <a:pt x="18" y="136"/>
                  </a:cubicBezTo>
                  <a:cubicBezTo>
                    <a:pt x="59" y="205"/>
                    <a:pt x="140" y="237"/>
                    <a:pt x="219" y="236"/>
                  </a:cubicBezTo>
                  <a:cubicBezTo>
                    <a:pt x="276" y="235"/>
                    <a:pt x="332" y="217"/>
                    <a:pt x="382" y="189"/>
                  </a:cubicBezTo>
                  <a:cubicBezTo>
                    <a:pt x="397" y="180"/>
                    <a:pt x="418" y="172"/>
                    <a:pt x="427" y="158"/>
                  </a:cubicBezTo>
                  <a:cubicBezTo>
                    <a:pt x="447" y="133"/>
                    <a:pt x="447" y="133"/>
                    <a:pt x="447" y="133"/>
                  </a:cubicBezTo>
                  <a:cubicBezTo>
                    <a:pt x="435" y="94"/>
                    <a:pt x="401" y="64"/>
                    <a:pt x="370" y="39"/>
                  </a:cubicBezTo>
                  <a:cubicBezTo>
                    <a:pt x="338" y="13"/>
                    <a:pt x="294" y="0"/>
                    <a:pt x="256" y="14"/>
                  </a:cubicBezTo>
                  <a:cubicBezTo>
                    <a:pt x="238" y="20"/>
                    <a:pt x="223" y="31"/>
                    <a:pt x="206" y="39"/>
                  </a:cubicBezTo>
                  <a:cubicBezTo>
                    <a:pt x="170" y="54"/>
                    <a:pt x="133" y="54"/>
                    <a:pt x="99" y="35"/>
                  </a:cubicBezTo>
                  <a:cubicBezTo>
                    <a:pt x="86" y="28"/>
                    <a:pt x="88" y="31"/>
                    <a:pt x="74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7935268B-D10B-4BBF-AF51-29B3317BF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0645" y="6479622"/>
              <a:ext cx="246425" cy="151254"/>
            </a:xfrm>
            <a:custGeom>
              <a:avLst/>
              <a:gdLst>
                <a:gd name="T0" fmla="*/ 0 w 435"/>
                <a:gd name="T1" fmla="*/ 38 h 267"/>
                <a:gd name="T2" fmla="*/ 202 w 435"/>
                <a:gd name="T3" fmla="*/ 267 h 267"/>
                <a:gd name="T4" fmla="*/ 435 w 435"/>
                <a:gd name="T5" fmla="*/ 6 h 267"/>
                <a:gd name="T6" fmla="*/ 195 w 435"/>
                <a:gd name="T7" fmla="*/ 0 h 267"/>
                <a:gd name="T8" fmla="*/ 0 w 435"/>
                <a:gd name="T9" fmla="*/ 3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67">
                  <a:moveTo>
                    <a:pt x="0" y="38"/>
                  </a:moveTo>
                  <a:lnTo>
                    <a:pt x="202" y="267"/>
                  </a:lnTo>
                  <a:lnTo>
                    <a:pt x="435" y="6"/>
                  </a:lnTo>
                  <a:lnTo>
                    <a:pt x="195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6B642735-546B-43CD-9EFD-CFC9BD9C1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67187"/>
              <a:ext cx="315537" cy="390314"/>
            </a:xfrm>
            <a:custGeom>
              <a:avLst/>
              <a:gdLst>
                <a:gd name="T0" fmla="*/ 0 w 557"/>
                <a:gd name="T1" fmla="*/ 0 h 689"/>
                <a:gd name="T2" fmla="*/ 557 w 557"/>
                <a:gd name="T3" fmla="*/ 375 h 689"/>
                <a:gd name="T4" fmla="*/ 4 w 557"/>
                <a:gd name="T5" fmla="*/ 689 h 689"/>
                <a:gd name="T6" fmla="*/ 0 w 557"/>
                <a:gd name="T7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7" h="689">
                  <a:moveTo>
                    <a:pt x="0" y="0"/>
                  </a:moveTo>
                  <a:lnTo>
                    <a:pt x="557" y="375"/>
                  </a:lnTo>
                  <a:lnTo>
                    <a:pt x="4" y="6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FB5D733-35B8-4AAC-AD45-75C317295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1112" y="6242827"/>
              <a:ext cx="390881" cy="424870"/>
            </a:xfrm>
            <a:custGeom>
              <a:avLst/>
              <a:gdLst>
                <a:gd name="T0" fmla="*/ 0 w 690"/>
                <a:gd name="T1" fmla="*/ 418 h 750"/>
                <a:gd name="T2" fmla="*/ 665 w 690"/>
                <a:gd name="T3" fmla="*/ 750 h 750"/>
                <a:gd name="T4" fmla="*/ 690 w 690"/>
                <a:gd name="T5" fmla="*/ 0 h 750"/>
                <a:gd name="T6" fmla="*/ 0 w 690"/>
                <a:gd name="T7" fmla="*/ 418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0" h="750">
                  <a:moveTo>
                    <a:pt x="0" y="418"/>
                  </a:moveTo>
                  <a:lnTo>
                    <a:pt x="665" y="750"/>
                  </a:lnTo>
                  <a:lnTo>
                    <a:pt x="690" y="0"/>
                  </a:lnTo>
                  <a:lnTo>
                    <a:pt x="0" y="4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005C1B1-94B6-491E-84B5-2D939476E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0055" y="6267187"/>
              <a:ext cx="711790" cy="590813"/>
            </a:xfrm>
            <a:custGeom>
              <a:avLst/>
              <a:gdLst>
                <a:gd name="connsiteX0" fmla="*/ 705674 w 711790"/>
                <a:gd name="connsiteY0" fmla="*/ 0 h 590813"/>
                <a:gd name="connsiteX1" fmla="*/ 711765 w 711790"/>
                <a:gd name="connsiteY1" fmla="*/ 588434 h 590813"/>
                <a:gd name="connsiteX2" fmla="*/ 711790 w 711790"/>
                <a:gd name="connsiteY2" fmla="*/ 590813 h 590813"/>
                <a:gd name="connsiteX3" fmla="*/ 0 w 711790"/>
                <a:gd name="connsiteY3" fmla="*/ 590813 h 590813"/>
                <a:gd name="connsiteX4" fmla="*/ 10353 w 711790"/>
                <a:gd name="connsiteY4" fmla="*/ 549210 h 590813"/>
                <a:gd name="connsiteX5" fmla="*/ 74316 w 711790"/>
                <a:gd name="connsiteY5" fmla="*/ 473341 h 590813"/>
                <a:gd name="connsiteX6" fmla="*/ 705674 w 711790"/>
                <a:gd name="connsiteY6" fmla="*/ 0 h 590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790" h="590813">
                  <a:moveTo>
                    <a:pt x="705674" y="0"/>
                  </a:moveTo>
                  <a:cubicBezTo>
                    <a:pt x="705674" y="0"/>
                    <a:pt x="709155" y="335005"/>
                    <a:pt x="711765" y="588434"/>
                  </a:cubicBezTo>
                  <a:lnTo>
                    <a:pt x="711790" y="590813"/>
                  </a:lnTo>
                  <a:lnTo>
                    <a:pt x="0" y="590813"/>
                  </a:lnTo>
                  <a:lnTo>
                    <a:pt x="10353" y="549210"/>
                  </a:lnTo>
                  <a:cubicBezTo>
                    <a:pt x="25309" y="519785"/>
                    <a:pt x="46948" y="493700"/>
                    <a:pt x="74316" y="473341"/>
                  </a:cubicBezTo>
                  <a:cubicBezTo>
                    <a:pt x="705674" y="0"/>
                    <a:pt x="705674" y="0"/>
                    <a:pt x="70567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B77FD92-1601-4033-B57B-35D24D96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908" y="6242828"/>
              <a:ext cx="809568" cy="615173"/>
            </a:xfrm>
            <a:custGeom>
              <a:avLst/>
              <a:gdLst>
                <a:gd name="connsiteX0" fmla="*/ 22044 w 809568"/>
                <a:gd name="connsiteY0" fmla="*/ 0 h 615173"/>
                <a:gd name="connsiteX1" fmla="*/ 741235 w 809568"/>
                <a:gd name="connsiteY1" fmla="*/ 521735 h 615173"/>
                <a:gd name="connsiteX2" fmla="*/ 783719 w 809568"/>
                <a:gd name="connsiteY2" fmla="*/ 565001 h 615173"/>
                <a:gd name="connsiteX3" fmla="*/ 809568 w 809568"/>
                <a:gd name="connsiteY3" fmla="*/ 615173 h 615173"/>
                <a:gd name="connsiteX4" fmla="*/ 0 w 809568"/>
                <a:gd name="connsiteY4" fmla="*/ 615173 h 615173"/>
                <a:gd name="connsiteX5" fmla="*/ 1160 w 809568"/>
                <a:gd name="connsiteY5" fmla="*/ 583100 h 615173"/>
                <a:gd name="connsiteX6" fmla="*/ 22044 w 809568"/>
                <a:gd name="connsiteY6" fmla="*/ 0 h 6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9568" h="615173">
                  <a:moveTo>
                    <a:pt x="22044" y="0"/>
                  </a:moveTo>
                  <a:lnTo>
                    <a:pt x="741235" y="521735"/>
                  </a:lnTo>
                  <a:cubicBezTo>
                    <a:pt x="757783" y="534142"/>
                    <a:pt x="772024" y="548776"/>
                    <a:pt x="783719" y="565001"/>
                  </a:cubicBezTo>
                  <a:lnTo>
                    <a:pt x="809568" y="615173"/>
                  </a:lnTo>
                  <a:lnTo>
                    <a:pt x="0" y="615173"/>
                  </a:lnTo>
                  <a:lnTo>
                    <a:pt x="1160" y="583100"/>
                  </a:lnTo>
                  <a:cubicBezTo>
                    <a:pt x="10110" y="335628"/>
                    <a:pt x="22044" y="4772"/>
                    <a:pt x="2204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F2F539AB-55A2-4A68-8DD6-9079D13D1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C7FCD22B-3EC6-4876-A1F3-C97C804AB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CD46A3A2-168B-4586-B813-96EB70982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  <a:gd name="T8" fmla="*/ 2 w 205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  <a:lnTo>
                    <a:pt x="2" y="36"/>
                  </a:ln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B9816AC-A679-412F-8649-6A5BB9AEB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B98E31CB-5F6C-464E-A602-7157C1B45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746" y="5354565"/>
              <a:ext cx="148988" cy="59482"/>
            </a:xfrm>
            <a:custGeom>
              <a:avLst/>
              <a:gdLst>
                <a:gd name="T0" fmla="*/ 31 w 117"/>
                <a:gd name="T1" fmla="*/ 6 h 47"/>
                <a:gd name="T2" fmla="*/ 8 w 117"/>
                <a:gd name="T3" fmla="*/ 16 h 47"/>
                <a:gd name="T4" fmla="*/ 4 w 117"/>
                <a:gd name="T5" fmla="*/ 34 h 47"/>
                <a:gd name="T6" fmla="*/ 13 w 117"/>
                <a:gd name="T7" fmla="*/ 40 h 47"/>
                <a:gd name="T8" fmla="*/ 58 w 117"/>
                <a:gd name="T9" fmla="*/ 46 h 47"/>
                <a:gd name="T10" fmla="*/ 87 w 117"/>
                <a:gd name="T11" fmla="*/ 43 h 47"/>
                <a:gd name="T12" fmla="*/ 112 w 117"/>
                <a:gd name="T13" fmla="*/ 34 h 47"/>
                <a:gd name="T14" fmla="*/ 113 w 117"/>
                <a:gd name="T15" fmla="*/ 17 h 47"/>
                <a:gd name="T16" fmla="*/ 99 w 117"/>
                <a:gd name="T17" fmla="*/ 5 h 47"/>
                <a:gd name="T18" fmla="*/ 51 w 117"/>
                <a:gd name="T19" fmla="*/ 3 h 47"/>
                <a:gd name="T20" fmla="*/ 31 w 117"/>
                <a:gd name="T21" fmla="*/ 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47">
                  <a:moveTo>
                    <a:pt x="31" y="6"/>
                  </a:moveTo>
                  <a:cubicBezTo>
                    <a:pt x="24" y="8"/>
                    <a:pt x="14" y="11"/>
                    <a:pt x="8" y="16"/>
                  </a:cubicBezTo>
                  <a:cubicBezTo>
                    <a:pt x="2" y="21"/>
                    <a:pt x="0" y="28"/>
                    <a:pt x="4" y="34"/>
                  </a:cubicBezTo>
                  <a:cubicBezTo>
                    <a:pt x="7" y="37"/>
                    <a:pt x="10" y="39"/>
                    <a:pt x="13" y="40"/>
                  </a:cubicBezTo>
                  <a:cubicBezTo>
                    <a:pt x="27" y="47"/>
                    <a:pt x="43" y="47"/>
                    <a:pt x="58" y="46"/>
                  </a:cubicBezTo>
                  <a:cubicBezTo>
                    <a:pt x="68" y="45"/>
                    <a:pt x="77" y="44"/>
                    <a:pt x="87" y="43"/>
                  </a:cubicBezTo>
                  <a:cubicBezTo>
                    <a:pt x="95" y="42"/>
                    <a:pt x="107" y="41"/>
                    <a:pt x="112" y="34"/>
                  </a:cubicBezTo>
                  <a:cubicBezTo>
                    <a:pt x="116" y="30"/>
                    <a:pt x="117" y="22"/>
                    <a:pt x="113" y="17"/>
                  </a:cubicBezTo>
                  <a:cubicBezTo>
                    <a:pt x="110" y="11"/>
                    <a:pt x="105" y="7"/>
                    <a:pt x="99" y="5"/>
                  </a:cubicBezTo>
                  <a:cubicBezTo>
                    <a:pt x="84" y="0"/>
                    <a:pt x="67" y="1"/>
                    <a:pt x="51" y="3"/>
                  </a:cubicBezTo>
                  <a:cubicBezTo>
                    <a:pt x="45" y="4"/>
                    <a:pt x="38" y="5"/>
                    <a:pt x="31" y="6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5E01B88-A284-4CB4-878A-262063C3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918" y="5381190"/>
              <a:ext cx="148988" cy="66280"/>
            </a:xfrm>
            <a:custGeom>
              <a:avLst/>
              <a:gdLst>
                <a:gd name="T0" fmla="*/ 87 w 117"/>
                <a:gd name="T1" fmla="*/ 11 h 52"/>
                <a:gd name="T2" fmla="*/ 109 w 117"/>
                <a:gd name="T3" fmla="*/ 23 h 52"/>
                <a:gd name="T4" fmla="*/ 111 w 117"/>
                <a:gd name="T5" fmla="*/ 42 h 52"/>
                <a:gd name="T6" fmla="*/ 103 w 117"/>
                <a:gd name="T7" fmla="*/ 47 h 52"/>
                <a:gd name="T8" fmla="*/ 57 w 117"/>
                <a:gd name="T9" fmla="*/ 47 h 52"/>
                <a:gd name="T10" fmla="*/ 28 w 117"/>
                <a:gd name="T11" fmla="*/ 42 h 52"/>
                <a:gd name="T12" fmla="*/ 4 w 117"/>
                <a:gd name="T13" fmla="*/ 31 h 52"/>
                <a:gd name="T14" fmla="*/ 4 w 117"/>
                <a:gd name="T15" fmla="*/ 13 h 52"/>
                <a:gd name="T16" fmla="*/ 20 w 117"/>
                <a:gd name="T17" fmla="*/ 3 h 52"/>
                <a:gd name="T18" fmla="*/ 68 w 117"/>
                <a:gd name="T19" fmla="*/ 6 h 52"/>
                <a:gd name="T20" fmla="*/ 87 w 117"/>
                <a:gd name="T21" fmla="*/ 1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52">
                  <a:moveTo>
                    <a:pt x="87" y="11"/>
                  </a:moveTo>
                  <a:cubicBezTo>
                    <a:pt x="95" y="14"/>
                    <a:pt x="104" y="18"/>
                    <a:pt x="109" y="23"/>
                  </a:cubicBezTo>
                  <a:cubicBezTo>
                    <a:pt x="115" y="28"/>
                    <a:pt x="117" y="36"/>
                    <a:pt x="111" y="42"/>
                  </a:cubicBezTo>
                  <a:cubicBezTo>
                    <a:pt x="109" y="44"/>
                    <a:pt x="106" y="46"/>
                    <a:pt x="103" y="47"/>
                  </a:cubicBezTo>
                  <a:cubicBezTo>
                    <a:pt x="88" y="52"/>
                    <a:pt x="72" y="50"/>
                    <a:pt x="57" y="47"/>
                  </a:cubicBezTo>
                  <a:cubicBezTo>
                    <a:pt x="47" y="46"/>
                    <a:pt x="38" y="44"/>
                    <a:pt x="28" y="42"/>
                  </a:cubicBezTo>
                  <a:cubicBezTo>
                    <a:pt x="20" y="40"/>
                    <a:pt x="9" y="38"/>
                    <a:pt x="4" y="31"/>
                  </a:cubicBezTo>
                  <a:cubicBezTo>
                    <a:pt x="0" y="26"/>
                    <a:pt x="1" y="18"/>
                    <a:pt x="4" y="13"/>
                  </a:cubicBezTo>
                  <a:cubicBezTo>
                    <a:pt x="8" y="8"/>
                    <a:pt x="14" y="5"/>
                    <a:pt x="20" y="3"/>
                  </a:cubicBezTo>
                  <a:cubicBezTo>
                    <a:pt x="35" y="0"/>
                    <a:pt x="52" y="2"/>
                    <a:pt x="68" y="6"/>
                  </a:cubicBezTo>
                  <a:cubicBezTo>
                    <a:pt x="74" y="7"/>
                    <a:pt x="81" y="9"/>
                    <a:pt x="87" y="11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23A3CCA8-A2A6-4A8F-A473-C8E4163A5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6044" y="5644610"/>
              <a:ext cx="809520" cy="414673"/>
            </a:xfrm>
            <a:custGeom>
              <a:avLst/>
              <a:gdLst>
                <a:gd name="T0" fmla="*/ 610 w 636"/>
                <a:gd name="T1" fmla="*/ 0 h 326"/>
                <a:gd name="T2" fmla="*/ 458 w 636"/>
                <a:gd name="T3" fmla="*/ 116 h 326"/>
                <a:gd name="T4" fmla="*/ 335 w 636"/>
                <a:gd name="T5" fmla="*/ 55 h 326"/>
                <a:gd name="T6" fmla="*/ 231 w 636"/>
                <a:gd name="T7" fmla="*/ 104 h 326"/>
                <a:gd name="T8" fmla="*/ 168 w 636"/>
                <a:gd name="T9" fmla="*/ 144 h 326"/>
                <a:gd name="T10" fmla="*/ 80 w 636"/>
                <a:gd name="T11" fmla="*/ 0 h 326"/>
                <a:gd name="T12" fmla="*/ 327 w 636"/>
                <a:gd name="T13" fmla="*/ 322 h 326"/>
                <a:gd name="T14" fmla="*/ 602 w 636"/>
                <a:gd name="T15" fmla="*/ 212 h 326"/>
                <a:gd name="T16" fmla="*/ 615 w 636"/>
                <a:gd name="T17" fmla="*/ 15 h 326"/>
                <a:gd name="T18" fmla="*/ 610 w 636"/>
                <a:gd name="T19" fmla="*/ 0 h 326"/>
                <a:gd name="T20" fmla="*/ 395 w 636"/>
                <a:gd name="T21" fmla="*/ 188 h 326"/>
                <a:gd name="T22" fmla="*/ 374 w 636"/>
                <a:gd name="T23" fmla="*/ 137 h 326"/>
                <a:gd name="T24" fmla="*/ 335 w 636"/>
                <a:gd name="T25" fmla="*/ 143 h 326"/>
                <a:gd name="T26" fmla="*/ 329 w 636"/>
                <a:gd name="T27" fmla="*/ 197 h 326"/>
                <a:gd name="T28" fmla="*/ 313 w 636"/>
                <a:gd name="T29" fmla="*/ 197 h 326"/>
                <a:gd name="T30" fmla="*/ 268 w 636"/>
                <a:gd name="T31" fmla="*/ 119 h 326"/>
                <a:gd name="T32" fmla="*/ 305 w 636"/>
                <a:gd name="T33" fmla="*/ 93 h 326"/>
                <a:gd name="T34" fmla="*/ 349 w 636"/>
                <a:gd name="T35" fmla="*/ 82 h 326"/>
                <a:gd name="T36" fmla="*/ 392 w 636"/>
                <a:gd name="T37" fmla="*/ 83 h 326"/>
                <a:gd name="T38" fmla="*/ 420 w 636"/>
                <a:gd name="T39" fmla="*/ 110 h 326"/>
                <a:gd name="T40" fmla="*/ 429 w 636"/>
                <a:gd name="T41" fmla="*/ 131 h 326"/>
                <a:gd name="T42" fmla="*/ 395 w 636"/>
                <a:gd name="T43" fmla="*/ 18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6" h="326">
                  <a:moveTo>
                    <a:pt x="610" y="0"/>
                  </a:moveTo>
                  <a:cubicBezTo>
                    <a:pt x="587" y="129"/>
                    <a:pt x="479" y="156"/>
                    <a:pt x="458" y="116"/>
                  </a:cubicBezTo>
                  <a:cubicBezTo>
                    <a:pt x="416" y="38"/>
                    <a:pt x="373" y="54"/>
                    <a:pt x="335" y="55"/>
                  </a:cubicBezTo>
                  <a:cubicBezTo>
                    <a:pt x="296" y="57"/>
                    <a:pt x="251" y="63"/>
                    <a:pt x="231" y="104"/>
                  </a:cubicBezTo>
                  <a:cubicBezTo>
                    <a:pt x="211" y="144"/>
                    <a:pt x="168" y="144"/>
                    <a:pt x="168" y="144"/>
                  </a:cubicBezTo>
                  <a:cubicBezTo>
                    <a:pt x="50" y="151"/>
                    <a:pt x="80" y="0"/>
                    <a:pt x="80" y="0"/>
                  </a:cubicBezTo>
                  <a:cubicBezTo>
                    <a:pt x="0" y="246"/>
                    <a:pt x="133" y="314"/>
                    <a:pt x="327" y="322"/>
                  </a:cubicBezTo>
                  <a:cubicBezTo>
                    <a:pt x="429" y="326"/>
                    <a:pt x="547" y="307"/>
                    <a:pt x="602" y="212"/>
                  </a:cubicBezTo>
                  <a:cubicBezTo>
                    <a:pt x="636" y="152"/>
                    <a:pt x="634" y="79"/>
                    <a:pt x="615" y="15"/>
                  </a:cubicBezTo>
                  <a:cubicBezTo>
                    <a:pt x="614" y="12"/>
                    <a:pt x="610" y="4"/>
                    <a:pt x="610" y="0"/>
                  </a:cubicBezTo>
                  <a:close/>
                  <a:moveTo>
                    <a:pt x="395" y="188"/>
                  </a:moveTo>
                  <a:cubicBezTo>
                    <a:pt x="374" y="137"/>
                    <a:pt x="374" y="137"/>
                    <a:pt x="374" y="137"/>
                  </a:cubicBezTo>
                  <a:cubicBezTo>
                    <a:pt x="335" y="143"/>
                    <a:pt x="335" y="143"/>
                    <a:pt x="335" y="143"/>
                  </a:cubicBezTo>
                  <a:cubicBezTo>
                    <a:pt x="329" y="197"/>
                    <a:pt x="329" y="197"/>
                    <a:pt x="329" y="197"/>
                  </a:cubicBezTo>
                  <a:cubicBezTo>
                    <a:pt x="324" y="197"/>
                    <a:pt x="318" y="197"/>
                    <a:pt x="313" y="197"/>
                  </a:cubicBezTo>
                  <a:cubicBezTo>
                    <a:pt x="239" y="196"/>
                    <a:pt x="261" y="141"/>
                    <a:pt x="268" y="119"/>
                  </a:cubicBezTo>
                  <a:cubicBezTo>
                    <a:pt x="272" y="105"/>
                    <a:pt x="292" y="98"/>
                    <a:pt x="305" y="93"/>
                  </a:cubicBezTo>
                  <a:cubicBezTo>
                    <a:pt x="319" y="88"/>
                    <a:pt x="334" y="84"/>
                    <a:pt x="349" y="82"/>
                  </a:cubicBezTo>
                  <a:cubicBezTo>
                    <a:pt x="363" y="80"/>
                    <a:pt x="379" y="78"/>
                    <a:pt x="392" y="83"/>
                  </a:cubicBezTo>
                  <a:cubicBezTo>
                    <a:pt x="405" y="88"/>
                    <a:pt x="413" y="99"/>
                    <a:pt x="420" y="110"/>
                  </a:cubicBezTo>
                  <a:cubicBezTo>
                    <a:pt x="423" y="117"/>
                    <a:pt x="426" y="124"/>
                    <a:pt x="429" y="131"/>
                  </a:cubicBezTo>
                  <a:cubicBezTo>
                    <a:pt x="442" y="160"/>
                    <a:pt x="426" y="178"/>
                    <a:pt x="395" y="188"/>
                  </a:cubicBezTo>
                  <a:close/>
                </a:path>
              </a:pathLst>
            </a:custGeom>
            <a:solidFill>
              <a:srgbClr val="C982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714EA946-3B64-49F2-8A17-CAA0889B8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968" y="5898966"/>
              <a:ext cx="645237" cy="263420"/>
            </a:xfrm>
            <a:custGeom>
              <a:avLst/>
              <a:gdLst>
                <a:gd name="T0" fmla="*/ 231 w 507"/>
                <a:gd name="T1" fmla="*/ 203 h 207"/>
                <a:gd name="T2" fmla="*/ 506 w 507"/>
                <a:gd name="T3" fmla="*/ 92 h 207"/>
                <a:gd name="T4" fmla="*/ 507 w 507"/>
                <a:gd name="T5" fmla="*/ 90 h 207"/>
                <a:gd name="T6" fmla="*/ 498 w 507"/>
                <a:gd name="T7" fmla="*/ 0 h 207"/>
                <a:gd name="T8" fmla="*/ 492 w 507"/>
                <a:gd name="T9" fmla="*/ 12 h 207"/>
                <a:gd name="T10" fmla="*/ 217 w 507"/>
                <a:gd name="T11" fmla="*/ 122 h 207"/>
                <a:gd name="T12" fmla="*/ 1 w 507"/>
                <a:gd name="T13" fmla="*/ 60 h 207"/>
                <a:gd name="T14" fmla="*/ 0 w 507"/>
                <a:gd name="T15" fmla="*/ 126 h 207"/>
                <a:gd name="T16" fmla="*/ 231 w 507"/>
                <a:gd name="T17" fmla="*/ 2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07">
                  <a:moveTo>
                    <a:pt x="231" y="203"/>
                  </a:moveTo>
                  <a:cubicBezTo>
                    <a:pt x="333" y="207"/>
                    <a:pt x="451" y="188"/>
                    <a:pt x="506" y="92"/>
                  </a:cubicBezTo>
                  <a:cubicBezTo>
                    <a:pt x="506" y="92"/>
                    <a:pt x="507" y="91"/>
                    <a:pt x="507" y="9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496" y="4"/>
                    <a:pt x="494" y="8"/>
                    <a:pt x="492" y="12"/>
                  </a:cubicBezTo>
                  <a:cubicBezTo>
                    <a:pt x="437" y="107"/>
                    <a:pt x="319" y="126"/>
                    <a:pt x="217" y="122"/>
                  </a:cubicBezTo>
                  <a:cubicBezTo>
                    <a:pt x="127" y="118"/>
                    <a:pt x="50" y="101"/>
                    <a:pt x="1" y="6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47" y="178"/>
                    <a:pt x="131" y="199"/>
                    <a:pt x="231" y="203"/>
                  </a:cubicBezTo>
                  <a:close/>
                </a:path>
              </a:pathLst>
            </a:custGeom>
            <a:solidFill>
              <a:srgbClr val="E88D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666E2805-A403-4F7C-853B-BF12DEC87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842" y="5465031"/>
              <a:ext cx="179012" cy="283813"/>
            </a:xfrm>
            <a:custGeom>
              <a:avLst/>
              <a:gdLst>
                <a:gd name="T0" fmla="*/ 82 w 141"/>
                <a:gd name="T1" fmla="*/ 1 h 223"/>
                <a:gd name="T2" fmla="*/ 3 w 141"/>
                <a:gd name="T3" fmla="*/ 156 h 223"/>
                <a:gd name="T4" fmla="*/ 73 w 141"/>
                <a:gd name="T5" fmla="*/ 213 h 223"/>
                <a:gd name="T6" fmla="*/ 115 w 141"/>
                <a:gd name="T7" fmla="*/ 52 h 223"/>
                <a:gd name="T8" fmla="*/ 82 w 141"/>
                <a:gd name="T9" fmla="*/ 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223">
                  <a:moveTo>
                    <a:pt x="82" y="1"/>
                  </a:moveTo>
                  <a:cubicBezTo>
                    <a:pt x="82" y="1"/>
                    <a:pt x="0" y="23"/>
                    <a:pt x="3" y="156"/>
                  </a:cubicBezTo>
                  <a:cubicBezTo>
                    <a:pt x="3" y="156"/>
                    <a:pt x="4" y="223"/>
                    <a:pt x="73" y="213"/>
                  </a:cubicBezTo>
                  <a:cubicBezTo>
                    <a:pt x="141" y="202"/>
                    <a:pt x="115" y="52"/>
                    <a:pt x="115" y="52"/>
                  </a:cubicBezTo>
                  <a:cubicBezTo>
                    <a:pt x="115" y="52"/>
                    <a:pt x="126" y="0"/>
                    <a:pt x="82" y="1"/>
                  </a:cubicBez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EF7246E3-506B-4C50-878B-E2DEB2D8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844" y="5207843"/>
              <a:ext cx="453195" cy="105934"/>
            </a:xfrm>
            <a:custGeom>
              <a:avLst/>
              <a:gdLst>
                <a:gd name="T0" fmla="*/ 319 w 356"/>
                <a:gd name="T1" fmla="*/ 20 h 83"/>
                <a:gd name="T2" fmla="*/ 290 w 356"/>
                <a:gd name="T3" fmla="*/ 34 h 83"/>
                <a:gd name="T4" fmla="*/ 151 w 356"/>
                <a:gd name="T5" fmla="*/ 66 h 83"/>
                <a:gd name="T6" fmla="*/ 108 w 356"/>
                <a:gd name="T7" fmla="*/ 63 h 83"/>
                <a:gd name="T8" fmla="*/ 6 w 356"/>
                <a:gd name="T9" fmla="*/ 24 h 83"/>
                <a:gd name="T10" fmla="*/ 4 w 356"/>
                <a:gd name="T11" fmla="*/ 29 h 83"/>
                <a:gd name="T12" fmla="*/ 0 w 356"/>
                <a:gd name="T13" fmla="*/ 41 h 83"/>
                <a:gd name="T14" fmla="*/ 148 w 356"/>
                <a:gd name="T15" fmla="*/ 83 h 83"/>
                <a:gd name="T16" fmla="*/ 242 w 356"/>
                <a:gd name="T17" fmla="*/ 66 h 83"/>
                <a:gd name="T18" fmla="*/ 310 w 356"/>
                <a:gd name="T19" fmla="*/ 37 h 83"/>
                <a:gd name="T20" fmla="*/ 341 w 356"/>
                <a:gd name="T21" fmla="*/ 18 h 83"/>
                <a:gd name="T22" fmla="*/ 355 w 356"/>
                <a:gd name="T23" fmla="*/ 7 h 83"/>
                <a:gd name="T24" fmla="*/ 355 w 356"/>
                <a:gd name="T25" fmla="*/ 7 h 83"/>
                <a:gd name="T26" fmla="*/ 353 w 356"/>
                <a:gd name="T27" fmla="*/ 0 h 83"/>
                <a:gd name="T28" fmla="*/ 319 w 356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6" h="83">
                  <a:moveTo>
                    <a:pt x="319" y="20"/>
                  </a:moveTo>
                  <a:cubicBezTo>
                    <a:pt x="305" y="26"/>
                    <a:pt x="292" y="33"/>
                    <a:pt x="290" y="34"/>
                  </a:cubicBezTo>
                  <a:cubicBezTo>
                    <a:pt x="246" y="53"/>
                    <a:pt x="199" y="66"/>
                    <a:pt x="151" y="66"/>
                  </a:cubicBezTo>
                  <a:cubicBezTo>
                    <a:pt x="137" y="66"/>
                    <a:pt x="123" y="65"/>
                    <a:pt x="108" y="63"/>
                  </a:cubicBezTo>
                  <a:cubicBezTo>
                    <a:pt x="72" y="58"/>
                    <a:pt x="36" y="45"/>
                    <a:pt x="6" y="24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43" y="73"/>
                    <a:pt x="94" y="83"/>
                    <a:pt x="148" y="83"/>
                  </a:cubicBezTo>
                  <a:cubicBezTo>
                    <a:pt x="180" y="82"/>
                    <a:pt x="212" y="76"/>
                    <a:pt x="242" y="66"/>
                  </a:cubicBezTo>
                  <a:cubicBezTo>
                    <a:pt x="265" y="58"/>
                    <a:pt x="288" y="49"/>
                    <a:pt x="310" y="37"/>
                  </a:cubicBezTo>
                  <a:cubicBezTo>
                    <a:pt x="321" y="31"/>
                    <a:pt x="331" y="25"/>
                    <a:pt x="341" y="18"/>
                  </a:cubicBezTo>
                  <a:cubicBezTo>
                    <a:pt x="346" y="15"/>
                    <a:pt x="351" y="11"/>
                    <a:pt x="355" y="7"/>
                  </a:cubicBezTo>
                  <a:cubicBezTo>
                    <a:pt x="355" y="7"/>
                    <a:pt x="355" y="7"/>
                    <a:pt x="355" y="7"/>
                  </a:cubicBezTo>
                  <a:cubicBezTo>
                    <a:pt x="356" y="6"/>
                    <a:pt x="353" y="1"/>
                    <a:pt x="353" y="0"/>
                  </a:cubicBezTo>
                  <a:cubicBezTo>
                    <a:pt x="353" y="0"/>
                    <a:pt x="336" y="12"/>
                    <a:pt x="319" y="20"/>
                  </a:cubicBezTo>
                  <a:close/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ED73F77E-2DB2-4D25-9CFA-EAC48D2A0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578" y="5635546"/>
              <a:ext cx="116131" cy="62314"/>
            </a:xfrm>
            <a:custGeom>
              <a:avLst/>
              <a:gdLst>
                <a:gd name="T0" fmla="*/ 91 w 91"/>
                <a:gd name="T1" fmla="*/ 0 h 49"/>
                <a:gd name="T2" fmla="*/ 43 w 91"/>
                <a:gd name="T3" fmla="*/ 10 h 49"/>
                <a:gd name="T4" fmla="*/ 36 w 91"/>
                <a:gd name="T5" fmla="*/ 10 h 49"/>
                <a:gd name="T6" fmla="*/ 0 w 91"/>
                <a:gd name="T7" fmla="*/ 3 h 49"/>
                <a:gd name="T8" fmla="*/ 45 w 91"/>
                <a:gd name="T9" fmla="*/ 49 h 49"/>
                <a:gd name="T10" fmla="*/ 91 w 91"/>
                <a:gd name="T11" fmla="*/ 3 h 49"/>
                <a:gd name="T12" fmla="*/ 91 w 9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49">
                  <a:moveTo>
                    <a:pt x="91" y="0"/>
                  </a:moveTo>
                  <a:cubicBezTo>
                    <a:pt x="78" y="7"/>
                    <a:pt x="62" y="10"/>
                    <a:pt x="43" y="10"/>
                  </a:cubicBezTo>
                  <a:cubicBezTo>
                    <a:pt x="40" y="10"/>
                    <a:pt x="38" y="10"/>
                    <a:pt x="36" y="10"/>
                  </a:cubicBezTo>
                  <a:cubicBezTo>
                    <a:pt x="22" y="9"/>
                    <a:pt x="10" y="7"/>
                    <a:pt x="0" y="3"/>
                  </a:cubicBezTo>
                  <a:cubicBezTo>
                    <a:pt x="0" y="28"/>
                    <a:pt x="20" y="49"/>
                    <a:pt x="45" y="49"/>
                  </a:cubicBezTo>
                  <a:cubicBezTo>
                    <a:pt x="71" y="49"/>
                    <a:pt x="91" y="28"/>
                    <a:pt x="91" y="3"/>
                  </a:cubicBezTo>
                  <a:cubicBezTo>
                    <a:pt x="91" y="2"/>
                    <a:pt x="91" y="1"/>
                    <a:pt x="91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4D3D196F-239D-4E85-9B51-4E706079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791" y="5589660"/>
              <a:ext cx="117264" cy="85541"/>
            </a:xfrm>
            <a:custGeom>
              <a:avLst/>
              <a:gdLst>
                <a:gd name="T0" fmla="*/ 6 w 92"/>
                <a:gd name="T1" fmla="*/ 0 h 67"/>
                <a:gd name="T2" fmla="*/ 0 w 92"/>
                <a:gd name="T3" fmla="*/ 22 h 67"/>
                <a:gd name="T4" fmla="*/ 46 w 92"/>
                <a:gd name="T5" fmla="*/ 67 h 67"/>
                <a:gd name="T6" fmla="*/ 92 w 92"/>
                <a:gd name="T7" fmla="*/ 22 h 67"/>
                <a:gd name="T8" fmla="*/ 91 w 92"/>
                <a:gd name="T9" fmla="*/ 15 h 67"/>
                <a:gd name="T10" fmla="*/ 72 w 92"/>
                <a:gd name="T11" fmla="*/ 17 h 67"/>
                <a:gd name="T12" fmla="*/ 51 w 92"/>
                <a:gd name="T13" fmla="*/ 15 h 67"/>
                <a:gd name="T14" fmla="*/ 6 w 92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7">
                  <a:moveTo>
                    <a:pt x="6" y="0"/>
                  </a:moveTo>
                  <a:cubicBezTo>
                    <a:pt x="2" y="7"/>
                    <a:pt x="0" y="14"/>
                    <a:pt x="0" y="22"/>
                  </a:cubicBezTo>
                  <a:cubicBezTo>
                    <a:pt x="0" y="47"/>
                    <a:pt x="21" y="67"/>
                    <a:pt x="46" y="67"/>
                  </a:cubicBezTo>
                  <a:cubicBezTo>
                    <a:pt x="71" y="67"/>
                    <a:pt x="92" y="47"/>
                    <a:pt x="92" y="22"/>
                  </a:cubicBezTo>
                  <a:cubicBezTo>
                    <a:pt x="92" y="19"/>
                    <a:pt x="92" y="17"/>
                    <a:pt x="91" y="15"/>
                  </a:cubicBezTo>
                  <a:cubicBezTo>
                    <a:pt x="85" y="16"/>
                    <a:pt x="79" y="17"/>
                    <a:pt x="72" y="17"/>
                  </a:cubicBezTo>
                  <a:cubicBezTo>
                    <a:pt x="65" y="17"/>
                    <a:pt x="58" y="16"/>
                    <a:pt x="51" y="15"/>
                  </a:cubicBezTo>
                  <a:cubicBezTo>
                    <a:pt x="33" y="12"/>
                    <a:pt x="18" y="7"/>
                    <a:pt x="6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D6FE1EF8-6E94-4C5C-83BF-410A1DC23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5772" y="5383456"/>
              <a:ext cx="608414" cy="265119"/>
            </a:xfrm>
            <a:custGeom>
              <a:avLst/>
              <a:gdLst>
                <a:gd name="T0" fmla="*/ 473 w 478"/>
                <a:gd name="T1" fmla="*/ 56 h 208"/>
                <a:gd name="T2" fmla="*/ 460 w 478"/>
                <a:gd name="T3" fmla="*/ 52 h 208"/>
                <a:gd name="T4" fmla="*/ 460 w 478"/>
                <a:gd name="T5" fmla="*/ 52 h 208"/>
                <a:gd name="T6" fmla="*/ 456 w 478"/>
                <a:gd name="T7" fmla="*/ 51 h 208"/>
                <a:gd name="T8" fmla="*/ 279 w 478"/>
                <a:gd name="T9" fmla="*/ 64 h 208"/>
                <a:gd name="T10" fmla="*/ 274 w 478"/>
                <a:gd name="T11" fmla="*/ 86 h 208"/>
                <a:gd name="T12" fmla="*/ 243 w 478"/>
                <a:gd name="T13" fmla="*/ 68 h 208"/>
                <a:gd name="T14" fmla="*/ 198 w 478"/>
                <a:gd name="T15" fmla="*/ 78 h 208"/>
                <a:gd name="T16" fmla="*/ 198 w 478"/>
                <a:gd name="T17" fmla="*/ 53 h 208"/>
                <a:gd name="T18" fmla="*/ 27 w 478"/>
                <a:gd name="T19" fmla="*/ 6 h 208"/>
                <a:gd name="T20" fmla="*/ 22 w 478"/>
                <a:gd name="T21" fmla="*/ 6 h 208"/>
                <a:gd name="T22" fmla="*/ 22 w 478"/>
                <a:gd name="T23" fmla="*/ 6 h 208"/>
                <a:gd name="T24" fmla="*/ 9 w 478"/>
                <a:gd name="T25" fmla="*/ 7 h 208"/>
                <a:gd name="T26" fmla="*/ 4 w 478"/>
                <a:gd name="T27" fmla="*/ 13 h 208"/>
                <a:gd name="T28" fmla="*/ 10 w 478"/>
                <a:gd name="T29" fmla="*/ 19 h 208"/>
                <a:gd name="T30" fmla="*/ 10 w 478"/>
                <a:gd name="T31" fmla="*/ 19 h 208"/>
                <a:gd name="T32" fmla="*/ 19 w 478"/>
                <a:gd name="T33" fmla="*/ 18 h 208"/>
                <a:gd name="T34" fmla="*/ 20 w 478"/>
                <a:gd name="T35" fmla="*/ 141 h 208"/>
                <a:gd name="T36" fmla="*/ 88 w 478"/>
                <a:gd name="T37" fmla="*/ 177 h 208"/>
                <a:gd name="T38" fmla="*/ 109 w 478"/>
                <a:gd name="T39" fmla="*/ 179 h 208"/>
                <a:gd name="T40" fmla="*/ 164 w 478"/>
                <a:gd name="T41" fmla="*/ 159 h 208"/>
                <a:gd name="T42" fmla="*/ 196 w 478"/>
                <a:gd name="T43" fmla="*/ 95 h 208"/>
                <a:gd name="T44" fmla="*/ 241 w 478"/>
                <a:gd name="T45" fmla="*/ 80 h 208"/>
                <a:gd name="T46" fmla="*/ 273 w 478"/>
                <a:gd name="T47" fmla="*/ 108 h 208"/>
                <a:gd name="T48" fmla="*/ 291 w 478"/>
                <a:gd name="T49" fmla="*/ 175 h 208"/>
                <a:gd name="T50" fmla="*/ 363 w 478"/>
                <a:gd name="T51" fmla="*/ 208 h 208"/>
                <a:gd name="T52" fmla="*/ 370 w 478"/>
                <a:gd name="T53" fmla="*/ 208 h 208"/>
                <a:gd name="T54" fmla="*/ 437 w 478"/>
                <a:gd name="T55" fmla="*/ 185 h 208"/>
                <a:gd name="T56" fmla="*/ 461 w 478"/>
                <a:gd name="T57" fmla="*/ 65 h 208"/>
                <a:gd name="T58" fmla="*/ 470 w 478"/>
                <a:gd name="T59" fmla="*/ 67 h 208"/>
                <a:gd name="T60" fmla="*/ 472 w 478"/>
                <a:gd name="T61" fmla="*/ 67 h 208"/>
                <a:gd name="T62" fmla="*/ 477 w 478"/>
                <a:gd name="T63" fmla="*/ 63 h 208"/>
                <a:gd name="T64" fmla="*/ 473 w 478"/>
                <a:gd name="T65" fmla="*/ 56 h 208"/>
                <a:gd name="T66" fmla="*/ 156 w 478"/>
                <a:gd name="T67" fmla="*/ 150 h 208"/>
                <a:gd name="T68" fmla="*/ 90 w 478"/>
                <a:gd name="T69" fmla="*/ 165 h 208"/>
                <a:gd name="T70" fmla="*/ 30 w 478"/>
                <a:gd name="T71" fmla="*/ 134 h 208"/>
                <a:gd name="T72" fmla="*/ 32 w 478"/>
                <a:gd name="T73" fmla="*/ 18 h 208"/>
                <a:gd name="T74" fmla="*/ 42 w 478"/>
                <a:gd name="T75" fmla="*/ 17 h 208"/>
                <a:gd name="T76" fmla="*/ 43 w 478"/>
                <a:gd name="T77" fmla="*/ 17 h 208"/>
                <a:gd name="T78" fmla="*/ 108 w 478"/>
                <a:gd name="T79" fmla="*/ 20 h 208"/>
                <a:gd name="T80" fmla="*/ 186 w 478"/>
                <a:gd name="T81" fmla="*/ 53 h 208"/>
                <a:gd name="T82" fmla="*/ 156 w 478"/>
                <a:gd name="T83" fmla="*/ 150 h 208"/>
                <a:gd name="T84" fmla="*/ 428 w 478"/>
                <a:gd name="T85" fmla="*/ 177 h 208"/>
                <a:gd name="T86" fmla="*/ 363 w 478"/>
                <a:gd name="T87" fmla="*/ 196 h 208"/>
                <a:gd name="T88" fmla="*/ 301 w 478"/>
                <a:gd name="T89" fmla="*/ 168 h 208"/>
                <a:gd name="T90" fmla="*/ 285 w 478"/>
                <a:gd name="T91" fmla="*/ 109 h 208"/>
                <a:gd name="T92" fmla="*/ 285 w 478"/>
                <a:gd name="T93" fmla="*/ 109 h 208"/>
                <a:gd name="T94" fmla="*/ 285 w 478"/>
                <a:gd name="T95" fmla="*/ 107 h 208"/>
                <a:gd name="T96" fmla="*/ 290 w 478"/>
                <a:gd name="T97" fmla="*/ 67 h 208"/>
                <a:gd name="T98" fmla="*/ 345 w 478"/>
                <a:gd name="T99" fmla="*/ 48 h 208"/>
                <a:gd name="T100" fmla="*/ 437 w 478"/>
                <a:gd name="T101" fmla="*/ 59 h 208"/>
                <a:gd name="T102" fmla="*/ 439 w 478"/>
                <a:gd name="T103" fmla="*/ 60 h 208"/>
                <a:gd name="T104" fmla="*/ 449 w 478"/>
                <a:gd name="T105" fmla="*/ 62 h 208"/>
                <a:gd name="T106" fmla="*/ 428 w 478"/>
                <a:gd name="T107" fmla="*/ 177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8" h="208">
                  <a:moveTo>
                    <a:pt x="473" y="56"/>
                  </a:moveTo>
                  <a:cubicBezTo>
                    <a:pt x="473" y="55"/>
                    <a:pt x="468" y="54"/>
                    <a:pt x="460" y="52"/>
                  </a:cubicBezTo>
                  <a:cubicBezTo>
                    <a:pt x="460" y="52"/>
                    <a:pt x="460" y="52"/>
                    <a:pt x="460" y="52"/>
                  </a:cubicBezTo>
                  <a:cubicBezTo>
                    <a:pt x="456" y="51"/>
                    <a:pt x="456" y="51"/>
                    <a:pt x="456" y="51"/>
                  </a:cubicBezTo>
                  <a:cubicBezTo>
                    <a:pt x="439" y="47"/>
                    <a:pt x="292" y="13"/>
                    <a:pt x="279" y="64"/>
                  </a:cubicBezTo>
                  <a:cubicBezTo>
                    <a:pt x="277" y="69"/>
                    <a:pt x="276" y="76"/>
                    <a:pt x="274" y="86"/>
                  </a:cubicBezTo>
                  <a:cubicBezTo>
                    <a:pt x="268" y="78"/>
                    <a:pt x="258" y="71"/>
                    <a:pt x="243" y="68"/>
                  </a:cubicBezTo>
                  <a:cubicBezTo>
                    <a:pt x="224" y="65"/>
                    <a:pt x="208" y="72"/>
                    <a:pt x="198" y="78"/>
                  </a:cubicBezTo>
                  <a:cubicBezTo>
                    <a:pt x="199" y="67"/>
                    <a:pt x="199" y="58"/>
                    <a:pt x="198" y="53"/>
                  </a:cubicBezTo>
                  <a:cubicBezTo>
                    <a:pt x="195" y="0"/>
                    <a:pt x="44" y="5"/>
                    <a:pt x="27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6"/>
                    <a:pt x="9" y="7"/>
                    <a:pt x="9" y="7"/>
                  </a:cubicBezTo>
                  <a:cubicBezTo>
                    <a:pt x="6" y="7"/>
                    <a:pt x="3" y="10"/>
                    <a:pt x="4" y="13"/>
                  </a:cubicBezTo>
                  <a:cubicBezTo>
                    <a:pt x="4" y="16"/>
                    <a:pt x="6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4" y="18"/>
                    <a:pt x="19" y="18"/>
                  </a:cubicBezTo>
                  <a:cubicBezTo>
                    <a:pt x="7" y="68"/>
                    <a:pt x="0" y="111"/>
                    <a:pt x="20" y="141"/>
                  </a:cubicBezTo>
                  <a:cubicBezTo>
                    <a:pt x="33" y="160"/>
                    <a:pt x="55" y="172"/>
                    <a:pt x="88" y="177"/>
                  </a:cubicBezTo>
                  <a:cubicBezTo>
                    <a:pt x="95" y="178"/>
                    <a:pt x="102" y="179"/>
                    <a:pt x="109" y="179"/>
                  </a:cubicBezTo>
                  <a:cubicBezTo>
                    <a:pt x="131" y="179"/>
                    <a:pt x="150" y="172"/>
                    <a:pt x="164" y="159"/>
                  </a:cubicBezTo>
                  <a:cubicBezTo>
                    <a:pt x="183" y="142"/>
                    <a:pt x="192" y="117"/>
                    <a:pt x="196" y="95"/>
                  </a:cubicBezTo>
                  <a:cubicBezTo>
                    <a:pt x="201" y="90"/>
                    <a:pt x="218" y="77"/>
                    <a:pt x="241" y="80"/>
                  </a:cubicBezTo>
                  <a:cubicBezTo>
                    <a:pt x="263" y="84"/>
                    <a:pt x="271" y="101"/>
                    <a:pt x="273" y="108"/>
                  </a:cubicBezTo>
                  <a:cubicBezTo>
                    <a:pt x="273" y="130"/>
                    <a:pt x="276" y="155"/>
                    <a:pt x="291" y="175"/>
                  </a:cubicBezTo>
                  <a:cubicBezTo>
                    <a:pt x="307" y="195"/>
                    <a:pt x="331" y="206"/>
                    <a:pt x="363" y="208"/>
                  </a:cubicBezTo>
                  <a:cubicBezTo>
                    <a:pt x="365" y="208"/>
                    <a:pt x="367" y="208"/>
                    <a:pt x="370" y="208"/>
                  </a:cubicBezTo>
                  <a:cubicBezTo>
                    <a:pt x="400" y="208"/>
                    <a:pt x="422" y="200"/>
                    <a:pt x="437" y="185"/>
                  </a:cubicBezTo>
                  <a:cubicBezTo>
                    <a:pt x="462" y="160"/>
                    <a:pt x="463" y="116"/>
                    <a:pt x="461" y="65"/>
                  </a:cubicBezTo>
                  <a:cubicBezTo>
                    <a:pt x="466" y="66"/>
                    <a:pt x="470" y="67"/>
                    <a:pt x="470" y="67"/>
                  </a:cubicBezTo>
                  <a:cubicBezTo>
                    <a:pt x="470" y="67"/>
                    <a:pt x="471" y="67"/>
                    <a:pt x="472" y="67"/>
                  </a:cubicBezTo>
                  <a:cubicBezTo>
                    <a:pt x="474" y="67"/>
                    <a:pt x="477" y="66"/>
                    <a:pt x="477" y="63"/>
                  </a:cubicBezTo>
                  <a:cubicBezTo>
                    <a:pt x="478" y="60"/>
                    <a:pt x="476" y="56"/>
                    <a:pt x="473" y="56"/>
                  </a:cubicBezTo>
                  <a:moveTo>
                    <a:pt x="156" y="150"/>
                  </a:moveTo>
                  <a:cubicBezTo>
                    <a:pt x="140" y="165"/>
                    <a:pt x="118" y="170"/>
                    <a:pt x="90" y="165"/>
                  </a:cubicBezTo>
                  <a:cubicBezTo>
                    <a:pt x="60" y="161"/>
                    <a:pt x="41" y="150"/>
                    <a:pt x="30" y="134"/>
                  </a:cubicBezTo>
                  <a:cubicBezTo>
                    <a:pt x="12" y="108"/>
                    <a:pt x="20" y="66"/>
                    <a:pt x="32" y="18"/>
                  </a:cubicBezTo>
                  <a:cubicBezTo>
                    <a:pt x="35" y="17"/>
                    <a:pt x="39" y="17"/>
                    <a:pt x="42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59" y="17"/>
                    <a:pt x="83" y="18"/>
                    <a:pt x="108" y="20"/>
                  </a:cubicBezTo>
                  <a:cubicBezTo>
                    <a:pt x="158" y="25"/>
                    <a:pt x="185" y="37"/>
                    <a:pt x="186" y="53"/>
                  </a:cubicBezTo>
                  <a:cubicBezTo>
                    <a:pt x="188" y="85"/>
                    <a:pt x="181" y="128"/>
                    <a:pt x="156" y="150"/>
                  </a:cubicBezTo>
                  <a:moveTo>
                    <a:pt x="428" y="177"/>
                  </a:moveTo>
                  <a:cubicBezTo>
                    <a:pt x="414" y="190"/>
                    <a:pt x="393" y="197"/>
                    <a:pt x="363" y="196"/>
                  </a:cubicBezTo>
                  <a:cubicBezTo>
                    <a:pt x="335" y="195"/>
                    <a:pt x="314" y="185"/>
                    <a:pt x="301" y="168"/>
                  </a:cubicBezTo>
                  <a:cubicBezTo>
                    <a:pt x="289" y="152"/>
                    <a:pt x="285" y="130"/>
                    <a:pt x="285" y="109"/>
                  </a:cubicBezTo>
                  <a:cubicBezTo>
                    <a:pt x="285" y="109"/>
                    <a:pt x="285" y="109"/>
                    <a:pt x="285" y="109"/>
                  </a:cubicBezTo>
                  <a:cubicBezTo>
                    <a:pt x="285" y="108"/>
                    <a:pt x="285" y="108"/>
                    <a:pt x="285" y="107"/>
                  </a:cubicBezTo>
                  <a:cubicBezTo>
                    <a:pt x="285" y="93"/>
                    <a:pt x="287" y="79"/>
                    <a:pt x="290" y="67"/>
                  </a:cubicBezTo>
                  <a:cubicBezTo>
                    <a:pt x="294" y="53"/>
                    <a:pt x="316" y="48"/>
                    <a:pt x="345" y="48"/>
                  </a:cubicBezTo>
                  <a:cubicBezTo>
                    <a:pt x="373" y="48"/>
                    <a:pt x="408" y="53"/>
                    <a:pt x="437" y="59"/>
                  </a:cubicBezTo>
                  <a:cubicBezTo>
                    <a:pt x="438" y="59"/>
                    <a:pt x="438" y="60"/>
                    <a:pt x="439" y="60"/>
                  </a:cubicBezTo>
                  <a:cubicBezTo>
                    <a:pt x="442" y="60"/>
                    <a:pt x="446" y="61"/>
                    <a:pt x="449" y="62"/>
                  </a:cubicBezTo>
                  <a:cubicBezTo>
                    <a:pt x="451" y="111"/>
                    <a:pt x="451" y="154"/>
                    <a:pt x="428" y="177"/>
                  </a:cubicBezTo>
                </a:path>
              </a:pathLst>
            </a:custGeom>
            <a:solidFill>
              <a:srgbClr val="663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86B8E9F6-8AA3-4C56-BBC3-4E6CD6256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400" y="5158558"/>
              <a:ext cx="455461" cy="79876"/>
            </a:xfrm>
            <a:custGeom>
              <a:avLst/>
              <a:gdLst>
                <a:gd name="T0" fmla="*/ 354 w 358"/>
                <a:gd name="T1" fmla="*/ 0 h 63"/>
                <a:gd name="T2" fmla="*/ 148 w 358"/>
                <a:gd name="T3" fmla="*/ 55 h 63"/>
                <a:gd name="T4" fmla="*/ 42 w 358"/>
                <a:gd name="T5" fmla="*/ 38 h 63"/>
                <a:gd name="T6" fmla="*/ 14 w 358"/>
                <a:gd name="T7" fmla="*/ 26 h 63"/>
                <a:gd name="T8" fmla="*/ 7 w 358"/>
                <a:gd name="T9" fmla="*/ 22 h 63"/>
                <a:gd name="T10" fmla="*/ 5 w 358"/>
                <a:gd name="T11" fmla="*/ 21 h 63"/>
                <a:gd name="T12" fmla="*/ 4 w 358"/>
                <a:gd name="T13" fmla="*/ 21 h 63"/>
                <a:gd name="T14" fmla="*/ 4 w 358"/>
                <a:gd name="T15" fmla="*/ 21 h 63"/>
                <a:gd name="T16" fmla="*/ 0 w 358"/>
                <a:gd name="T17" fmla="*/ 28 h 63"/>
                <a:gd name="T18" fmla="*/ 148 w 358"/>
                <a:gd name="T19" fmla="*/ 63 h 63"/>
                <a:gd name="T20" fmla="*/ 358 w 358"/>
                <a:gd name="T21" fmla="*/ 7 h 63"/>
                <a:gd name="T22" fmla="*/ 354 w 358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">
                  <a:moveTo>
                    <a:pt x="354" y="0"/>
                  </a:moveTo>
                  <a:cubicBezTo>
                    <a:pt x="274" y="42"/>
                    <a:pt x="204" y="55"/>
                    <a:pt x="148" y="55"/>
                  </a:cubicBezTo>
                  <a:cubicBezTo>
                    <a:pt x="102" y="55"/>
                    <a:pt x="66" y="46"/>
                    <a:pt x="42" y="38"/>
                  </a:cubicBezTo>
                  <a:cubicBezTo>
                    <a:pt x="30" y="34"/>
                    <a:pt x="20" y="29"/>
                    <a:pt x="14" y="26"/>
                  </a:cubicBezTo>
                  <a:cubicBezTo>
                    <a:pt x="11" y="25"/>
                    <a:pt x="8" y="23"/>
                    <a:pt x="7" y="22"/>
                  </a:cubicBezTo>
                  <a:cubicBezTo>
                    <a:pt x="6" y="22"/>
                    <a:pt x="5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55" y="63"/>
                    <a:pt x="148" y="63"/>
                  </a:cubicBezTo>
                  <a:cubicBezTo>
                    <a:pt x="205" y="63"/>
                    <a:pt x="276" y="50"/>
                    <a:pt x="358" y="7"/>
                  </a:cubicBezTo>
                  <a:cubicBezTo>
                    <a:pt x="354" y="0"/>
                    <a:pt x="354" y="0"/>
                    <a:pt x="354" y="0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7738920B-9A3E-4258-A630-31B12A9A0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267" y="5098510"/>
              <a:ext cx="455461" cy="100836"/>
            </a:xfrm>
            <a:custGeom>
              <a:avLst/>
              <a:gdLst>
                <a:gd name="T0" fmla="*/ 0 w 358"/>
                <a:gd name="T1" fmla="*/ 6 h 79"/>
                <a:gd name="T2" fmla="*/ 58 w 358"/>
                <a:gd name="T3" fmla="*/ 43 h 79"/>
                <a:gd name="T4" fmla="*/ 218 w 358"/>
                <a:gd name="T5" fmla="*/ 79 h 79"/>
                <a:gd name="T6" fmla="*/ 358 w 358"/>
                <a:gd name="T7" fmla="*/ 55 h 79"/>
                <a:gd name="T8" fmla="*/ 356 w 358"/>
                <a:gd name="T9" fmla="*/ 47 h 79"/>
                <a:gd name="T10" fmla="*/ 218 w 358"/>
                <a:gd name="T11" fmla="*/ 71 h 79"/>
                <a:gd name="T12" fmla="*/ 62 w 358"/>
                <a:gd name="T13" fmla="*/ 36 h 79"/>
                <a:gd name="T14" fmla="*/ 20 w 358"/>
                <a:gd name="T15" fmla="*/ 11 h 79"/>
                <a:gd name="T16" fmla="*/ 9 w 358"/>
                <a:gd name="T17" fmla="*/ 3 h 79"/>
                <a:gd name="T18" fmla="*/ 6 w 358"/>
                <a:gd name="T19" fmla="*/ 1 h 79"/>
                <a:gd name="T20" fmla="*/ 5 w 358"/>
                <a:gd name="T21" fmla="*/ 1 h 79"/>
                <a:gd name="T22" fmla="*/ 5 w 358"/>
                <a:gd name="T23" fmla="*/ 0 h 79"/>
                <a:gd name="T24" fmla="*/ 0 w 358"/>
                <a:gd name="T25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8" h="79">
                  <a:moveTo>
                    <a:pt x="0" y="6"/>
                  </a:moveTo>
                  <a:cubicBezTo>
                    <a:pt x="0" y="7"/>
                    <a:pt x="21" y="25"/>
                    <a:pt x="58" y="43"/>
                  </a:cubicBezTo>
                  <a:cubicBezTo>
                    <a:pt x="95" y="61"/>
                    <a:pt x="150" y="79"/>
                    <a:pt x="218" y="79"/>
                  </a:cubicBezTo>
                  <a:cubicBezTo>
                    <a:pt x="260" y="79"/>
                    <a:pt x="307" y="72"/>
                    <a:pt x="358" y="55"/>
                  </a:cubicBezTo>
                  <a:cubicBezTo>
                    <a:pt x="356" y="47"/>
                    <a:pt x="356" y="47"/>
                    <a:pt x="356" y="47"/>
                  </a:cubicBezTo>
                  <a:cubicBezTo>
                    <a:pt x="305" y="64"/>
                    <a:pt x="259" y="71"/>
                    <a:pt x="218" y="71"/>
                  </a:cubicBezTo>
                  <a:cubicBezTo>
                    <a:pt x="151" y="71"/>
                    <a:pt x="98" y="53"/>
                    <a:pt x="62" y="36"/>
                  </a:cubicBezTo>
                  <a:cubicBezTo>
                    <a:pt x="43" y="27"/>
                    <a:pt x="29" y="18"/>
                    <a:pt x="20" y="11"/>
                  </a:cubicBezTo>
                  <a:cubicBezTo>
                    <a:pt x="15" y="8"/>
                    <a:pt x="11" y="5"/>
                    <a:pt x="9" y="3"/>
                  </a:cubicBezTo>
                  <a:cubicBezTo>
                    <a:pt x="8" y="2"/>
                    <a:pt x="7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202C3CD0-C2A2-4438-B31D-6D60C2F49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1264" y="5405549"/>
              <a:ext cx="212435" cy="188076"/>
            </a:xfrm>
            <a:custGeom>
              <a:avLst/>
              <a:gdLst>
                <a:gd name="T0" fmla="*/ 94 w 167"/>
                <a:gd name="T1" fmla="*/ 80 h 148"/>
                <a:gd name="T2" fmla="*/ 83 w 167"/>
                <a:gd name="T3" fmla="*/ 69 h 148"/>
                <a:gd name="T4" fmla="*/ 94 w 167"/>
                <a:gd name="T5" fmla="*/ 58 h 148"/>
                <a:gd name="T6" fmla="*/ 105 w 167"/>
                <a:gd name="T7" fmla="*/ 69 h 148"/>
                <a:gd name="T8" fmla="*/ 94 w 167"/>
                <a:gd name="T9" fmla="*/ 80 h 148"/>
                <a:gd name="T10" fmla="*/ 28 w 167"/>
                <a:gd name="T11" fmla="*/ 0 h 148"/>
                <a:gd name="T12" fmla="*/ 23 w 167"/>
                <a:gd name="T13" fmla="*/ 0 h 148"/>
                <a:gd name="T14" fmla="*/ 22 w 167"/>
                <a:gd name="T15" fmla="*/ 0 h 148"/>
                <a:gd name="T16" fmla="*/ 19 w 167"/>
                <a:gd name="T17" fmla="*/ 0 h 148"/>
                <a:gd name="T18" fmla="*/ 12 w 167"/>
                <a:gd name="T19" fmla="*/ 1 h 148"/>
                <a:gd name="T20" fmla="*/ 0 w 167"/>
                <a:gd name="T21" fmla="*/ 76 h 148"/>
                <a:gd name="T22" fmla="*/ 10 w 167"/>
                <a:gd name="T23" fmla="*/ 117 h 148"/>
                <a:gd name="T24" fmla="*/ 30 w 167"/>
                <a:gd name="T25" fmla="*/ 135 h 148"/>
                <a:gd name="T26" fmla="*/ 63 w 167"/>
                <a:gd name="T27" fmla="*/ 121 h 148"/>
                <a:gd name="T28" fmla="*/ 105 w 167"/>
                <a:gd name="T29" fmla="*/ 148 h 148"/>
                <a:gd name="T30" fmla="*/ 136 w 167"/>
                <a:gd name="T31" fmla="*/ 133 h 148"/>
                <a:gd name="T32" fmla="*/ 167 w 167"/>
                <a:gd name="T33" fmla="*/ 46 h 148"/>
                <a:gd name="T34" fmla="*/ 166 w 167"/>
                <a:gd name="T35" fmla="*/ 36 h 148"/>
                <a:gd name="T36" fmla="*/ 106 w 167"/>
                <a:gd name="T37" fmla="*/ 5 h 148"/>
                <a:gd name="T38" fmla="*/ 105 w 167"/>
                <a:gd name="T39" fmla="*/ 6 h 148"/>
                <a:gd name="T40" fmla="*/ 91 w 167"/>
                <a:gd name="T41" fmla="*/ 6 h 148"/>
                <a:gd name="T42" fmla="*/ 62 w 167"/>
                <a:gd name="T43" fmla="*/ 1 h 148"/>
                <a:gd name="T44" fmla="*/ 28 w 167"/>
                <a:gd name="T45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" h="148">
                  <a:moveTo>
                    <a:pt x="94" y="80"/>
                  </a:moveTo>
                  <a:cubicBezTo>
                    <a:pt x="88" y="80"/>
                    <a:pt x="83" y="75"/>
                    <a:pt x="83" y="69"/>
                  </a:cubicBezTo>
                  <a:cubicBezTo>
                    <a:pt x="83" y="63"/>
                    <a:pt x="88" y="58"/>
                    <a:pt x="94" y="58"/>
                  </a:cubicBezTo>
                  <a:cubicBezTo>
                    <a:pt x="100" y="58"/>
                    <a:pt x="105" y="63"/>
                    <a:pt x="105" y="69"/>
                  </a:cubicBezTo>
                  <a:cubicBezTo>
                    <a:pt x="105" y="75"/>
                    <a:pt x="100" y="80"/>
                    <a:pt x="94" y="80"/>
                  </a:cubicBezTo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92"/>
                    <a:pt x="2" y="106"/>
                    <a:pt x="10" y="117"/>
                  </a:cubicBezTo>
                  <a:cubicBezTo>
                    <a:pt x="15" y="125"/>
                    <a:pt x="21" y="131"/>
                    <a:pt x="30" y="135"/>
                  </a:cubicBezTo>
                  <a:cubicBezTo>
                    <a:pt x="38" y="127"/>
                    <a:pt x="50" y="121"/>
                    <a:pt x="63" y="121"/>
                  </a:cubicBezTo>
                  <a:cubicBezTo>
                    <a:pt x="82" y="121"/>
                    <a:pt x="98" y="132"/>
                    <a:pt x="105" y="148"/>
                  </a:cubicBezTo>
                  <a:cubicBezTo>
                    <a:pt x="117" y="146"/>
                    <a:pt x="128" y="141"/>
                    <a:pt x="136" y="133"/>
                  </a:cubicBezTo>
                  <a:cubicBezTo>
                    <a:pt x="159" y="113"/>
                    <a:pt x="167" y="77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2"/>
                    <a:pt x="144" y="11"/>
                    <a:pt x="106" y="5"/>
                  </a:cubicBezTo>
                  <a:cubicBezTo>
                    <a:pt x="106" y="6"/>
                    <a:pt x="105" y="6"/>
                    <a:pt x="105" y="6"/>
                  </a:cubicBezTo>
                  <a:cubicBezTo>
                    <a:pt x="100" y="6"/>
                    <a:pt x="96" y="6"/>
                    <a:pt x="91" y="6"/>
                  </a:cubicBezTo>
                  <a:cubicBezTo>
                    <a:pt x="81" y="6"/>
                    <a:pt x="71" y="5"/>
                    <a:pt x="62" y="1"/>
                  </a:cubicBezTo>
                  <a:cubicBezTo>
                    <a:pt x="49" y="1"/>
                    <a:pt x="37" y="0"/>
                    <a:pt x="28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9">
              <a:extLst>
                <a:ext uri="{FF2B5EF4-FFF2-40B4-BE49-F238E27FC236}">
                  <a16:creationId xmlns:a16="http://schemas.microsoft.com/office/drawing/2014/main" id="{3221A0C2-7421-4CB6-8296-792731B29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F8B577A5-BAB7-4AC7-B08E-BA0F2631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006" y="5406682"/>
              <a:ext cx="56083" cy="6231"/>
            </a:xfrm>
            <a:custGeom>
              <a:avLst/>
              <a:gdLst>
                <a:gd name="T0" fmla="*/ 0 w 44"/>
                <a:gd name="T1" fmla="*/ 0 h 5"/>
                <a:gd name="T2" fmla="*/ 29 w 44"/>
                <a:gd name="T3" fmla="*/ 5 h 5"/>
                <a:gd name="T4" fmla="*/ 43 w 44"/>
                <a:gd name="T5" fmla="*/ 5 h 5"/>
                <a:gd name="T6" fmla="*/ 44 w 44"/>
                <a:gd name="T7" fmla="*/ 4 h 5"/>
                <a:gd name="T8" fmla="*/ 26 w 44"/>
                <a:gd name="T9" fmla="*/ 2 h 5"/>
                <a:gd name="T10" fmla="*/ 0 w 4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5">
                  <a:moveTo>
                    <a:pt x="0" y="0"/>
                  </a:moveTo>
                  <a:cubicBezTo>
                    <a:pt x="9" y="4"/>
                    <a:pt x="19" y="5"/>
                    <a:pt x="29" y="5"/>
                  </a:cubicBezTo>
                  <a:cubicBezTo>
                    <a:pt x="34" y="5"/>
                    <a:pt x="38" y="5"/>
                    <a:pt x="43" y="5"/>
                  </a:cubicBezTo>
                  <a:cubicBezTo>
                    <a:pt x="43" y="5"/>
                    <a:pt x="44" y="5"/>
                    <a:pt x="44" y="4"/>
                  </a:cubicBezTo>
                  <a:cubicBezTo>
                    <a:pt x="38" y="4"/>
                    <a:pt x="32" y="3"/>
                    <a:pt x="26" y="2"/>
                  </a:cubicBezTo>
                  <a:cubicBezTo>
                    <a:pt x="17" y="1"/>
                    <a:pt x="8" y="1"/>
                    <a:pt x="0" y="0"/>
                  </a:cubicBezTo>
                </a:path>
              </a:pathLst>
            </a:custGeom>
            <a:solidFill>
              <a:srgbClr val="535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2DEEEA26-AFB9-4ADB-82F7-987D46366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219" y="5559069"/>
              <a:ext cx="95737" cy="37389"/>
            </a:xfrm>
            <a:custGeom>
              <a:avLst/>
              <a:gdLst>
                <a:gd name="T0" fmla="*/ 33 w 75"/>
                <a:gd name="T1" fmla="*/ 0 h 29"/>
                <a:gd name="T2" fmla="*/ 0 w 75"/>
                <a:gd name="T3" fmla="*/ 14 h 29"/>
                <a:gd name="T4" fmla="*/ 40 w 75"/>
                <a:gd name="T5" fmla="*/ 27 h 29"/>
                <a:gd name="T6" fmla="*/ 58 w 75"/>
                <a:gd name="T7" fmla="*/ 29 h 29"/>
                <a:gd name="T8" fmla="*/ 75 w 75"/>
                <a:gd name="T9" fmla="*/ 27 h 29"/>
                <a:gd name="T10" fmla="*/ 33 w 75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29">
                  <a:moveTo>
                    <a:pt x="33" y="0"/>
                  </a:moveTo>
                  <a:cubicBezTo>
                    <a:pt x="20" y="0"/>
                    <a:pt x="8" y="6"/>
                    <a:pt x="0" y="14"/>
                  </a:cubicBezTo>
                  <a:cubicBezTo>
                    <a:pt x="10" y="20"/>
                    <a:pt x="23" y="25"/>
                    <a:pt x="40" y="27"/>
                  </a:cubicBezTo>
                  <a:cubicBezTo>
                    <a:pt x="46" y="28"/>
                    <a:pt x="53" y="29"/>
                    <a:pt x="58" y="29"/>
                  </a:cubicBezTo>
                  <a:cubicBezTo>
                    <a:pt x="64" y="29"/>
                    <a:pt x="70" y="28"/>
                    <a:pt x="75" y="27"/>
                  </a:cubicBezTo>
                  <a:cubicBezTo>
                    <a:pt x="68" y="11"/>
                    <a:pt x="52" y="0"/>
                    <a:pt x="33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94325CF-E4E9-4DC2-9E20-76518EDE8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264" y="5405549"/>
              <a:ext cx="212435" cy="96304"/>
            </a:xfrm>
            <a:custGeom>
              <a:avLst/>
              <a:gdLst>
                <a:gd name="T0" fmla="*/ 28 w 167"/>
                <a:gd name="T1" fmla="*/ 0 h 76"/>
                <a:gd name="T2" fmla="*/ 23 w 167"/>
                <a:gd name="T3" fmla="*/ 0 h 76"/>
                <a:gd name="T4" fmla="*/ 22 w 167"/>
                <a:gd name="T5" fmla="*/ 0 h 76"/>
                <a:gd name="T6" fmla="*/ 19 w 167"/>
                <a:gd name="T7" fmla="*/ 0 h 76"/>
                <a:gd name="T8" fmla="*/ 12 w 167"/>
                <a:gd name="T9" fmla="*/ 1 h 76"/>
                <a:gd name="T10" fmla="*/ 0 w 167"/>
                <a:gd name="T11" fmla="*/ 76 h 76"/>
                <a:gd name="T12" fmla="*/ 12 w 167"/>
                <a:gd name="T13" fmla="*/ 1 h 76"/>
                <a:gd name="T14" fmla="*/ 19 w 167"/>
                <a:gd name="T15" fmla="*/ 0 h 76"/>
                <a:gd name="T16" fmla="*/ 22 w 167"/>
                <a:gd name="T17" fmla="*/ 0 h 76"/>
                <a:gd name="T18" fmla="*/ 23 w 167"/>
                <a:gd name="T19" fmla="*/ 0 h 76"/>
                <a:gd name="T20" fmla="*/ 28 w 167"/>
                <a:gd name="T21" fmla="*/ 0 h 76"/>
                <a:gd name="T22" fmla="*/ 62 w 167"/>
                <a:gd name="T23" fmla="*/ 1 h 76"/>
                <a:gd name="T24" fmla="*/ 88 w 167"/>
                <a:gd name="T25" fmla="*/ 3 h 76"/>
                <a:gd name="T26" fmla="*/ 106 w 167"/>
                <a:gd name="T27" fmla="*/ 5 h 76"/>
                <a:gd name="T28" fmla="*/ 166 w 167"/>
                <a:gd name="T29" fmla="*/ 36 h 76"/>
                <a:gd name="T30" fmla="*/ 167 w 167"/>
                <a:gd name="T31" fmla="*/ 46 h 76"/>
                <a:gd name="T32" fmla="*/ 166 w 167"/>
                <a:gd name="T33" fmla="*/ 36 h 76"/>
                <a:gd name="T34" fmla="*/ 88 w 167"/>
                <a:gd name="T35" fmla="*/ 3 h 76"/>
                <a:gd name="T36" fmla="*/ 28 w 167"/>
                <a:gd name="T3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7" h="76"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54"/>
                    <a:pt x="5" y="28"/>
                    <a:pt x="12" y="1"/>
                  </a:cubicBezTo>
                  <a:cubicBezTo>
                    <a:pt x="14" y="0"/>
                    <a:pt x="17" y="0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37" y="0"/>
                    <a:pt x="49" y="1"/>
                    <a:pt x="62" y="1"/>
                  </a:cubicBezTo>
                  <a:cubicBezTo>
                    <a:pt x="70" y="2"/>
                    <a:pt x="79" y="2"/>
                    <a:pt x="88" y="3"/>
                  </a:cubicBezTo>
                  <a:cubicBezTo>
                    <a:pt x="94" y="4"/>
                    <a:pt x="100" y="5"/>
                    <a:pt x="106" y="5"/>
                  </a:cubicBezTo>
                  <a:cubicBezTo>
                    <a:pt x="144" y="11"/>
                    <a:pt x="165" y="22"/>
                    <a:pt x="166" y="36"/>
                  </a:cubicBezTo>
                  <a:cubicBezTo>
                    <a:pt x="167" y="39"/>
                    <a:pt x="167" y="43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0"/>
                    <a:pt x="138" y="8"/>
                    <a:pt x="88" y="3"/>
                  </a:cubicBezTo>
                  <a:cubicBezTo>
                    <a:pt x="66" y="1"/>
                    <a:pt x="44" y="0"/>
                    <a:pt x="28" y="0"/>
                  </a:cubicBezTo>
                </a:path>
              </a:pathLst>
            </a:custGeom>
            <a:solidFill>
              <a:srgbClr val="8B6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CCF68048-D448-4D44-8F92-2D1A630BDA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328" y="5444638"/>
              <a:ext cx="210169" cy="179579"/>
            </a:xfrm>
            <a:custGeom>
              <a:avLst/>
              <a:gdLst>
                <a:gd name="T0" fmla="*/ 69 w 165"/>
                <a:gd name="T1" fmla="*/ 66 h 141"/>
                <a:gd name="T2" fmla="*/ 58 w 165"/>
                <a:gd name="T3" fmla="*/ 55 h 141"/>
                <a:gd name="T4" fmla="*/ 69 w 165"/>
                <a:gd name="T5" fmla="*/ 44 h 141"/>
                <a:gd name="T6" fmla="*/ 80 w 165"/>
                <a:gd name="T7" fmla="*/ 55 h 141"/>
                <a:gd name="T8" fmla="*/ 69 w 165"/>
                <a:gd name="T9" fmla="*/ 66 h 141"/>
                <a:gd name="T10" fmla="*/ 60 w 165"/>
                <a:gd name="T11" fmla="*/ 0 h 141"/>
                <a:gd name="T12" fmla="*/ 5 w 165"/>
                <a:gd name="T13" fmla="*/ 19 h 141"/>
                <a:gd name="T14" fmla="*/ 0 w 165"/>
                <a:gd name="T15" fmla="*/ 59 h 141"/>
                <a:gd name="T16" fmla="*/ 0 w 165"/>
                <a:gd name="T17" fmla="*/ 61 h 141"/>
                <a:gd name="T18" fmla="*/ 0 w 165"/>
                <a:gd name="T19" fmla="*/ 61 h 141"/>
                <a:gd name="T20" fmla="*/ 0 w 165"/>
                <a:gd name="T21" fmla="*/ 61 h 141"/>
                <a:gd name="T22" fmla="*/ 0 w 165"/>
                <a:gd name="T23" fmla="*/ 61 h 141"/>
                <a:gd name="T24" fmla="*/ 0 w 165"/>
                <a:gd name="T25" fmla="*/ 61 h 141"/>
                <a:gd name="T26" fmla="*/ 16 w 165"/>
                <a:gd name="T27" fmla="*/ 120 h 141"/>
                <a:gd name="T28" fmla="*/ 43 w 165"/>
                <a:gd name="T29" fmla="*/ 141 h 141"/>
                <a:gd name="T30" fmla="*/ 87 w 165"/>
                <a:gd name="T31" fmla="*/ 107 h 141"/>
                <a:gd name="T32" fmla="*/ 131 w 165"/>
                <a:gd name="T33" fmla="*/ 138 h 141"/>
                <a:gd name="T34" fmla="*/ 143 w 165"/>
                <a:gd name="T35" fmla="*/ 129 h 141"/>
                <a:gd name="T36" fmla="*/ 165 w 165"/>
                <a:gd name="T37" fmla="*/ 46 h 141"/>
                <a:gd name="T38" fmla="*/ 164 w 165"/>
                <a:gd name="T39" fmla="*/ 14 h 141"/>
                <a:gd name="T40" fmla="*/ 154 w 165"/>
                <a:gd name="T41" fmla="*/ 12 h 141"/>
                <a:gd name="T42" fmla="*/ 152 w 165"/>
                <a:gd name="T43" fmla="*/ 11 h 141"/>
                <a:gd name="T44" fmla="*/ 60 w 165"/>
                <a:gd name="T4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141">
                  <a:moveTo>
                    <a:pt x="69" y="66"/>
                  </a:moveTo>
                  <a:cubicBezTo>
                    <a:pt x="63" y="66"/>
                    <a:pt x="58" y="61"/>
                    <a:pt x="58" y="55"/>
                  </a:cubicBezTo>
                  <a:cubicBezTo>
                    <a:pt x="58" y="49"/>
                    <a:pt x="63" y="44"/>
                    <a:pt x="69" y="44"/>
                  </a:cubicBezTo>
                  <a:cubicBezTo>
                    <a:pt x="75" y="44"/>
                    <a:pt x="80" y="49"/>
                    <a:pt x="80" y="55"/>
                  </a:cubicBezTo>
                  <a:cubicBezTo>
                    <a:pt x="80" y="61"/>
                    <a:pt x="75" y="66"/>
                    <a:pt x="69" y="66"/>
                  </a:cubicBezTo>
                  <a:moveTo>
                    <a:pt x="60" y="0"/>
                  </a:moveTo>
                  <a:cubicBezTo>
                    <a:pt x="31" y="0"/>
                    <a:pt x="9" y="5"/>
                    <a:pt x="5" y="19"/>
                  </a:cubicBezTo>
                  <a:cubicBezTo>
                    <a:pt x="2" y="31"/>
                    <a:pt x="0" y="45"/>
                    <a:pt x="0" y="59"/>
                  </a:cubicBezTo>
                  <a:cubicBezTo>
                    <a:pt x="0" y="60"/>
                    <a:pt x="0" y="60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3"/>
                    <a:pt x="4" y="104"/>
                    <a:pt x="16" y="120"/>
                  </a:cubicBezTo>
                  <a:cubicBezTo>
                    <a:pt x="23" y="129"/>
                    <a:pt x="32" y="136"/>
                    <a:pt x="43" y="141"/>
                  </a:cubicBezTo>
                  <a:cubicBezTo>
                    <a:pt x="49" y="121"/>
                    <a:pt x="66" y="107"/>
                    <a:pt x="87" y="107"/>
                  </a:cubicBezTo>
                  <a:cubicBezTo>
                    <a:pt x="108" y="107"/>
                    <a:pt x="125" y="120"/>
                    <a:pt x="131" y="138"/>
                  </a:cubicBezTo>
                  <a:cubicBezTo>
                    <a:pt x="135" y="135"/>
                    <a:pt x="139" y="132"/>
                    <a:pt x="143" y="129"/>
                  </a:cubicBezTo>
                  <a:cubicBezTo>
                    <a:pt x="160" y="111"/>
                    <a:pt x="165" y="82"/>
                    <a:pt x="165" y="46"/>
                  </a:cubicBezTo>
                  <a:cubicBezTo>
                    <a:pt x="165" y="36"/>
                    <a:pt x="164" y="25"/>
                    <a:pt x="164" y="14"/>
                  </a:cubicBezTo>
                  <a:cubicBezTo>
                    <a:pt x="161" y="13"/>
                    <a:pt x="157" y="12"/>
                    <a:pt x="154" y="12"/>
                  </a:cubicBezTo>
                  <a:cubicBezTo>
                    <a:pt x="153" y="12"/>
                    <a:pt x="153" y="11"/>
                    <a:pt x="152" y="11"/>
                  </a:cubicBezTo>
                  <a:cubicBezTo>
                    <a:pt x="123" y="5"/>
                    <a:pt x="88" y="0"/>
                    <a:pt x="60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4">
              <a:extLst>
                <a:ext uri="{FF2B5EF4-FFF2-40B4-BE49-F238E27FC236}">
                  <a16:creationId xmlns:a16="http://schemas.microsoft.com/office/drawing/2014/main" id="{9FCC4E03-B4C0-4377-A857-64CDB658C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757CE6EF-4782-4D7F-AD1B-E96039E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278" y="5581163"/>
              <a:ext cx="111599" cy="52117"/>
            </a:xfrm>
            <a:custGeom>
              <a:avLst/>
              <a:gdLst>
                <a:gd name="T0" fmla="*/ 44 w 88"/>
                <a:gd name="T1" fmla="*/ 0 h 41"/>
                <a:gd name="T2" fmla="*/ 0 w 88"/>
                <a:gd name="T3" fmla="*/ 34 h 41"/>
                <a:gd name="T4" fmla="*/ 35 w 88"/>
                <a:gd name="T5" fmla="*/ 41 h 41"/>
                <a:gd name="T6" fmla="*/ 42 w 88"/>
                <a:gd name="T7" fmla="*/ 41 h 41"/>
                <a:gd name="T8" fmla="*/ 88 w 88"/>
                <a:gd name="T9" fmla="*/ 31 h 41"/>
                <a:gd name="T10" fmla="*/ 44 w 88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1">
                  <a:moveTo>
                    <a:pt x="44" y="0"/>
                  </a:moveTo>
                  <a:cubicBezTo>
                    <a:pt x="23" y="0"/>
                    <a:pt x="6" y="14"/>
                    <a:pt x="0" y="34"/>
                  </a:cubicBezTo>
                  <a:cubicBezTo>
                    <a:pt x="10" y="38"/>
                    <a:pt x="22" y="40"/>
                    <a:pt x="35" y="41"/>
                  </a:cubicBezTo>
                  <a:cubicBezTo>
                    <a:pt x="37" y="41"/>
                    <a:pt x="40" y="41"/>
                    <a:pt x="42" y="41"/>
                  </a:cubicBezTo>
                  <a:cubicBezTo>
                    <a:pt x="61" y="41"/>
                    <a:pt x="76" y="38"/>
                    <a:pt x="88" y="31"/>
                  </a:cubicBezTo>
                  <a:cubicBezTo>
                    <a:pt x="82" y="13"/>
                    <a:pt x="65" y="0"/>
                    <a:pt x="44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A38A9622-0501-4371-873C-1C5395DFF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794" y="5842883"/>
              <a:ext cx="553465" cy="557430"/>
            </a:xfrm>
            <a:custGeom>
              <a:avLst/>
              <a:gdLst>
                <a:gd name="T0" fmla="*/ 5 w 435"/>
                <a:gd name="T1" fmla="*/ 54 h 438"/>
                <a:gd name="T2" fmla="*/ 265 w 435"/>
                <a:gd name="T3" fmla="*/ 158 h 438"/>
                <a:gd name="T4" fmla="*/ 303 w 435"/>
                <a:gd name="T5" fmla="*/ 151 h 438"/>
                <a:gd name="T6" fmla="*/ 299 w 435"/>
                <a:gd name="T7" fmla="*/ 47 h 438"/>
                <a:gd name="T8" fmla="*/ 328 w 435"/>
                <a:gd name="T9" fmla="*/ 14 h 438"/>
                <a:gd name="T10" fmla="*/ 358 w 435"/>
                <a:gd name="T11" fmla="*/ 0 h 438"/>
                <a:gd name="T12" fmla="*/ 370 w 435"/>
                <a:gd name="T13" fmla="*/ 92 h 438"/>
                <a:gd name="T14" fmla="*/ 426 w 435"/>
                <a:gd name="T15" fmla="*/ 185 h 438"/>
                <a:gd name="T16" fmla="*/ 434 w 435"/>
                <a:gd name="T17" fmla="*/ 219 h 438"/>
                <a:gd name="T18" fmla="*/ 425 w 435"/>
                <a:gd name="T19" fmla="*/ 350 h 438"/>
                <a:gd name="T20" fmla="*/ 254 w 435"/>
                <a:gd name="T21" fmla="*/ 438 h 438"/>
                <a:gd name="T22" fmla="*/ 98 w 435"/>
                <a:gd name="T23" fmla="*/ 339 h 438"/>
                <a:gd name="T24" fmla="*/ 145 w 435"/>
                <a:gd name="T25" fmla="*/ 193 h 438"/>
                <a:gd name="T26" fmla="*/ 20 w 435"/>
                <a:gd name="T27" fmla="*/ 121 h 438"/>
                <a:gd name="T28" fmla="*/ 2 w 435"/>
                <a:gd name="T29" fmla="*/ 84 h 438"/>
                <a:gd name="T30" fmla="*/ 5 w 435"/>
                <a:gd name="T31" fmla="*/ 54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5" h="438">
                  <a:moveTo>
                    <a:pt x="5" y="54"/>
                  </a:moveTo>
                  <a:cubicBezTo>
                    <a:pt x="265" y="158"/>
                    <a:pt x="265" y="158"/>
                    <a:pt x="265" y="158"/>
                  </a:cubicBezTo>
                  <a:cubicBezTo>
                    <a:pt x="303" y="151"/>
                    <a:pt x="303" y="151"/>
                    <a:pt x="303" y="151"/>
                  </a:cubicBezTo>
                  <a:cubicBezTo>
                    <a:pt x="303" y="151"/>
                    <a:pt x="286" y="90"/>
                    <a:pt x="299" y="47"/>
                  </a:cubicBezTo>
                  <a:cubicBezTo>
                    <a:pt x="303" y="32"/>
                    <a:pt x="314" y="20"/>
                    <a:pt x="328" y="14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70" y="92"/>
                    <a:pt x="370" y="92"/>
                    <a:pt x="370" y="92"/>
                  </a:cubicBezTo>
                  <a:cubicBezTo>
                    <a:pt x="426" y="185"/>
                    <a:pt x="426" y="185"/>
                    <a:pt x="426" y="185"/>
                  </a:cubicBezTo>
                  <a:cubicBezTo>
                    <a:pt x="432" y="196"/>
                    <a:pt x="435" y="208"/>
                    <a:pt x="434" y="219"/>
                  </a:cubicBezTo>
                  <a:cubicBezTo>
                    <a:pt x="425" y="350"/>
                    <a:pt x="425" y="350"/>
                    <a:pt x="425" y="350"/>
                  </a:cubicBezTo>
                  <a:cubicBezTo>
                    <a:pt x="254" y="438"/>
                    <a:pt x="254" y="438"/>
                    <a:pt x="254" y="438"/>
                  </a:cubicBezTo>
                  <a:cubicBezTo>
                    <a:pt x="98" y="339"/>
                    <a:pt x="98" y="339"/>
                    <a:pt x="98" y="339"/>
                  </a:cubicBezTo>
                  <a:cubicBezTo>
                    <a:pt x="145" y="193"/>
                    <a:pt x="145" y="193"/>
                    <a:pt x="145" y="19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7" y="114"/>
                    <a:pt x="0" y="99"/>
                    <a:pt x="2" y="84"/>
                  </a:cubicBezTo>
                  <a:lnTo>
                    <a:pt x="5" y="54"/>
                  </a:lnTo>
                  <a:close/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04ADEE6B-89BF-43D8-8835-2078CBC94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2" y="6288713"/>
              <a:ext cx="290045" cy="218667"/>
            </a:xfrm>
            <a:custGeom>
              <a:avLst/>
              <a:gdLst>
                <a:gd name="T0" fmla="*/ 0 w 512"/>
                <a:gd name="T1" fmla="*/ 197 h 386"/>
                <a:gd name="T2" fmla="*/ 56 w 512"/>
                <a:gd name="T3" fmla="*/ 386 h 386"/>
                <a:gd name="T4" fmla="*/ 512 w 512"/>
                <a:gd name="T5" fmla="*/ 150 h 386"/>
                <a:gd name="T6" fmla="*/ 384 w 512"/>
                <a:gd name="T7" fmla="*/ 0 h 386"/>
                <a:gd name="T8" fmla="*/ 0 w 512"/>
                <a:gd name="T9" fmla="*/ 19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2" h="386">
                  <a:moveTo>
                    <a:pt x="0" y="197"/>
                  </a:moveTo>
                  <a:lnTo>
                    <a:pt x="56" y="386"/>
                  </a:lnTo>
                  <a:lnTo>
                    <a:pt x="512" y="150"/>
                  </a:lnTo>
                  <a:lnTo>
                    <a:pt x="384" y="0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569EA4B-FEAA-43D8-90CD-383BBE26E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6373688"/>
              <a:ext cx="744070" cy="484313"/>
            </a:xfrm>
            <a:custGeom>
              <a:avLst/>
              <a:gdLst>
                <a:gd name="connsiteX0" fmla="*/ 258323 w 744070"/>
                <a:gd name="connsiteY0" fmla="*/ 0 h 484313"/>
                <a:gd name="connsiteX1" fmla="*/ 709296 w 744070"/>
                <a:gd name="connsiteY1" fmla="*/ 449641 h 484313"/>
                <a:gd name="connsiteX2" fmla="*/ 744070 w 744070"/>
                <a:gd name="connsiteY2" fmla="*/ 484313 h 484313"/>
                <a:gd name="connsiteX3" fmla="*/ 100204 w 744070"/>
                <a:gd name="connsiteY3" fmla="*/ 484313 h 484313"/>
                <a:gd name="connsiteX4" fmla="*/ 64825 w 744070"/>
                <a:gd name="connsiteY4" fmla="*/ 360345 h 484313"/>
                <a:gd name="connsiteX5" fmla="*/ 0 w 744070"/>
                <a:gd name="connsiteY5" fmla="*/ 133657 h 484313"/>
                <a:gd name="connsiteX6" fmla="*/ 258323 w 744070"/>
                <a:gd name="connsiteY6" fmla="*/ 0 h 48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4070" h="484313">
                  <a:moveTo>
                    <a:pt x="258323" y="0"/>
                  </a:moveTo>
                  <a:cubicBezTo>
                    <a:pt x="453338" y="194440"/>
                    <a:pt x="599600" y="340269"/>
                    <a:pt x="709296" y="449641"/>
                  </a:cubicBezTo>
                  <a:lnTo>
                    <a:pt x="744070" y="484313"/>
                  </a:lnTo>
                  <a:lnTo>
                    <a:pt x="100204" y="484313"/>
                  </a:lnTo>
                  <a:lnTo>
                    <a:pt x="64825" y="360345"/>
                  </a:lnTo>
                  <a:cubicBezTo>
                    <a:pt x="28811" y="234258"/>
                    <a:pt x="0" y="133657"/>
                    <a:pt x="0" y="133657"/>
                  </a:cubicBezTo>
                  <a:cubicBezTo>
                    <a:pt x="258323" y="0"/>
                    <a:pt x="258323" y="0"/>
                    <a:pt x="258323" y="0"/>
                  </a:cubicBez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E72188F-8710-49E0-BF9D-F5733D01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03" y="6390116"/>
              <a:ext cx="497353" cy="467884"/>
            </a:xfrm>
            <a:custGeom>
              <a:avLst/>
              <a:gdLst>
                <a:gd name="connsiteX0" fmla="*/ 66280 w 497353"/>
                <a:gd name="connsiteY0" fmla="*/ 0 h 467884"/>
                <a:gd name="connsiteX1" fmla="*/ 497353 w 497353"/>
                <a:gd name="connsiteY1" fmla="*/ 467884 h 467884"/>
                <a:gd name="connsiteX2" fmla="*/ 355878 w 497353"/>
                <a:gd name="connsiteY2" fmla="*/ 467884 h 467884"/>
                <a:gd name="connsiteX3" fmla="*/ 0 w 497353"/>
                <a:gd name="connsiteY3" fmla="*/ 34556 h 46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353" h="467884">
                  <a:moveTo>
                    <a:pt x="66280" y="0"/>
                  </a:moveTo>
                  <a:lnTo>
                    <a:pt x="497353" y="467884"/>
                  </a:lnTo>
                  <a:lnTo>
                    <a:pt x="355878" y="467884"/>
                  </a:lnTo>
                  <a:lnTo>
                    <a:pt x="0" y="34556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AD6FF684-B0F4-496B-9117-5B849A063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423" y="6086475"/>
              <a:ext cx="380684" cy="313838"/>
            </a:xfrm>
            <a:custGeom>
              <a:avLst/>
              <a:gdLst>
                <a:gd name="T0" fmla="*/ 672 w 672"/>
                <a:gd name="T1" fmla="*/ 386 h 554"/>
                <a:gd name="T2" fmla="*/ 294 w 672"/>
                <a:gd name="T3" fmla="*/ 0 h 554"/>
                <a:gd name="T4" fmla="*/ 0 w 672"/>
                <a:gd name="T5" fmla="*/ 332 h 554"/>
                <a:gd name="T6" fmla="*/ 351 w 672"/>
                <a:gd name="T7" fmla="*/ 554 h 554"/>
                <a:gd name="T8" fmla="*/ 672 w 672"/>
                <a:gd name="T9" fmla="*/ 38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554">
                  <a:moveTo>
                    <a:pt x="672" y="386"/>
                  </a:moveTo>
                  <a:lnTo>
                    <a:pt x="294" y="0"/>
                  </a:lnTo>
                  <a:lnTo>
                    <a:pt x="0" y="332"/>
                  </a:lnTo>
                  <a:lnTo>
                    <a:pt x="351" y="554"/>
                  </a:lnTo>
                  <a:lnTo>
                    <a:pt x="672" y="386"/>
                  </a:lnTo>
                  <a:close/>
                </a:path>
              </a:pathLst>
            </a:custGeom>
            <a:solidFill>
              <a:srgbClr val="F9B8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51">
              <a:extLst>
                <a:ext uri="{FF2B5EF4-FFF2-40B4-BE49-F238E27FC236}">
                  <a16:creationId xmlns:a16="http://schemas.microsoft.com/office/drawing/2014/main" id="{7B380E24-A29C-41FE-A352-4636DFF4A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221" y="6783829"/>
              <a:ext cx="265119" cy="44187"/>
            </a:xfrm>
            <a:prstGeom prst="rect">
              <a:avLst/>
            </a:pr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Arc 84">
            <a:extLst>
              <a:ext uri="{FF2B5EF4-FFF2-40B4-BE49-F238E27FC236}">
                <a16:creationId xmlns:a16="http://schemas.microsoft.com/office/drawing/2014/main" id="{3FDE2E32-55A1-47D4-8BA3-A74AA58710FC}"/>
              </a:ext>
            </a:extLst>
          </p:cNvPr>
          <p:cNvSpPr/>
          <p:nvPr/>
        </p:nvSpPr>
        <p:spPr>
          <a:xfrm>
            <a:off x="6092634" y="1866901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F006245B-CF7C-459E-96E6-9C5B6F3A727A}"/>
              </a:ext>
            </a:extLst>
          </p:cNvPr>
          <p:cNvSpPr/>
          <p:nvPr/>
        </p:nvSpPr>
        <p:spPr>
          <a:xfrm flipH="1">
            <a:off x="5117104" y="2689226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Arc 86">
            <a:extLst>
              <a:ext uri="{FF2B5EF4-FFF2-40B4-BE49-F238E27FC236}">
                <a16:creationId xmlns:a16="http://schemas.microsoft.com/office/drawing/2014/main" id="{34219E64-6959-4878-8FA7-2BEB46A31060}"/>
              </a:ext>
            </a:extLst>
          </p:cNvPr>
          <p:cNvSpPr/>
          <p:nvPr/>
        </p:nvSpPr>
        <p:spPr>
          <a:xfrm>
            <a:off x="6092634" y="3504752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Arc 87">
            <a:extLst>
              <a:ext uri="{FF2B5EF4-FFF2-40B4-BE49-F238E27FC236}">
                <a16:creationId xmlns:a16="http://schemas.microsoft.com/office/drawing/2014/main" id="{65E216E0-C32C-440F-AAB5-139A4374FFFF}"/>
              </a:ext>
            </a:extLst>
          </p:cNvPr>
          <p:cNvSpPr/>
          <p:nvPr/>
        </p:nvSpPr>
        <p:spPr>
          <a:xfrm flipH="1">
            <a:off x="5117104" y="4327077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9A63EE7D-5057-4B8E-8757-B9E740D440F8}"/>
              </a:ext>
            </a:extLst>
          </p:cNvPr>
          <p:cNvSpPr/>
          <p:nvPr/>
        </p:nvSpPr>
        <p:spPr>
          <a:xfrm>
            <a:off x="6503025" y="14986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86E19F7B-2058-4825-89DB-B751C993E96C}"/>
              </a:ext>
            </a:extLst>
          </p:cNvPr>
          <p:cNvSpPr/>
          <p:nvPr/>
        </p:nvSpPr>
        <p:spPr>
          <a:xfrm>
            <a:off x="6503025" y="31191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DDF2124-B230-4F3B-9077-EAE3F12511A3}"/>
              </a:ext>
            </a:extLst>
          </p:cNvPr>
          <p:cNvSpPr/>
          <p:nvPr/>
        </p:nvSpPr>
        <p:spPr>
          <a:xfrm>
            <a:off x="4928606" y="3944933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61CF362-72A2-4C2D-8DDA-229C19A034B8}"/>
              </a:ext>
            </a:extLst>
          </p:cNvPr>
          <p:cNvSpPr/>
          <p:nvPr/>
        </p:nvSpPr>
        <p:spPr>
          <a:xfrm>
            <a:off x="4928606" y="2315367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7F98DE7-6D5C-4AAB-AB76-499E06BB19E1}"/>
              </a:ext>
            </a:extLst>
          </p:cNvPr>
          <p:cNvSpPr/>
          <p:nvPr/>
        </p:nvSpPr>
        <p:spPr>
          <a:xfrm>
            <a:off x="6656116" y="16516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218963C-54BE-40FA-B0AC-376E38B5298A}"/>
              </a:ext>
            </a:extLst>
          </p:cNvPr>
          <p:cNvSpPr/>
          <p:nvPr/>
        </p:nvSpPr>
        <p:spPr>
          <a:xfrm>
            <a:off x="6656116" y="32721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6BC5FD4B-CC98-4B20-94B1-1FAF5D5488A7}"/>
              </a:ext>
            </a:extLst>
          </p:cNvPr>
          <p:cNvSpPr/>
          <p:nvPr/>
        </p:nvSpPr>
        <p:spPr>
          <a:xfrm>
            <a:off x="5081697" y="4098024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E46B063A-AE2E-4FDB-B04E-ABFAA771C3CD}"/>
              </a:ext>
            </a:extLst>
          </p:cNvPr>
          <p:cNvSpPr/>
          <p:nvPr/>
        </p:nvSpPr>
        <p:spPr>
          <a:xfrm>
            <a:off x="5081697" y="2468458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Subtitle 176">
            <a:extLst>
              <a:ext uri="{FF2B5EF4-FFF2-40B4-BE49-F238E27FC236}">
                <a16:creationId xmlns:a16="http://schemas.microsoft.com/office/drawing/2014/main" id="{ADF6FBD2-C91F-46F9-B76D-E92213BDFBFC}"/>
              </a:ext>
            </a:extLst>
          </p:cNvPr>
          <p:cNvSpPr txBox="1">
            <a:spLocks/>
          </p:cNvSpPr>
          <p:nvPr/>
        </p:nvSpPr>
        <p:spPr>
          <a:xfrm>
            <a:off x="342148" y="1819140"/>
            <a:ext cx="4338943" cy="411829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ndo da bolha: como a ciência e a tecnologia nos afetam?</a:t>
            </a:r>
            <a:r>
              <a:rPr lang="pt-BR" sz="2000" i="1" dirty="0"/>
              <a:t> </a:t>
            </a:r>
          </a:p>
          <a:p>
            <a:pPr marL="0" indent="0">
              <a:buNone/>
            </a:pPr>
            <a:endParaRPr lang="pt-BR" sz="2000" i="1" dirty="0"/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ção social e os rumos da ciência e da tecnologia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quem serve o desenvolvimento da ciência e da tecnologia?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ampliar o acesso aos benefícios gerados pela ciência e pela tecnologia?</a:t>
            </a:r>
          </a:p>
        </p:txBody>
      </p:sp>
      <p:sp>
        <p:nvSpPr>
          <p:cNvPr id="103" name="Subtitle 176">
            <a:extLst>
              <a:ext uri="{FF2B5EF4-FFF2-40B4-BE49-F238E27FC236}">
                <a16:creationId xmlns:a16="http://schemas.microsoft.com/office/drawing/2014/main" id="{7CABD1CC-7CF2-42BF-B421-D9E3CE24E307}"/>
              </a:ext>
            </a:extLst>
          </p:cNvPr>
          <p:cNvSpPr txBox="1">
            <a:spLocks/>
          </p:cNvSpPr>
          <p:nvPr/>
        </p:nvSpPr>
        <p:spPr>
          <a:xfrm>
            <a:off x="7510910" y="3188301"/>
            <a:ext cx="4504141" cy="6647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 na estrada: produção científica e inovação</a:t>
            </a:r>
          </a:p>
          <a:p>
            <a:pPr marL="0" indent="0">
              <a:buNone/>
            </a:pPr>
            <a:endParaRPr lang="pt-BR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20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os do desenvolvimento científico-tecnológico no trabalho humano.</a:t>
            </a:r>
          </a:p>
          <a:p>
            <a:pPr marL="457200" algn="just"/>
            <a:endParaRPr lang="pt-BR" sz="20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endParaRPr lang="pt-BR" sz="20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20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ção: chave para o futuro</a:t>
            </a:r>
          </a:p>
          <a:p>
            <a:pPr marL="0" indent="0">
              <a:buNone/>
            </a:pPr>
            <a:endParaRPr lang="pt-BR" sz="15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67279C2-29BA-4EDC-AFAB-C926DD4E73BB}"/>
              </a:ext>
            </a:extLst>
          </p:cNvPr>
          <p:cNvGrpSpPr/>
          <p:nvPr/>
        </p:nvGrpSpPr>
        <p:grpSpPr>
          <a:xfrm>
            <a:off x="5197083" y="4269467"/>
            <a:ext cx="270746" cy="158632"/>
            <a:chOff x="4113213" y="4046538"/>
            <a:chExt cx="360363" cy="211138"/>
          </a:xfrm>
          <a:solidFill>
            <a:srgbClr val="FF4D67"/>
          </a:solidFill>
          <a:effectLst/>
        </p:grpSpPr>
        <p:sp>
          <p:nvSpPr>
            <p:cNvPr id="105" name="Freeform 84">
              <a:extLst>
                <a:ext uri="{FF2B5EF4-FFF2-40B4-BE49-F238E27FC236}">
                  <a16:creationId xmlns:a16="http://schemas.microsoft.com/office/drawing/2014/main" id="{D3F6DF5E-78B5-406D-AAD4-506C37608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85">
              <a:extLst>
                <a:ext uri="{FF2B5EF4-FFF2-40B4-BE49-F238E27FC236}">
                  <a16:creationId xmlns:a16="http://schemas.microsoft.com/office/drawing/2014/main" id="{D242F6A0-7E15-4A7D-98FF-193BE789C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725FA6C-624F-4D4D-A426-E14BAF461F09}"/>
              </a:ext>
            </a:extLst>
          </p:cNvPr>
          <p:cNvGrpSpPr/>
          <p:nvPr/>
        </p:nvGrpSpPr>
        <p:grpSpPr>
          <a:xfrm>
            <a:off x="6783809" y="1778842"/>
            <a:ext cx="246133" cy="247217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108" name="Freeform 63">
              <a:extLst>
                <a:ext uri="{FF2B5EF4-FFF2-40B4-BE49-F238E27FC236}">
                  <a16:creationId xmlns:a16="http://schemas.microsoft.com/office/drawing/2014/main" id="{7BE7B3F5-C19C-41B4-BFF8-188F7DC86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64">
              <a:extLst>
                <a:ext uri="{FF2B5EF4-FFF2-40B4-BE49-F238E27FC236}">
                  <a16:creationId xmlns:a16="http://schemas.microsoft.com/office/drawing/2014/main" id="{D7A157B6-45E0-433B-90AB-3E2894F33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65">
              <a:extLst>
                <a:ext uri="{FF2B5EF4-FFF2-40B4-BE49-F238E27FC236}">
                  <a16:creationId xmlns:a16="http://schemas.microsoft.com/office/drawing/2014/main" id="{8E049428-5E5A-4D31-B685-3173CD3EF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66">
              <a:extLst>
                <a:ext uri="{FF2B5EF4-FFF2-40B4-BE49-F238E27FC236}">
                  <a16:creationId xmlns:a16="http://schemas.microsoft.com/office/drawing/2014/main" id="{B70E1FAB-8775-4032-BCC0-35EC6166C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3EC0F959-C14D-4C63-8FC5-ADA2F38BEB9B}"/>
              </a:ext>
            </a:extLst>
          </p:cNvPr>
          <p:cNvGrpSpPr/>
          <p:nvPr/>
        </p:nvGrpSpPr>
        <p:grpSpPr>
          <a:xfrm>
            <a:off x="6795194" y="3399884"/>
            <a:ext cx="223362" cy="246133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113" name="Freeform 179">
              <a:extLst>
                <a:ext uri="{FF2B5EF4-FFF2-40B4-BE49-F238E27FC236}">
                  <a16:creationId xmlns:a16="http://schemas.microsoft.com/office/drawing/2014/main" id="{D2767634-0B9F-4149-BE70-82C8EF602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180">
              <a:extLst>
                <a:ext uri="{FF2B5EF4-FFF2-40B4-BE49-F238E27FC236}">
                  <a16:creationId xmlns:a16="http://schemas.microsoft.com/office/drawing/2014/main" id="{16A95282-1182-4865-9B66-25A9356F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181">
              <a:extLst>
                <a:ext uri="{FF2B5EF4-FFF2-40B4-BE49-F238E27FC236}">
                  <a16:creationId xmlns:a16="http://schemas.microsoft.com/office/drawing/2014/main" id="{936707BE-26FE-4009-A914-C40BD76BF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182">
              <a:extLst>
                <a:ext uri="{FF2B5EF4-FFF2-40B4-BE49-F238E27FC236}">
                  <a16:creationId xmlns:a16="http://schemas.microsoft.com/office/drawing/2014/main" id="{6E8DE9AF-7042-46D0-A8A0-F0D3C5F4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183">
              <a:extLst>
                <a:ext uri="{FF2B5EF4-FFF2-40B4-BE49-F238E27FC236}">
                  <a16:creationId xmlns:a16="http://schemas.microsoft.com/office/drawing/2014/main" id="{C00F1781-2E60-4AF8-806C-BB1839D6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8" name="Freeform 6">
            <a:extLst>
              <a:ext uri="{FF2B5EF4-FFF2-40B4-BE49-F238E27FC236}">
                <a16:creationId xmlns:a16="http://schemas.microsoft.com/office/drawing/2014/main" id="{250C5294-B36D-4B1A-85F8-194432DE6C41}"/>
              </a:ext>
            </a:extLst>
          </p:cNvPr>
          <p:cNvSpPr>
            <a:spLocks noEditPoints="1"/>
          </p:cNvSpPr>
          <p:nvPr/>
        </p:nvSpPr>
        <p:spPr bwMode="auto">
          <a:xfrm>
            <a:off x="6343581" y="5638298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E9472BF3-3C11-4E0A-A77F-0B25DC7F464A}"/>
              </a:ext>
            </a:extLst>
          </p:cNvPr>
          <p:cNvGrpSpPr/>
          <p:nvPr/>
        </p:nvGrpSpPr>
        <p:grpSpPr>
          <a:xfrm>
            <a:off x="5230749" y="2617062"/>
            <a:ext cx="203415" cy="204311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3169C4A-693A-4942-A036-7748D1478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3CEC476-94E1-441E-B7F1-5328A15DD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27EBCD0C-0AF1-4B66-8DB2-435DC9E2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4934A8A8-9F7E-4D85-843E-0169ABF4A5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33">
              <a:extLst>
                <a:ext uri="{FF2B5EF4-FFF2-40B4-BE49-F238E27FC236}">
                  <a16:creationId xmlns:a16="http://schemas.microsoft.com/office/drawing/2014/main" id="{5A8B153F-AE18-4207-BD7A-5FC94D53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34">
              <a:extLst>
                <a:ext uri="{FF2B5EF4-FFF2-40B4-BE49-F238E27FC236}">
                  <a16:creationId xmlns:a16="http://schemas.microsoft.com/office/drawing/2014/main" id="{92232B8F-0687-4D1F-AEED-4C13578CA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34" name="Subtitle 176">
            <a:extLst>
              <a:ext uri="{FF2B5EF4-FFF2-40B4-BE49-F238E27FC236}">
                <a16:creationId xmlns:a16="http://schemas.microsoft.com/office/drawing/2014/main" id="{1B280D24-9994-46E1-ABC0-0987DA8E2AD2}"/>
              </a:ext>
            </a:extLst>
          </p:cNvPr>
          <p:cNvSpPr txBox="1">
            <a:spLocks/>
          </p:cNvSpPr>
          <p:nvPr/>
        </p:nvSpPr>
        <p:spPr>
          <a:xfrm>
            <a:off x="1181845" y="1397267"/>
            <a:ext cx="3289892" cy="48702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ID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DCC42B88-2A82-4971-B05D-4EBD4BE15D71}"/>
              </a:ext>
            </a:extLst>
          </p:cNvPr>
          <p:cNvSpPr/>
          <p:nvPr/>
        </p:nvSpPr>
        <p:spPr>
          <a:xfrm>
            <a:off x="7151494" y="4643802"/>
            <a:ext cx="551670" cy="551670"/>
          </a:xfrm>
          <a:prstGeom prst="ellipse">
            <a:avLst/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6">
            <a:extLst>
              <a:ext uri="{FF2B5EF4-FFF2-40B4-BE49-F238E27FC236}">
                <a16:creationId xmlns:a16="http://schemas.microsoft.com/office/drawing/2014/main" id="{6A535A8B-478B-48EF-9C93-56E9FC114346}"/>
              </a:ext>
            </a:extLst>
          </p:cNvPr>
          <p:cNvSpPr>
            <a:spLocks noEditPoints="1"/>
          </p:cNvSpPr>
          <p:nvPr/>
        </p:nvSpPr>
        <p:spPr bwMode="auto">
          <a:xfrm>
            <a:off x="7275236" y="4760686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1306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>
            <a:extLst>
              <a:ext uri="{FF2B5EF4-FFF2-40B4-BE49-F238E27FC236}">
                <a16:creationId xmlns:a16="http://schemas.microsoft.com/office/drawing/2014/main" id="{FC055ECE-6A81-41FA-B505-F88566DB06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2" name="Object 81" hidden="1">
                        <a:extLst>
                          <a:ext uri="{FF2B5EF4-FFF2-40B4-BE49-F238E27FC236}">
                            <a16:creationId xmlns:a16="http://schemas.microsoft.com/office/drawing/2014/main" id="{FC055ECE-6A81-41FA-B505-F88566DB0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F798B784-8660-4753-8835-2E75FD9D2C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7" name="Rectangle: Top Corners Rounded 136">
            <a:extLst>
              <a:ext uri="{FF2B5EF4-FFF2-40B4-BE49-F238E27FC236}">
                <a16:creationId xmlns:a16="http://schemas.microsoft.com/office/drawing/2014/main" id="{D99CBC5E-8C4C-4961-9638-298344632A27}"/>
              </a:ext>
            </a:extLst>
          </p:cNvPr>
          <p:cNvSpPr/>
          <p:nvPr/>
        </p:nvSpPr>
        <p:spPr>
          <a:xfrm>
            <a:off x="6665" y="-24707"/>
            <a:ext cx="12185335" cy="1516732"/>
          </a:xfrm>
          <a:prstGeom prst="round2SameRect">
            <a:avLst>
              <a:gd name="adj1" fmla="val 0"/>
              <a:gd name="adj2" fmla="val 2478"/>
            </a:avLst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3F36C327-A4D4-4345-AE0D-9EBC60AF49C5}"/>
              </a:ext>
            </a:extLst>
          </p:cNvPr>
          <p:cNvSpPr/>
          <p:nvPr/>
        </p:nvSpPr>
        <p:spPr>
          <a:xfrm flipV="1">
            <a:off x="6982496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AA715A07-50A7-4B93-9E41-211CE0437E61}"/>
              </a:ext>
            </a:extLst>
          </p:cNvPr>
          <p:cNvSpPr/>
          <p:nvPr/>
        </p:nvSpPr>
        <p:spPr>
          <a:xfrm flipH="1">
            <a:off x="0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78FF5FA-115B-4620-9C5C-7337B165D625}"/>
              </a:ext>
            </a:extLst>
          </p:cNvPr>
          <p:cNvSpPr/>
          <p:nvPr/>
        </p:nvSpPr>
        <p:spPr>
          <a:xfrm>
            <a:off x="213815" y="1492025"/>
            <a:ext cx="11832294" cy="5365975"/>
          </a:xfrm>
          <a:prstGeom prst="roundRect">
            <a:avLst>
              <a:gd name="adj" fmla="val 31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4134D27-3E47-4359-8650-B6B335CCC3D6}"/>
              </a:ext>
            </a:extLst>
          </p:cNvPr>
          <p:cNvSpPr/>
          <p:nvPr/>
        </p:nvSpPr>
        <p:spPr>
          <a:xfrm>
            <a:off x="6029814" y="2189776"/>
            <a:ext cx="132373" cy="3709189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EA63-54EB-47BB-9461-D8BC77BE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 err="1"/>
              <a:t>Unidade</a:t>
            </a:r>
            <a:r>
              <a:rPr lang="en-US" sz="3000" dirty="0"/>
              <a:t> 4: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6EEA6F0F-EC9D-4F77-9E8A-682A78F2C1B0}"/>
              </a:ext>
            </a:extLst>
          </p:cNvPr>
          <p:cNvSpPr/>
          <p:nvPr/>
        </p:nvSpPr>
        <p:spPr>
          <a:xfrm>
            <a:off x="4438650" y="5200650"/>
            <a:ext cx="3314700" cy="1657350"/>
          </a:xfrm>
          <a:custGeom>
            <a:avLst/>
            <a:gdLst>
              <a:gd name="connsiteX0" fmla="*/ 1657350 w 3314700"/>
              <a:gd name="connsiteY0" fmla="*/ 0 h 1657350"/>
              <a:gd name="connsiteX1" fmla="*/ 3314700 w 3314700"/>
              <a:gd name="connsiteY1" fmla="*/ 1657350 h 1657350"/>
              <a:gd name="connsiteX2" fmla="*/ 0 w 3314700"/>
              <a:gd name="connsiteY2" fmla="*/ 1657350 h 1657350"/>
              <a:gd name="connsiteX3" fmla="*/ 1657350 w 3314700"/>
              <a:gd name="connsiteY3" fmla="*/ 0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4700" h="1657350">
                <a:moveTo>
                  <a:pt x="1657350" y="0"/>
                </a:moveTo>
                <a:cubicBezTo>
                  <a:pt x="2572679" y="0"/>
                  <a:pt x="3314700" y="742021"/>
                  <a:pt x="3314700" y="1657350"/>
                </a:cubicBezTo>
                <a:lnTo>
                  <a:pt x="0" y="1657350"/>
                </a:lnTo>
                <a:cubicBezTo>
                  <a:pt x="0" y="742021"/>
                  <a:pt x="742021" y="0"/>
                  <a:pt x="1657350" y="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5642798-B6EF-4EA9-B787-15DFC069FB4B}"/>
              </a:ext>
            </a:extLst>
          </p:cNvPr>
          <p:cNvGrpSpPr/>
          <p:nvPr/>
        </p:nvGrpSpPr>
        <p:grpSpPr>
          <a:xfrm>
            <a:off x="4996290" y="4994275"/>
            <a:ext cx="2199421" cy="1863726"/>
            <a:chOff x="4980055" y="4994275"/>
            <a:chExt cx="2199421" cy="1863726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B40DA2B-6CA2-42EE-BA96-AB24CE64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1944" y="6234896"/>
              <a:ext cx="60048" cy="49851"/>
            </a:xfrm>
            <a:custGeom>
              <a:avLst/>
              <a:gdLst>
                <a:gd name="T0" fmla="*/ 106 w 106"/>
                <a:gd name="T1" fmla="*/ 14 h 88"/>
                <a:gd name="T2" fmla="*/ 2 w 106"/>
                <a:gd name="T3" fmla="*/ 0 h 88"/>
                <a:gd name="T4" fmla="*/ 0 w 106"/>
                <a:gd name="T5" fmla="*/ 88 h 88"/>
                <a:gd name="T6" fmla="*/ 106 w 106"/>
                <a:gd name="T7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88">
                  <a:moveTo>
                    <a:pt x="106" y="14"/>
                  </a:moveTo>
                  <a:lnTo>
                    <a:pt x="2" y="0"/>
                  </a:lnTo>
                  <a:lnTo>
                    <a:pt x="0" y="88"/>
                  </a:lnTo>
                  <a:lnTo>
                    <a:pt x="106" y="14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BC4184D-EC4F-45B7-8034-78C9A42AC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55290"/>
              <a:ext cx="40788" cy="36822"/>
            </a:xfrm>
            <a:custGeom>
              <a:avLst/>
              <a:gdLst>
                <a:gd name="T0" fmla="*/ 72 w 72"/>
                <a:gd name="T1" fmla="*/ 0 h 65"/>
                <a:gd name="T2" fmla="*/ 0 w 72"/>
                <a:gd name="T3" fmla="*/ 21 h 65"/>
                <a:gd name="T4" fmla="*/ 67 w 72"/>
                <a:gd name="T5" fmla="*/ 65 h 65"/>
                <a:gd name="T6" fmla="*/ 72 w 72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65">
                  <a:moveTo>
                    <a:pt x="72" y="0"/>
                  </a:moveTo>
                  <a:lnTo>
                    <a:pt x="0" y="21"/>
                  </a:lnTo>
                  <a:lnTo>
                    <a:pt x="67" y="6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FB9018D-D4E6-4430-B222-4BD1597FF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117" y="6312506"/>
              <a:ext cx="773831" cy="545494"/>
            </a:xfrm>
            <a:custGeom>
              <a:avLst/>
              <a:gdLst>
                <a:gd name="connsiteX0" fmla="*/ 773831 w 773831"/>
                <a:gd name="connsiteY0" fmla="*/ 0 h 545494"/>
                <a:gd name="connsiteX1" fmla="*/ 736671 w 773831"/>
                <a:gd name="connsiteY1" fmla="*/ 545494 h 545494"/>
                <a:gd name="connsiteX2" fmla="*/ 10021 w 773831"/>
                <a:gd name="connsiteY2" fmla="*/ 545494 h 545494"/>
                <a:gd name="connsiteX3" fmla="*/ 0 w 773831"/>
                <a:gd name="connsiteY3" fmla="*/ 6798 h 545494"/>
                <a:gd name="connsiteX4" fmla="*/ 344995 w 773831"/>
                <a:gd name="connsiteY4" fmla="*/ 167116 h 5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831" h="545494">
                  <a:moveTo>
                    <a:pt x="773831" y="0"/>
                  </a:moveTo>
                  <a:lnTo>
                    <a:pt x="736671" y="545494"/>
                  </a:lnTo>
                  <a:lnTo>
                    <a:pt x="10021" y="545494"/>
                  </a:lnTo>
                  <a:lnTo>
                    <a:pt x="0" y="6798"/>
                  </a:lnTo>
                  <a:lnTo>
                    <a:pt x="344995" y="167116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C79D7A4F-1F53-4405-B296-098E5376E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0566" y="5412914"/>
              <a:ext cx="237927" cy="239060"/>
            </a:xfrm>
            <a:custGeom>
              <a:avLst/>
              <a:gdLst>
                <a:gd name="T0" fmla="*/ 187 w 187"/>
                <a:gd name="T1" fmla="*/ 95 h 188"/>
                <a:gd name="T2" fmla="*/ 93 w 187"/>
                <a:gd name="T3" fmla="*/ 188 h 188"/>
                <a:gd name="T4" fmla="*/ 0 w 187"/>
                <a:gd name="T5" fmla="*/ 125 h 188"/>
                <a:gd name="T6" fmla="*/ 93 w 187"/>
                <a:gd name="T7" fmla="*/ 1 h 188"/>
                <a:gd name="T8" fmla="*/ 187 w 187"/>
                <a:gd name="T9" fmla="*/ 9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8">
                  <a:moveTo>
                    <a:pt x="187" y="95"/>
                  </a:moveTo>
                  <a:cubicBezTo>
                    <a:pt x="187" y="146"/>
                    <a:pt x="145" y="188"/>
                    <a:pt x="93" y="188"/>
                  </a:cubicBezTo>
                  <a:cubicBezTo>
                    <a:pt x="42" y="188"/>
                    <a:pt x="0" y="177"/>
                    <a:pt x="0" y="125"/>
                  </a:cubicBezTo>
                  <a:cubicBezTo>
                    <a:pt x="0" y="73"/>
                    <a:pt x="49" y="2"/>
                    <a:pt x="93" y="1"/>
                  </a:cubicBezTo>
                  <a:cubicBezTo>
                    <a:pt x="145" y="0"/>
                    <a:pt x="187" y="43"/>
                    <a:pt x="187" y="95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E63C769C-45AA-42E9-97F5-0F3BF4205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97" y="5481460"/>
              <a:ext cx="177879" cy="174480"/>
            </a:xfrm>
            <a:custGeom>
              <a:avLst/>
              <a:gdLst>
                <a:gd name="T0" fmla="*/ 23 w 140"/>
                <a:gd name="T1" fmla="*/ 112 h 137"/>
                <a:gd name="T2" fmla="*/ 29 w 140"/>
                <a:gd name="T3" fmla="*/ 24 h 137"/>
                <a:gd name="T4" fmla="*/ 117 w 140"/>
                <a:gd name="T5" fmla="*/ 26 h 137"/>
                <a:gd name="T6" fmla="*/ 111 w 140"/>
                <a:gd name="T7" fmla="*/ 114 h 137"/>
                <a:gd name="T8" fmla="*/ 23 w 140"/>
                <a:gd name="T9" fmla="*/ 1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7">
                  <a:moveTo>
                    <a:pt x="23" y="112"/>
                  </a:moveTo>
                  <a:cubicBezTo>
                    <a:pt x="0" y="88"/>
                    <a:pt x="3" y="48"/>
                    <a:pt x="29" y="24"/>
                  </a:cubicBezTo>
                  <a:cubicBezTo>
                    <a:pt x="55" y="0"/>
                    <a:pt x="95" y="1"/>
                    <a:pt x="117" y="26"/>
                  </a:cubicBezTo>
                  <a:cubicBezTo>
                    <a:pt x="140" y="50"/>
                    <a:pt x="137" y="90"/>
                    <a:pt x="111" y="114"/>
                  </a:cubicBezTo>
                  <a:cubicBezTo>
                    <a:pt x="85" y="137"/>
                    <a:pt x="46" y="137"/>
                    <a:pt x="23" y="112"/>
                  </a:cubicBezTo>
                  <a:close/>
                </a:path>
              </a:pathLst>
            </a:cu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D80409D-1C4E-435A-8366-1B2F9156A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424" y="5411781"/>
              <a:ext cx="236794" cy="237927"/>
            </a:xfrm>
            <a:custGeom>
              <a:avLst/>
              <a:gdLst>
                <a:gd name="T0" fmla="*/ 186 w 186"/>
                <a:gd name="T1" fmla="*/ 120 h 187"/>
                <a:gd name="T2" fmla="*/ 93 w 186"/>
                <a:gd name="T3" fmla="*/ 187 h 187"/>
                <a:gd name="T4" fmla="*/ 0 w 186"/>
                <a:gd name="T5" fmla="*/ 94 h 187"/>
                <a:gd name="T6" fmla="*/ 93 w 186"/>
                <a:gd name="T7" fmla="*/ 0 h 187"/>
                <a:gd name="T8" fmla="*/ 186 w 186"/>
                <a:gd name="T9" fmla="*/ 12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7">
                  <a:moveTo>
                    <a:pt x="186" y="120"/>
                  </a:moveTo>
                  <a:cubicBezTo>
                    <a:pt x="186" y="171"/>
                    <a:pt x="145" y="187"/>
                    <a:pt x="93" y="187"/>
                  </a:cubicBezTo>
                  <a:cubicBezTo>
                    <a:pt x="42" y="187"/>
                    <a:pt x="0" y="145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68"/>
                    <a:pt x="186" y="120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3F38AAB6-2168-49E2-846A-A7354BFBA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4542" y="5495622"/>
              <a:ext cx="155219" cy="154086"/>
            </a:xfrm>
            <a:prstGeom prst="ellipse">
              <a:avLst/>
            </a:pr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4D828908-0247-48D1-AB46-98876E9E5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136" y="5783401"/>
              <a:ext cx="675827" cy="735309"/>
            </a:xfrm>
            <a:custGeom>
              <a:avLst/>
              <a:gdLst>
                <a:gd name="T0" fmla="*/ 9 w 1193"/>
                <a:gd name="T1" fmla="*/ 168 h 1298"/>
                <a:gd name="T2" fmla="*/ 0 w 1193"/>
                <a:gd name="T3" fmla="*/ 885 h 1298"/>
                <a:gd name="T4" fmla="*/ 517 w 1193"/>
                <a:gd name="T5" fmla="*/ 1298 h 1298"/>
                <a:gd name="T6" fmla="*/ 1193 w 1193"/>
                <a:gd name="T7" fmla="*/ 903 h 1298"/>
                <a:gd name="T8" fmla="*/ 1103 w 1193"/>
                <a:gd name="T9" fmla="*/ 0 h 1298"/>
                <a:gd name="T10" fmla="*/ 9 w 1193"/>
                <a:gd name="T11" fmla="*/ 168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3" h="1298">
                  <a:moveTo>
                    <a:pt x="9" y="168"/>
                  </a:moveTo>
                  <a:lnTo>
                    <a:pt x="0" y="885"/>
                  </a:lnTo>
                  <a:lnTo>
                    <a:pt x="517" y="1298"/>
                  </a:lnTo>
                  <a:lnTo>
                    <a:pt x="1193" y="903"/>
                  </a:lnTo>
                  <a:lnTo>
                    <a:pt x="1103" y="0"/>
                  </a:lnTo>
                  <a:lnTo>
                    <a:pt x="9" y="168"/>
                  </a:lnTo>
                  <a:close/>
                </a:path>
              </a:pathLst>
            </a:custGeom>
            <a:solidFill>
              <a:srgbClr val="F9A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0D353887-3FC1-4235-B8FE-F0147C8FE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034" y="5114938"/>
              <a:ext cx="762501" cy="953409"/>
            </a:xfrm>
            <a:custGeom>
              <a:avLst/>
              <a:gdLst>
                <a:gd name="T0" fmla="*/ 109 w 599"/>
                <a:gd name="T1" fmla="*/ 190 h 749"/>
                <a:gd name="T2" fmla="*/ 33 w 599"/>
                <a:gd name="T3" fmla="*/ 508 h 749"/>
                <a:gd name="T4" fmla="*/ 252 w 599"/>
                <a:gd name="T5" fmla="*/ 732 h 749"/>
                <a:gd name="T6" fmla="*/ 592 w 599"/>
                <a:gd name="T7" fmla="*/ 549 h 749"/>
                <a:gd name="T8" fmla="*/ 556 w 599"/>
                <a:gd name="T9" fmla="*/ 163 h 749"/>
                <a:gd name="T10" fmla="*/ 332 w 599"/>
                <a:gd name="T11" fmla="*/ 0 h 749"/>
                <a:gd name="T12" fmla="*/ 109 w 599"/>
                <a:gd name="T13" fmla="*/ 19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749">
                  <a:moveTo>
                    <a:pt x="109" y="190"/>
                  </a:moveTo>
                  <a:cubicBezTo>
                    <a:pt x="33" y="508"/>
                    <a:pt x="33" y="508"/>
                    <a:pt x="33" y="508"/>
                  </a:cubicBezTo>
                  <a:cubicBezTo>
                    <a:pt x="33" y="508"/>
                    <a:pt x="0" y="716"/>
                    <a:pt x="252" y="732"/>
                  </a:cubicBezTo>
                  <a:cubicBezTo>
                    <a:pt x="505" y="749"/>
                    <a:pt x="599" y="646"/>
                    <a:pt x="592" y="549"/>
                  </a:cubicBezTo>
                  <a:cubicBezTo>
                    <a:pt x="586" y="443"/>
                    <a:pt x="575" y="256"/>
                    <a:pt x="556" y="163"/>
                  </a:cubicBezTo>
                  <a:cubicBezTo>
                    <a:pt x="542" y="95"/>
                    <a:pt x="504" y="0"/>
                    <a:pt x="332" y="0"/>
                  </a:cubicBezTo>
                  <a:cubicBezTo>
                    <a:pt x="160" y="0"/>
                    <a:pt x="109" y="190"/>
                    <a:pt x="109" y="190"/>
                  </a:cubicBezTo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2ADF8E-790D-4DD6-9AB0-466DC53C9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980" y="6548168"/>
              <a:ext cx="169361" cy="309833"/>
            </a:xfrm>
            <a:custGeom>
              <a:avLst/>
              <a:gdLst>
                <a:gd name="connsiteX0" fmla="*/ 104590 w 169361"/>
                <a:gd name="connsiteY0" fmla="*/ 0 h 309833"/>
                <a:gd name="connsiteX1" fmla="*/ 169361 w 169361"/>
                <a:gd name="connsiteY1" fmla="*/ 309833 h 309833"/>
                <a:gd name="connsiteX2" fmla="*/ 0 w 169361"/>
                <a:gd name="connsiteY2" fmla="*/ 309833 h 309833"/>
                <a:gd name="connsiteX3" fmla="*/ 43409 w 169361"/>
                <a:gd name="connsiteY3" fmla="*/ 19261 h 309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61" h="309833">
                  <a:moveTo>
                    <a:pt x="104590" y="0"/>
                  </a:moveTo>
                  <a:lnTo>
                    <a:pt x="169361" y="309833"/>
                  </a:lnTo>
                  <a:lnTo>
                    <a:pt x="0" y="309833"/>
                  </a:lnTo>
                  <a:lnTo>
                    <a:pt x="43409" y="19261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4DDC595B-CDA9-4761-91FE-4B7D6286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492" y="5174987"/>
              <a:ext cx="186943" cy="305340"/>
            </a:xfrm>
            <a:custGeom>
              <a:avLst/>
              <a:gdLst>
                <a:gd name="T0" fmla="*/ 62 w 147"/>
                <a:gd name="T1" fmla="*/ 240 h 240"/>
                <a:gd name="T2" fmla="*/ 56 w 147"/>
                <a:gd name="T3" fmla="*/ 40 h 240"/>
                <a:gd name="T4" fmla="*/ 147 w 147"/>
                <a:gd name="T5" fmla="*/ 0 h 240"/>
                <a:gd name="T6" fmla="*/ 62 w 147"/>
                <a:gd name="T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240">
                  <a:moveTo>
                    <a:pt x="62" y="240"/>
                  </a:moveTo>
                  <a:cubicBezTo>
                    <a:pt x="62" y="240"/>
                    <a:pt x="0" y="69"/>
                    <a:pt x="56" y="40"/>
                  </a:cubicBezTo>
                  <a:cubicBezTo>
                    <a:pt x="112" y="11"/>
                    <a:pt x="147" y="0"/>
                    <a:pt x="147" y="0"/>
                  </a:cubicBezTo>
                  <a:cubicBezTo>
                    <a:pt x="62" y="240"/>
                    <a:pt x="62" y="240"/>
                    <a:pt x="62" y="240"/>
                  </a:cubicBezTo>
                </a:path>
              </a:pathLst>
            </a:custGeom>
            <a:solidFill>
              <a:srgbClr val="1E1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9C6F7EF2-2694-43C4-8482-355B717B4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5124002"/>
              <a:ext cx="232829" cy="370487"/>
            </a:xfrm>
            <a:custGeom>
              <a:avLst/>
              <a:gdLst>
                <a:gd name="T0" fmla="*/ 30 w 183"/>
                <a:gd name="T1" fmla="*/ 64 h 291"/>
                <a:gd name="T2" fmla="*/ 104 w 183"/>
                <a:gd name="T3" fmla="*/ 291 h 291"/>
                <a:gd name="T4" fmla="*/ 110 w 183"/>
                <a:gd name="T5" fmla="*/ 57 h 291"/>
                <a:gd name="T6" fmla="*/ 0 w 183"/>
                <a:gd name="T7" fmla="*/ 44 h 291"/>
                <a:gd name="T8" fmla="*/ 30 w 183"/>
                <a:gd name="T9" fmla="*/ 6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91">
                  <a:moveTo>
                    <a:pt x="30" y="64"/>
                  </a:moveTo>
                  <a:cubicBezTo>
                    <a:pt x="104" y="291"/>
                    <a:pt x="104" y="291"/>
                    <a:pt x="104" y="291"/>
                  </a:cubicBezTo>
                  <a:cubicBezTo>
                    <a:pt x="104" y="291"/>
                    <a:pt x="183" y="114"/>
                    <a:pt x="110" y="57"/>
                  </a:cubicBezTo>
                  <a:cubicBezTo>
                    <a:pt x="37" y="0"/>
                    <a:pt x="0" y="44"/>
                    <a:pt x="0" y="44"/>
                  </a:cubicBezTo>
                  <a:lnTo>
                    <a:pt x="30" y="64"/>
                  </a:ln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16FFACFB-ADBD-442F-BE58-02FE501D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835" y="4994275"/>
              <a:ext cx="568760" cy="301375"/>
            </a:xfrm>
            <a:custGeom>
              <a:avLst/>
              <a:gdLst>
                <a:gd name="T0" fmla="*/ 74 w 447"/>
                <a:gd name="T1" fmla="*/ 22 h 237"/>
                <a:gd name="T2" fmla="*/ 28 w 447"/>
                <a:gd name="T3" fmla="*/ 25 h 237"/>
                <a:gd name="T4" fmla="*/ 1 w 447"/>
                <a:gd name="T5" fmla="*/ 77 h 237"/>
                <a:gd name="T6" fmla="*/ 18 w 447"/>
                <a:gd name="T7" fmla="*/ 136 h 237"/>
                <a:gd name="T8" fmla="*/ 219 w 447"/>
                <a:gd name="T9" fmla="*/ 236 h 237"/>
                <a:gd name="T10" fmla="*/ 382 w 447"/>
                <a:gd name="T11" fmla="*/ 189 h 237"/>
                <a:gd name="T12" fmla="*/ 427 w 447"/>
                <a:gd name="T13" fmla="*/ 158 h 237"/>
                <a:gd name="T14" fmla="*/ 447 w 447"/>
                <a:gd name="T15" fmla="*/ 133 h 237"/>
                <a:gd name="T16" fmla="*/ 370 w 447"/>
                <a:gd name="T17" fmla="*/ 39 h 237"/>
                <a:gd name="T18" fmla="*/ 256 w 447"/>
                <a:gd name="T19" fmla="*/ 14 h 237"/>
                <a:gd name="T20" fmla="*/ 206 w 447"/>
                <a:gd name="T21" fmla="*/ 39 h 237"/>
                <a:gd name="T22" fmla="*/ 99 w 447"/>
                <a:gd name="T23" fmla="*/ 35 h 237"/>
                <a:gd name="T24" fmla="*/ 74 w 447"/>
                <a:gd name="T25" fmla="*/ 2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237">
                  <a:moveTo>
                    <a:pt x="74" y="22"/>
                  </a:moveTo>
                  <a:cubicBezTo>
                    <a:pt x="59" y="13"/>
                    <a:pt x="43" y="16"/>
                    <a:pt x="28" y="25"/>
                  </a:cubicBezTo>
                  <a:cubicBezTo>
                    <a:pt x="11" y="36"/>
                    <a:pt x="1" y="57"/>
                    <a:pt x="1" y="77"/>
                  </a:cubicBezTo>
                  <a:cubicBezTo>
                    <a:pt x="0" y="98"/>
                    <a:pt x="8" y="118"/>
                    <a:pt x="18" y="136"/>
                  </a:cubicBezTo>
                  <a:cubicBezTo>
                    <a:pt x="59" y="205"/>
                    <a:pt x="140" y="237"/>
                    <a:pt x="219" y="236"/>
                  </a:cubicBezTo>
                  <a:cubicBezTo>
                    <a:pt x="276" y="235"/>
                    <a:pt x="332" y="217"/>
                    <a:pt x="382" y="189"/>
                  </a:cubicBezTo>
                  <a:cubicBezTo>
                    <a:pt x="397" y="180"/>
                    <a:pt x="418" y="172"/>
                    <a:pt x="427" y="158"/>
                  </a:cubicBezTo>
                  <a:cubicBezTo>
                    <a:pt x="447" y="133"/>
                    <a:pt x="447" y="133"/>
                    <a:pt x="447" y="133"/>
                  </a:cubicBezTo>
                  <a:cubicBezTo>
                    <a:pt x="435" y="94"/>
                    <a:pt x="401" y="64"/>
                    <a:pt x="370" y="39"/>
                  </a:cubicBezTo>
                  <a:cubicBezTo>
                    <a:pt x="338" y="13"/>
                    <a:pt x="294" y="0"/>
                    <a:pt x="256" y="14"/>
                  </a:cubicBezTo>
                  <a:cubicBezTo>
                    <a:pt x="238" y="20"/>
                    <a:pt x="223" y="31"/>
                    <a:pt x="206" y="39"/>
                  </a:cubicBezTo>
                  <a:cubicBezTo>
                    <a:pt x="170" y="54"/>
                    <a:pt x="133" y="54"/>
                    <a:pt x="99" y="35"/>
                  </a:cubicBezTo>
                  <a:cubicBezTo>
                    <a:pt x="86" y="28"/>
                    <a:pt x="88" y="31"/>
                    <a:pt x="74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7935268B-D10B-4BBF-AF51-29B3317BF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0645" y="6479622"/>
              <a:ext cx="246425" cy="151254"/>
            </a:xfrm>
            <a:custGeom>
              <a:avLst/>
              <a:gdLst>
                <a:gd name="T0" fmla="*/ 0 w 435"/>
                <a:gd name="T1" fmla="*/ 38 h 267"/>
                <a:gd name="T2" fmla="*/ 202 w 435"/>
                <a:gd name="T3" fmla="*/ 267 h 267"/>
                <a:gd name="T4" fmla="*/ 435 w 435"/>
                <a:gd name="T5" fmla="*/ 6 h 267"/>
                <a:gd name="T6" fmla="*/ 195 w 435"/>
                <a:gd name="T7" fmla="*/ 0 h 267"/>
                <a:gd name="T8" fmla="*/ 0 w 435"/>
                <a:gd name="T9" fmla="*/ 3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67">
                  <a:moveTo>
                    <a:pt x="0" y="38"/>
                  </a:moveTo>
                  <a:lnTo>
                    <a:pt x="202" y="267"/>
                  </a:lnTo>
                  <a:lnTo>
                    <a:pt x="435" y="6"/>
                  </a:lnTo>
                  <a:lnTo>
                    <a:pt x="195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6B642735-546B-43CD-9EFD-CFC9BD9C1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67187"/>
              <a:ext cx="315537" cy="390314"/>
            </a:xfrm>
            <a:custGeom>
              <a:avLst/>
              <a:gdLst>
                <a:gd name="T0" fmla="*/ 0 w 557"/>
                <a:gd name="T1" fmla="*/ 0 h 689"/>
                <a:gd name="T2" fmla="*/ 557 w 557"/>
                <a:gd name="T3" fmla="*/ 375 h 689"/>
                <a:gd name="T4" fmla="*/ 4 w 557"/>
                <a:gd name="T5" fmla="*/ 689 h 689"/>
                <a:gd name="T6" fmla="*/ 0 w 557"/>
                <a:gd name="T7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7" h="689">
                  <a:moveTo>
                    <a:pt x="0" y="0"/>
                  </a:moveTo>
                  <a:lnTo>
                    <a:pt x="557" y="375"/>
                  </a:lnTo>
                  <a:lnTo>
                    <a:pt x="4" y="6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FB5D733-35B8-4AAC-AD45-75C317295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1112" y="6242827"/>
              <a:ext cx="390881" cy="424870"/>
            </a:xfrm>
            <a:custGeom>
              <a:avLst/>
              <a:gdLst>
                <a:gd name="T0" fmla="*/ 0 w 690"/>
                <a:gd name="T1" fmla="*/ 418 h 750"/>
                <a:gd name="T2" fmla="*/ 665 w 690"/>
                <a:gd name="T3" fmla="*/ 750 h 750"/>
                <a:gd name="T4" fmla="*/ 690 w 690"/>
                <a:gd name="T5" fmla="*/ 0 h 750"/>
                <a:gd name="T6" fmla="*/ 0 w 690"/>
                <a:gd name="T7" fmla="*/ 418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0" h="750">
                  <a:moveTo>
                    <a:pt x="0" y="418"/>
                  </a:moveTo>
                  <a:lnTo>
                    <a:pt x="665" y="750"/>
                  </a:lnTo>
                  <a:lnTo>
                    <a:pt x="690" y="0"/>
                  </a:lnTo>
                  <a:lnTo>
                    <a:pt x="0" y="4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005C1B1-94B6-491E-84B5-2D939476E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0055" y="6267187"/>
              <a:ext cx="711790" cy="590813"/>
            </a:xfrm>
            <a:custGeom>
              <a:avLst/>
              <a:gdLst>
                <a:gd name="connsiteX0" fmla="*/ 705674 w 711790"/>
                <a:gd name="connsiteY0" fmla="*/ 0 h 590813"/>
                <a:gd name="connsiteX1" fmla="*/ 711765 w 711790"/>
                <a:gd name="connsiteY1" fmla="*/ 588434 h 590813"/>
                <a:gd name="connsiteX2" fmla="*/ 711790 w 711790"/>
                <a:gd name="connsiteY2" fmla="*/ 590813 h 590813"/>
                <a:gd name="connsiteX3" fmla="*/ 0 w 711790"/>
                <a:gd name="connsiteY3" fmla="*/ 590813 h 590813"/>
                <a:gd name="connsiteX4" fmla="*/ 10353 w 711790"/>
                <a:gd name="connsiteY4" fmla="*/ 549210 h 590813"/>
                <a:gd name="connsiteX5" fmla="*/ 74316 w 711790"/>
                <a:gd name="connsiteY5" fmla="*/ 473341 h 590813"/>
                <a:gd name="connsiteX6" fmla="*/ 705674 w 711790"/>
                <a:gd name="connsiteY6" fmla="*/ 0 h 590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790" h="590813">
                  <a:moveTo>
                    <a:pt x="705674" y="0"/>
                  </a:moveTo>
                  <a:cubicBezTo>
                    <a:pt x="705674" y="0"/>
                    <a:pt x="709155" y="335005"/>
                    <a:pt x="711765" y="588434"/>
                  </a:cubicBezTo>
                  <a:lnTo>
                    <a:pt x="711790" y="590813"/>
                  </a:lnTo>
                  <a:lnTo>
                    <a:pt x="0" y="590813"/>
                  </a:lnTo>
                  <a:lnTo>
                    <a:pt x="10353" y="549210"/>
                  </a:lnTo>
                  <a:cubicBezTo>
                    <a:pt x="25309" y="519785"/>
                    <a:pt x="46948" y="493700"/>
                    <a:pt x="74316" y="473341"/>
                  </a:cubicBezTo>
                  <a:cubicBezTo>
                    <a:pt x="705674" y="0"/>
                    <a:pt x="705674" y="0"/>
                    <a:pt x="70567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B77FD92-1601-4033-B57B-35D24D96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908" y="6242828"/>
              <a:ext cx="809568" cy="615173"/>
            </a:xfrm>
            <a:custGeom>
              <a:avLst/>
              <a:gdLst>
                <a:gd name="connsiteX0" fmla="*/ 22044 w 809568"/>
                <a:gd name="connsiteY0" fmla="*/ 0 h 615173"/>
                <a:gd name="connsiteX1" fmla="*/ 741235 w 809568"/>
                <a:gd name="connsiteY1" fmla="*/ 521735 h 615173"/>
                <a:gd name="connsiteX2" fmla="*/ 783719 w 809568"/>
                <a:gd name="connsiteY2" fmla="*/ 565001 h 615173"/>
                <a:gd name="connsiteX3" fmla="*/ 809568 w 809568"/>
                <a:gd name="connsiteY3" fmla="*/ 615173 h 615173"/>
                <a:gd name="connsiteX4" fmla="*/ 0 w 809568"/>
                <a:gd name="connsiteY4" fmla="*/ 615173 h 615173"/>
                <a:gd name="connsiteX5" fmla="*/ 1160 w 809568"/>
                <a:gd name="connsiteY5" fmla="*/ 583100 h 615173"/>
                <a:gd name="connsiteX6" fmla="*/ 22044 w 809568"/>
                <a:gd name="connsiteY6" fmla="*/ 0 h 6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9568" h="615173">
                  <a:moveTo>
                    <a:pt x="22044" y="0"/>
                  </a:moveTo>
                  <a:lnTo>
                    <a:pt x="741235" y="521735"/>
                  </a:lnTo>
                  <a:cubicBezTo>
                    <a:pt x="757783" y="534142"/>
                    <a:pt x="772024" y="548776"/>
                    <a:pt x="783719" y="565001"/>
                  </a:cubicBezTo>
                  <a:lnTo>
                    <a:pt x="809568" y="615173"/>
                  </a:lnTo>
                  <a:lnTo>
                    <a:pt x="0" y="615173"/>
                  </a:lnTo>
                  <a:lnTo>
                    <a:pt x="1160" y="583100"/>
                  </a:lnTo>
                  <a:cubicBezTo>
                    <a:pt x="10110" y="335628"/>
                    <a:pt x="22044" y="4772"/>
                    <a:pt x="2204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F2F539AB-55A2-4A68-8DD6-9079D13D1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C7FCD22B-3EC6-4876-A1F3-C97C804AB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CD46A3A2-168B-4586-B813-96EB70982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  <a:gd name="T8" fmla="*/ 2 w 205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  <a:lnTo>
                    <a:pt x="2" y="36"/>
                  </a:ln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B9816AC-A679-412F-8649-6A5BB9AEB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B98E31CB-5F6C-464E-A602-7157C1B45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746" y="5354565"/>
              <a:ext cx="148988" cy="59482"/>
            </a:xfrm>
            <a:custGeom>
              <a:avLst/>
              <a:gdLst>
                <a:gd name="T0" fmla="*/ 31 w 117"/>
                <a:gd name="T1" fmla="*/ 6 h 47"/>
                <a:gd name="T2" fmla="*/ 8 w 117"/>
                <a:gd name="T3" fmla="*/ 16 h 47"/>
                <a:gd name="T4" fmla="*/ 4 w 117"/>
                <a:gd name="T5" fmla="*/ 34 h 47"/>
                <a:gd name="T6" fmla="*/ 13 w 117"/>
                <a:gd name="T7" fmla="*/ 40 h 47"/>
                <a:gd name="T8" fmla="*/ 58 w 117"/>
                <a:gd name="T9" fmla="*/ 46 h 47"/>
                <a:gd name="T10" fmla="*/ 87 w 117"/>
                <a:gd name="T11" fmla="*/ 43 h 47"/>
                <a:gd name="T12" fmla="*/ 112 w 117"/>
                <a:gd name="T13" fmla="*/ 34 h 47"/>
                <a:gd name="T14" fmla="*/ 113 w 117"/>
                <a:gd name="T15" fmla="*/ 17 h 47"/>
                <a:gd name="T16" fmla="*/ 99 w 117"/>
                <a:gd name="T17" fmla="*/ 5 h 47"/>
                <a:gd name="T18" fmla="*/ 51 w 117"/>
                <a:gd name="T19" fmla="*/ 3 h 47"/>
                <a:gd name="T20" fmla="*/ 31 w 117"/>
                <a:gd name="T21" fmla="*/ 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47">
                  <a:moveTo>
                    <a:pt x="31" y="6"/>
                  </a:moveTo>
                  <a:cubicBezTo>
                    <a:pt x="24" y="8"/>
                    <a:pt x="14" y="11"/>
                    <a:pt x="8" y="16"/>
                  </a:cubicBezTo>
                  <a:cubicBezTo>
                    <a:pt x="2" y="21"/>
                    <a:pt x="0" y="28"/>
                    <a:pt x="4" y="34"/>
                  </a:cubicBezTo>
                  <a:cubicBezTo>
                    <a:pt x="7" y="37"/>
                    <a:pt x="10" y="39"/>
                    <a:pt x="13" y="40"/>
                  </a:cubicBezTo>
                  <a:cubicBezTo>
                    <a:pt x="27" y="47"/>
                    <a:pt x="43" y="47"/>
                    <a:pt x="58" y="46"/>
                  </a:cubicBezTo>
                  <a:cubicBezTo>
                    <a:pt x="68" y="45"/>
                    <a:pt x="77" y="44"/>
                    <a:pt x="87" y="43"/>
                  </a:cubicBezTo>
                  <a:cubicBezTo>
                    <a:pt x="95" y="42"/>
                    <a:pt x="107" y="41"/>
                    <a:pt x="112" y="34"/>
                  </a:cubicBezTo>
                  <a:cubicBezTo>
                    <a:pt x="116" y="30"/>
                    <a:pt x="117" y="22"/>
                    <a:pt x="113" y="17"/>
                  </a:cubicBezTo>
                  <a:cubicBezTo>
                    <a:pt x="110" y="11"/>
                    <a:pt x="105" y="7"/>
                    <a:pt x="99" y="5"/>
                  </a:cubicBezTo>
                  <a:cubicBezTo>
                    <a:pt x="84" y="0"/>
                    <a:pt x="67" y="1"/>
                    <a:pt x="51" y="3"/>
                  </a:cubicBezTo>
                  <a:cubicBezTo>
                    <a:pt x="45" y="4"/>
                    <a:pt x="38" y="5"/>
                    <a:pt x="31" y="6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5E01B88-A284-4CB4-878A-262063C3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918" y="5381190"/>
              <a:ext cx="148988" cy="66280"/>
            </a:xfrm>
            <a:custGeom>
              <a:avLst/>
              <a:gdLst>
                <a:gd name="T0" fmla="*/ 87 w 117"/>
                <a:gd name="T1" fmla="*/ 11 h 52"/>
                <a:gd name="T2" fmla="*/ 109 w 117"/>
                <a:gd name="T3" fmla="*/ 23 h 52"/>
                <a:gd name="T4" fmla="*/ 111 w 117"/>
                <a:gd name="T5" fmla="*/ 42 h 52"/>
                <a:gd name="T6" fmla="*/ 103 w 117"/>
                <a:gd name="T7" fmla="*/ 47 h 52"/>
                <a:gd name="T8" fmla="*/ 57 w 117"/>
                <a:gd name="T9" fmla="*/ 47 h 52"/>
                <a:gd name="T10" fmla="*/ 28 w 117"/>
                <a:gd name="T11" fmla="*/ 42 h 52"/>
                <a:gd name="T12" fmla="*/ 4 w 117"/>
                <a:gd name="T13" fmla="*/ 31 h 52"/>
                <a:gd name="T14" fmla="*/ 4 w 117"/>
                <a:gd name="T15" fmla="*/ 13 h 52"/>
                <a:gd name="T16" fmla="*/ 20 w 117"/>
                <a:gd name="T17" fmla="*/ 3 h 52"/>
                <a:gd name="T18" fmla="*/ 68 w 117"/>
                <a:gd name="T19" fmla="*/ 6 h 52"/>
                <a:gd name="T20" fmla="*/ 87 w 117"/>
                <a:gd name="T21" fmla="*/ 1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52">
                  <a:moveTo>
                    <a:pt x="87" y="11"/>
                  </a:moveTo>
                  <a:cubicBezTo>
                    <a:pt x="95" y="14"/>
                    <a:pt x="104" y="18"/>
                    <a:pt x="109" y="23"/>
                  </a:cubicBezTo>
                  <a:cubicBezTo>
                    <a:pt x="115" y="28"/>
                    <a:pt x="117" y="36"/>
                    <a:pt x="111" y="42"/>
                  </a:cubicBezTo>
                  <a:cubicBezTo>
                    <a:pt x="109" y="44"/>
                    <a:pt x="106" y="46"/>
                    <a:pt x="103" y="47"/>
                  </a:cubicBezTo>
                  <a:cubicBezTo>
                    <a:pt x="88" y="52"/>
                    <a:pt x="72" y="50"/>
                    <a:pt x="57" y="47"/>
                  </a:cubicBezTo>
                  <a:cubicBezTo>
                    <a:pt x="47" y="46"/>
                    <a:pt x="38" y="44"/>
                    <a:pt x="28" y="42"/>
                  </a:cubicBezTo>
                  <a:cubicBezTo>
                    <a:pt x="20" y="40"/>
                    <a:pt x="9" y="38"/>
                    <a:pt x="4" y="31"/>
                  </a:cubicBezTo>
                  <a:cubicBezTo>
                    <a:pt x="0" y="26"/>
                    <a:pt x="1" y="18"/>
                    <a:pt x="4" y="13"/>
                  </a:cubicBezTo>
                  <a:cubicBezTo>
                    <a:pt x="8" y="8"/>
                    <a:pt x="14" y="5"/>
                    <a:pt x="20" y="3"/>
                  </a:cubicBezTo>
                  <a:cubicBezTo>
                    <a:pt x="35" y="0"/>
                    <a:pt x="52" y="2"/>
                    <a:pt x="68" y="6"/>
                  </a:cubicBezTo>
                  <a:cubicBezTo>
                    <a:pt x="74" y="7"/>
                    <a:pt x="81" y="9"/>
                    <a:pt x="87" y="11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23A3CCA8-A2A6-4A8F-A473-C8E4163A5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6044" y="5644610"/>
              <a:ext cx="809520" cy="414673"/>
            </a:xfrm>
            <a:custGeom>
              <a:avLst/>
              <a:gdLst>
                <a:gd name="T0" fmla="*/ 610 w 636"/>
                <a:gd name="T1" fmla="*/ 0 h 326"/>
                <a:gd name="T2" fmla="*/ 458 w 636"/>
                <a:gd name="T3" fmla="*/ 116 h 326"/>
                <a:gd name="T4" fmla="*/ 335 w 636"/>
                <a:gd name="T5" fmla="*/ 55 h 326"/>
                <a:gd name="T6" fmla="*/ 231 w 636"/>
                <a:gd name="T7" fmla="*/ 104 h 326"/>
                <a:gd name="T8" fmla="*/ 168 w 636"/>
                <a:gd name="T9" fmla="*/ 144 h 326"/>
                <a:gd name="T10" fmla="*/ 80 w 636"/>
                <a:gd name="T11" fmla="*/ 0 h 326"/>
                <a:gd name="T12" fmla="*/ 327 w 636"/>
                <a:gd name="T13" fmla="*/ 322 h 326"/>
                <a:gd name="T14" fmla="*/ 602 w 636"/>
                <a:gd name="T15" fmla="*/ 212 h 326"/>
                <a:gd name="T16" fmla="*/ 615 w 636"/>
                <a:gd name="T17" fmla="*/ 15 h 326"/>
                <a:gd name="T18" fmla="*/ 610 w 636"/>
                <a:gd name="T19" fmla="*/ 0 h 326"/>
                <a:gd name="T20" fmla="*/ 395 w 636"/>
                <a:gd name="T21" fmla="*/ 188 h 326"/>
                <a:gd name="T22" fmla="*/ 374 w 636"/>
                <a:gd name="T23" fmla="*/ 137 h 326"/>
                <a:gd name="T24" fmla="*/ 335 w 636"/>
                <a:gd name="T25" fmla="*/ 143 h 326"/>
                <a:gd name="T26" fmla="*/ 329 w 636"/>
                <a:gd name="T27" fmla="*/ 197 h 326"/>
                <a:gd name="T28" fmla="*/ 313 w 636"/>
                <a:gd name="T29" fmla="*/ 197 h 326"/>
                <a:gd name="T30" fmla="*/ 268 w 636"/>
                <a:gd name="T31" fmla="*/ 119 h 326"/>
                <a:gd name="T32" fmla="*/ 305 w 636"/>
                <a:gd name="T33" fmla="*/ 93 h 326"/>
                <a:gd name="T34" fmla="*/ 349 w 636"/>
                <a:gd name="T35" fmla="*/ 82 h 326"/>
                <a:gd name="T36" fmla="*/ 392 w 636"/>
                <a:gd name="T37" fmla="*/ 83 h 326"/>
                <a:gd name="T38" fmla="*/ 420 w 636"/>
                <a:gd name="T39" fmla="*/ 110 h 326"/>
                <a:gd name="T40" fmla="*/ 429 w 636"/>
                <a:gd name="T41" fmla="*/ 131 h 326"/>
                <a:gd name="T42" fmla="*/ 395 w 636"/>
                <a:gd name="T43" fmla="*/ 18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6" h="326">
                  <a:moveTo>
                    <a:pt x="610" y="0"/>
                  </a:moveTo>
                  <a:cubicBezTo>
                    <a:pt x="587" y="129"/>
                    <a:pt x="479" y="156"/>
                    <a:pt x="458" y="116"/>
                  </a:cubicBezTo>
                  <a:cubicBezTo>
                    <a:pt x="416" y="38"/>
                    <a:pt x="373" y="54"/>
                    <a:pt x="335" y="55"/>
                  </a:cubicBezTo>
                  <a:cubicBezTo>
                    <a:pt x="296" y="57"/>
                    <a:pt x="251" y="63"/>
                    <a:pt x="231" y="104"/>
                  </a:cubicBezTo>
                  <a:cubicBezTo>
                    <a:pt x="211" y="144"/>
                    <a:pt x="168" y="144"/>
                    <a:pt x="168" y="144"/>
                  </a:cubicBezTo>
                  <a:cubicBezTo>
                    <a:pt x="50" y="151"/>
                    <a:pt x="80" y="0"/>
                    <a:pt x="80" y="0"/>
                  </a:cubicBezTo>
                  <a:cubicBezTo>
                    <a:pt x="0" y="246"/>
                    <a:pt x="133" y="314"/>
                    <a:pt x="327" y="322"/>
                  </a:cubicBezTo>
                  <a:cubicBezTo>
                    <a:pt x="429" y="326"/>
                    <a:pt x="547" y="307"/>
                    <a:pt x="602" y="212"/>
                  </a:cubicBezTo>
                  <a:cubicBezTo>
                    <a:pt x="636" y="152"/>
                    <a:pt x="634" y="79"/>
                    <a:pt x="615" y="15"/>
                  </a:cubicBezTo>
                  <a:cubicBezTo>
                    <a:pt x="614" y="12"/>
                    <a:pt x="610" y="4"/>
                    <a:pt x="610" y="0"/>
                  </a:cubicBezTo>
                  <a:close/>
                  <a:moveTo>
                    <a:pt x="395" y="188"/>
                  </a:moveTo>
                  <a:cubicBezTo>
                    <a:pt x="374" y="137"/>
                    <a:pt x="374" y="137"/>
                    <a:pt x="374" y="137"/>
                  </a:cubicBezTo>
                  <a:cubicBezTo>
                    <a:pt x="335" y="143"/>
                    <a:pt x="335" y="143"/>
                    <a:pt x="335" y="143"/>
                  </a:cubicBezTo>
                  <a:cubicBezTo>
                    <a:pt x="329" y="197"/>
                    <a:pt x="329" y="197"/>
                    <a:pt x="329" y="197"/>
                  </a:cubicBezTo>
                  <a:cubicBezTo>
                    <a:pt x="324" y="197"/>
                    <a:pt x="318" y="197"/>
                    <a:pt x="313" y="197"/>
                  </a:cubicBezTo>
                  <a:cubicBezTo>
                    <a:pt x="239" y="196"/>
                    <a:pt x="261" y="141"/>
                    <a:pt x="268" y="119"/>
                  </a:cubicBezTo>
                  <a:cubicBezTo>
                    <a:pt x="272" y="105"/>
                    <a:pt x="292" y="98"/>
                    <a:pt x="305" y="93"/>
                  </a:cubicBezTo>
                  <a:cubicBezTo>
                    <a:pt x="319" y="88"/>
                    <a:pt x="334" y="84"/>
                    <a:pt x="349" y="82"/>
                  </a:cubicBezTo>
                  <a:cubicBezTo>
                    <a:pt x="363" y="80"/>
                    <a:pt x="379" y="78"/>
                    <a:pt x="392" y="83"/>
                  </a:cubicBezTo>
                  <a:cubicBezTo>
                    <a:pt x="405" y="88"/>
                    <a:pt x="413" y="99"/>
                    <a:pt x="420" y="110"/>
                  </a:cubicBezTo>
                  <a:cubicBezTo>
                    <a:pt x="423" y="117"/>
                    <a:pt x="426" y="124"/>
                    <a:pt x="429" y="131"/>
                  </a:cubicBezTo>
                  <a:cubicBezTo>
                    <a:pt x="442" y="160"/>
                    <a:pt x="426" y="178"/>
                    <a:pt x="395" y="188"/>
                  </a:cubicBezTo>
                  <a:close/>
                </a:path>
              </a:pathLst>
            </a:custGeom>
            <a:solidFill>
              <a:srgbClr val="C982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714EA946-3B64-49F2-8A17-CAA0889B8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968" y="5898966"/>
              <a:ext cx="645237" cy="263420"/>
            </a:xfrm>
            <a:custGeom>
              <a:avLst/>
              <a:gdLst>
                <a:gd name="T0" fmla="*/ 231 w 507"/>
                <a:gd name="T1" fmla="*/ 203 h 207"/>
                <a:gd name="T2" fmla="*/ 506 w 507"/>
                <a:gd name="T3" fmla="*/ 92 h 207"/>
                <a:gd name="T4" fmla="*/ 507 w 507"/>
                <a:gd name="T5" fmla="*/ 90 h 207"/>
                <a:gd name="T6" fmla="*/ 498 w 507"/>
                <a:gd name="T7" fmla="*/ 0 h 207"/>
                <a:gd name="T8" fmla="*/ 492 w 507"/>
                <a:gd name="T9" fmla="*/ 12 h 207"/>
                <a:gd name="T10" fmla="*/ 217 w 507"/>
                <a:gd name="T11" fmla="*/ 122 h 207"/>
                <a:gd name="T12" fmla="*/ 1 w 507"/>
                <a:gd name="T13" fmla="*/ 60 h 207"/>
                <a:gd name="T14" fmla="*/ 0 w 507"/>
                <a:gd name="T15" fmla="*/ 126 h 207"/>
                <a:gd name="T16" fmla="*/ 231 w 507"/>
                <a:gd name="T17" fmla="*/ 2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07">
                  <a:moveTo>
                    <a:pt x="231" y="203"/>
                  </a:moveTo>
                  <a:cubicBezTo>
                    <a:pt x="333" y="207"/>
                    <a:pt x="451" y="188"/>
                    <a:pt x="506" y="92"/>
                  </a:cubicBezTo>
                  <a:cubicBezTo>
                    <a:pt x="506" y="92"/>
                    <a:pt x="507" y="91"/>
                    <a:pt x="507" y="9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496" y="4"/>
                    <a:pt x="494" y="8"/>
                    <a:pt x="492" y="12"/>
                  </a:cubicBezTo>
                  <a:cubicBezTo>
                    <a:pt x="437" y="107"/>
                    <a:pt x="319" y="126"/>
                    <a:pt x="217" y="122"/>
                  </a:cubicBezTo>
                  <a:cubicBezTo>
                    <a:pt x="127" y="118"/>
                    <a:pt x="50" y="101"/>
                    <a:pt x="1" y="6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47" y="178"/>
                    <a:pt x="131" y="199"/>
                    <a:pt x="231" y="203"/>
                  </a:cubicBezTo>
                  <a:close/>
                </a:path>
              </a:pathLst>
            </a:custGeom>
            <a:solidFill>
              <a:srgbClr val="E88D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666E2805-A403-4F7C-853B-BF12DEC87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842" y="5465031"/>
              <a:ext cx="179012" cy="283813"/>
            </a:xfrm>
            <a:custGeom>
              <a:avLst/>
              <a:gdLst>
                <a:gd name="T0" fmla="*/ 82 w 141"/>
                <a:gd name="T1" fmla="*/ 1 h 223"/>
                <a:gd name="T2" fmla="*/ 3 w 141"/>
                <a:gd name="T3" fmla="*/ 156 h 223"/>
                <a:gd name="T4" fmla="*/ 73 w 141"/>
                <a:gd name="T5" fmla="*/ 213 h 223"/>
                <a:gd name="T6" fmla="*/ 115 w 141"/>
                <a:gd name="T7" fmla="*/ 52 h 223"/>
                <a:gd name="T8" fmla="*/ 82 w 141"/>
                <a:gd name="T9" fmla="*/ 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223">
                  <a:moveTo>
                    <a:pt x="82" y="1"/>
                  </a:moveTo>
                  <a:cubicBezTo>
                    <a:pt x="82" y="1"/>
                    <a:pt x="0" y="23"/>
                    <a:pt x="3" y="156"/>
                  </a:cubicBezTo>
                  <a:cubicBezTo>
                    <a:pt x="3" y="156"/>
                    <a:pt x="4" y="223"/>
                    <a:pt x="73" y="213"/>
                  </a:cubicBezTo>
                  <a:cubicBezTo>
                    <a:pt x="141" y="202"/>
                    <a:pt x="115" y="52"/>
                    <a:pt x="115" y="52"/>
                  </a:cubicBezTo>
                  <a:cubicBezTo>
                    <a:pt x="115" y="52"/>
                    <a:pt x="126" y="0"/>
                    <a:pt x="82" y="1"/>
                  </a:cubicBez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EF7246E3-506B-4C50-878B-E2DEB2D8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844" y="5207843"/>
              <a:ext cx="453195" cy="105934"/>
            </a:xfrm>
            <a:custGeom>
              <a:avLst/>
              <a:gdLst>
                <a:gd name="T0" fmla="*/ 319 w 356"/>
                <a:gd name="T1" fmla="*/ 20 h 83"/>
                <a:gd name="T2" fmla="*/ 290 w 356"/>
                <a:gd name="T3" fmla="*/ 34 h 83"/>
                <a:gd name="T4" fmla="*/ 151 w 356"/>
                <a:gd name="T5" fmla="*/ 66 h 83"/>
                <a:gd name="T6" fmla="*/ 108 w 356"/>
                <a:gd name="T7" fmla="*/ 63 h 83"/>
                <a:gd name="T8" fmla="*/ 6 w 356"/>
                <a:gd name="T9" fmla="*/ 24 h 83"/>
                <a:gd name="T10" fmla="*/ 4 w 356"/>
                <a:gd name="T11" fmla="*/ 29 h 83"/>
                <a:gd name="T12" fmla="*/ 0 w 356"/>
                <a:gd name="T13" fmla="*/ 41 h 83"/>
                <a:gd name="T14" fmla="*/ 148 w 356"/>
                <a:gd name="T15" fmla="*/ 83 h 83"/>
                <a:gd name="T16" fmla="*/ 242 w 356"/>
                <a:gd name="T17" fmla="*/ 66 h 83"/>
                <a:gd name="T18" fmla="*/ 310 w 356"/>
                <a:gd name="T19" fmla="*/ 37 h 83"/>
                <a:gd name="T20" fmla="*/ 341 w 356"/>
                <a:gd name="T21" fmla="*/ 18 h 83"/>
                <a:gd name="T22" fmla="*/ 355 w 356"/>
                <a:gd name="T23" fmla="*/ 7 h 83"/>
                <a:gd name="T24" fmla="*/ 355 w 356"/>
                <a:gd name="T25" fmla="*/ 7 h 83"/>
                <a:gd name="T26" fmla="*/ 353 w 356"/>
                <a:gd name="T27" fmla="*/ 0 h 83"/>
                <a:gd name="T28" fmla="*/ 319 w 356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6" h="83">
                  <a:moveTo>
                    <a:pt x="319" y="20"/>
                  </a:moveTo>
                  <a:cubicBezTo>
                    <a:pt x="305" y="26"/>
                    <a:pt x="292" y="33"/>
                    <a:pt x="290" y="34"/>
                  </a:cubicBezTo>
                  <a:cubicBezTo>
                    <a:pt x="246" y="53"/>
                    <a:pt x="199" y="66"/>
                    <a:pt x="151" y="66"/>
                  </a:cubicBezTo>
                  <a:cubicBezTo>
                    <a:pt x="137" y="66"/>
                    <a:pt x="123" y="65"/>
                    <a:pt x="108" y="63"/>
                  </a:cubicBezTo>
                  <a:cubicBezTo>
                    <a:pt x="72" y="58"/>
                    <a:pt x="36" y="45"/>
                    <a:pt x="6" y="24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43" y="73"/>
                    <a:pt x="94" y="83"/>
                    <a:pt x="148" y="83"/>
                  </a:cubicBezTo>
                  <a:cubicBezTo>
                    <a:pt x="180" y="82"/>
                    <a:pt x="212" y="76"/>
                    <a:pt x="242" y="66"/>
                  </a:cubicBezTo>
                  <a:cubicBezTo>
                    <a:pt x="265" y="58"/>
                    <a:pt x="288" y="49"/>
                    <a:pt x="310" y="37"/>
                  </a:cubicBezTo>
                  <a:cubicBezTo>
                    <a:pt x="321" y="31"/>
                    <a:pt x="331" y="25"/>
                    <a:pt x="341" y="18"/>
                  </a:cubicBezTo>
                  <a:cubicBezTo>
                    <a:pt x="346" y="15"/>
                    <a:pt x="351" y="11"/>
                    <a:pt x="355" y="7"/>
                  </a:cubicBezTo>
                  <a:cubicBezTo>
                    <a:pt x="355" y="7"/>
                    <a:pt x="355" y="7"/>
                    <a:pt x="355" y="7"/>
                  </a:cubicBezTo>
                  <a:cubicBezTo>
                    <a:pt x="356" y="6"/>
                    <a:pt x="353" y="1"/>
                    <a:pt x="353" y="0"/>
                  </a:cubicBezTo>
                  <a:cubicBezTo>
                    <a:pt x="353" y="0"/>
                    <a:pt x="336" y="12"/>
                    <a:pt x="319" y="20"/>
                  </a:cubicBezTo>
                  <a:close/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ED73F77E-2DB2-4D25-9CFA-EAC48D2A0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578" y="5635546"/>
              <a:ext cx="116131" cy="62314"/>
            </a:xfrm>
            <a:custGeom>
              <a:avLst/>
              <a:gdLst>
                <a:gd name="T0" fmla="*/ 91 w 91"/>
                <a:gd name="T1" fmla="*/ 0 h 49"/>
                <a:gd name="T2" fmla="*/ 43 w 91"/>
                <a:gd name="T3" fmla="*/ 10 h 49"/>
                <a:gd name="T4" fmla="*/ 36 w 91"/>
                <a:gd name="T5" fmla="*/ 10 h 49"/>
                <a:gd name="T6" fmla="*/ 0 w 91"/>
                <a:gd name="T7" fmla="*/ 3 h 49"/>
                <a:gd name="T8" fmla="*/ 45 w 91"/>
                <a:gd name="T9" fmla="*/ 49 h 49"/>
                <a:gd name="T10" fmla="*/ 91 w 91"/>
                <a:gd name="T11" fmla="*/ 3 h 49"/>
                <a:gd name="T12" fmla="*/ 91 w 9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49">
                  <a:moveTo>
                    <a:pt x="91" y="0"/>
                  </a:moveTo>
                  <a:cubicBezTo>
                    <a:pt x="78" y="7"/>
                    <a:pt x="62" y="10"/>
                    <a:pt x="43" y="10"/>
                  </a:cubicBezTo>
                  <a:cubicBezTo>
                    <a:pt x="40" y="10"/>
                    <a:pt x="38" y="10"/>
                    <a:pt x="36" y="10"/>
                  </a:cubicBezTo>
                  <a:cubicBezTo>
                    <a:pt x="22" y="9"/>
                    <a:pt x="10" y="7"/>
                    <a:pt x="0" y="3"/>
                  </a:cubicBezTo>
                  <a:cubicBezTo>
                    <a:pt x="0" y="28"/>
                    <a:pt x="20" y="49"/>
                    <a:pt x="45" y="49"/>
                  </a:cubicBezTo>
                  <a:cubicBezTo>
                    <a:pt x="71" y="49"/>
                    <a:pt x="91" y="28"/>
                    <a:pt x="91" y="3"/>
                  </a:cubicBezTo>
                  <a:cubicBezTo>
                    <a:pt x="91" y="2"/>
                    <a:pt x="91" y="1"/>
                    <a:pt x="91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4D3D196F-239D-4E85-9B51-4E706079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791" y="5589660"/>
              <a:ext cx="117264" cy="85541"/>
            </a:xfrm>
            <a:custGeom>
              <a:avLst/>
              <a:gdLst>
                <a:gd name="T0" fmla="*/ 6 w 92"/>
                <a:gd name="T1" fmla="*/ 0 h 67"/>
                <a:gd name="T2" fmla="*/ 0 w 92"/>
                <a:gd name="T3" fmla="*/ 22 h 67"/>
                <a:gd name="T4" fmla="*/ 46 w 92"/>
                <a:gd name="T5" fmla="*/ 67 h 67"/>
                <a:gd name="T6" fmla="*/ 92 w 92"/>
                <a:gd name="T7" fmla="*/ 22 h 67"/>
                <a:gd name="T8" fmla="*/ 91 w 92"/>
                <a:gd name="T9" fmla="*/ 15 h 67"/>
                <a:gd name="T10" fmla="*/ 72 w 92"/>
                <a:gd name="T11" fmla="*/ 17 h 67"/>
                <a:gd name="T12" fmla="*/ 51 w 92"/>
                <a:gd name="T13" fmla="*/ 15 h 67"/>
                <a:gd name="T14" fmla="*/ 6 w 92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7">
                  <a:moveTo>
                    <a:pt x="6" y="0"/>
                  </a:moveTo>
                  <a:cubicBezTo>
                    <a:pt x="2" y="7"/>
                    <a:pt x="0" y="14"/>
                    <a:pt x="0" y="22"/>
                  </a:cubicBezTo>
                  <a:cubicBezTo>
                    <a:pt x="0" y="47"/>
                    <a:pt x="21" y="67"/>
                    <a:pt x="46" y="67"/>
                  </a:cubicBezTo>
                  <a:cubicBezTo>
                    <a:pt x="71" y="67"/>
                    <a:pt x="92" y="47"/>
                    <a:pt x="92" y="22"/>
                  </a:cubicBezTo>
                  <a:cubicBezTo>
                    <a:pt x="92" y="19"/>
                    <a:pt x="92" y="17"/>
                    <a:pt x="91" y="15"/>
                  </a:cubicBezTo>
                  <a:cubicBezTo>
                    <a:pt x="85" y="16"/>
                    <a:pt x="79" y="17"/>
                    <a:pt x="72" y="17"/>
                  </a:cubicBezTo>
                  <a:cubicBezTo>
                    <a:pt x="65" y="17"/>
                    <a:pt x="58" y="16"/>
                    <a:pt x="51" y="15"/>
                  </a:cubicBezTo>
                  <a:cubicBezTo>
                    <a:pt x="33" y="12"/>
                    <a:pt x="18" y="7"/>
                    <a:pt x="6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D6FE1EF8-6E94-4C5C-83BF-410A1DC23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5772" y="5383456"/>
              <a:ext cx="608414" cy="265119"/>
            </a:xfrm>
            <a:custGeom>
              <a:avLst/>
              <a:gdLst>
                <a:gd name="T0" fmla="*/ 473 w 478"/>
                <a:gd name="T1" fmla="*/ 56 h 208"/>
                <a:gd name="T2" fmla="*/ 460 w 478"/>
                <a:gd name="T3" fmla="*/ 52 h 208"/>
                <a:gd name="T4" fmla="*/ 460 w 478"/>
                <a:gd name="T5" fmla="*/ 52 h 208"/>
                <a:gd name="T6" fmla="*/ 456 w 478"/>
                <a:gd name="T7" fmla="*/ 51 h 208"/>
                <a:gd name="T8" fmla="*/ 279 w 478"/>
                <a:gd name="T9" fmla="*/ 64 h 208"/>
                <a:gd name="T10" fmla="*/ 274 w 478"/>
                <a:gd name="T11" fmla="*/ 86 h 208"/>
                <a:gd name="T12" fmla="*/ 243 w 478"/>
                <a:gd name="T13" fmla="*/ 68 h 208"/>
                <a:gd name="T14" fmla="*/ 198 w 478"/>
                <a:gd name="T15" fmla="*/ 78 h 208"/>
                <a:gd name="T16" fmla="*/ 198 w 478"/>
                <a:gd name="T17" fmla="*/ 53 h 208"/>
                <a:gd name="T18" fmla="*/ 27 w 478"/>
                <a:gd name="T19" fmla="*/ 6 h 208"/>
                <a:gd name="T20" fmla="*/ 22 w 478"/>
                <a:gd name="T21" fmla="*/ 6 h 208"/>
                <a:gd name="T22" fmla="*/ 22 w 478"/>
                <a:gd name="T23" fmla="*/ 6 h 208"/>
                <a:gd name="T24" fmla="*/ 9 w 478"/>
                <a:gd name="T25" fmla="*/ 7 h 208"/>
                <a:gd name="T26" fmla="*/ 4 w 478"/>
                <a:gd name="T27" fmla="*/ 13 h 208"/>
                <a:gd name="T28" fmla="*/ 10 w 478"/>
                <a:gd name="T29" fmla="*/ 19 h 208"/>
                <a:gd name="T30" fmla="*/ 10 w 478"/>
                <a:gd name="T31" fmla="*/ 19 h 208"/>
                <a:gd name="T32" fmla="*/ 19 w 478"/>
                <a:gd name="T33" fmla="*/ 18 h 208"/>
                <a:gd name="T34" fmla="*/ 20 w 478"/>
                <a:gd name="T35" fmla="*/ 141 h 208"/>
                <a:gd name="T36" fmla="*/ 88 w 478"/>
                <a:gd name="T37" fmla="*/ 177 h 208"/>
                <a:gd name="T38" fmla="*/ 109 w 478"/>
                <a:gd name="T39" fmla="*/ 179 h 208"/>
                <a:gd name="T40" fmla="*/ 164 w 478"/>
                <a:gd name="T41" fmla="*/ 159 h 208"/>
                <a:gd name="T42" fmla="*/ 196 w 478"/>
                <a:gd name="T43" fmla="*/ 95 h 208"/>
                <a:gd name="T44" fmla="*/ 241 w 478"/>
                <a:gd name="T45" fmla="*/ 80 h 208"/>
                <a:gd name="T46" fmla="*/ 273 w 478"/>
                <a:gd name="T47" fmla="*/ 108 h 208"/>
                <a:gd name="T48" fmla="*/ 291 w 478"/>
                <a:gd name="T49" fmla="*/ 175 h 208"/>
                <a:gd name="T50" fmla="*/ 363 w 478"/>
                <a:gd name="T51" fmla="*/ 208 h 208"/>
                <a:gd name="T52" fmla="*/ 370 w 478"/>
                <a:gd name="T53" fmla="*/ 208 h 208"/>
                <a:gd name="T54" fmla="*/ 437 w 478"/>
                <a:gd name="T55" fmla="*/ 185 h 208"/>
                <a:gd name="T56" fmla="*/ 461 w 478"/>
                <a:gd name="T57" fmla="*/ 65 h 208"/>
                <a:gd name="T58" fmla="*/ 470 w 478"/>
                <a:gd name="T59" fmla="*/ 67 h 208"/>
                <a:gd name="T60" fmla="*/ 472 w 478"/>
                <a:gd name="T61" fmla="*/ 67 h 208"/>
                <a:gd name="T62" fmla="*/ 477 w 478"/>
                <a:gd name="T63" fmla="*/ 63 h 208"/>
                <a:gd name="T64" fmla="*/ 473 w 478"/>
                <a:gd name="T65" fmla="*/ 56 h 208"/>
                <a:gd name="T66" fmla="*/ 156 w 478"/>
                <a:gd name="T67" fmla="*/ 150 h 208"/>
                <a:gd name="T68" fmla="*/ 90 w 478"/>
                <a:gd name="T69" fmla="*/ 165 h 208"/>
                <a:gd name="T70" fmla="*/ 30 w 478"/>
                <a:gd name="T71" fmla="*/ 134 h 208"/>
                <a:gd name="T72" fmla="*/ 32 w 478"/>
                <a:gd name="T73" fmla="*/ 18 h 208"/>
                <a:gd name="T74" fmla="*/ 42 w 478"/>
                <a:gd name="T75" fmla="*/ 17 h 208"/>
                <a:gd name="T76" fmla="*/ 43 w 478"/>
                <a:gd name="T77" fmla="*/ 17 h 208"/>
                <a:gd name="T78" fmla="*/ 108 w 478"/>
                <a:gd name="T79" fmla="*/ 20 h 208"/>
                <a:gd name="T80" fmla="*/ 186 w 478"/>
                <a:gd name="T81" fmla="*/ 53 h 208"/>
                <a:gd name="T82" fmla="*/ 156 w 478"/>
                <a:gd name="T83" fmla="*/ 150 h 208"/>
                <a:gd name="T84" fmla="*/ 428 w 478"/>
                <a:gd name="T85" fmla="*/ 177 h 208"/>
                <a:gd name="T86" fmla="*/ 363 w 478"/>
                <a:gd name="T87" fmla="*/ 196 h 208"/>
                <a:gd name="T88" fmla="*/ 301 w 478"/>
                <a:gd name="T89" fmla="*/ 168 h 208"/>
                <a:gd name="T90" fmla="*/ 285 w 478"/>
                <a:gd name="T91" fmla="*/ 109 h 208"/>
                <a:gd name="T92" fmla="*/ 285 w 478"/>
                <a:gd name="T93" fmla="*/ 109 h 208"/>
                <a:gd name="T94" fmla="*/ 285 w 478"/>
                <a:gd name="T95" fmla="*/ 107 h 208"/>
                <a:gd name="T96" fmla="*/ 290 w 478"/>
                <a:gd name="T97" fmla="*/ 67 h 208"/>
                <a:gd name="T98" fmla="*/ 345 w 478"/>
                <a:gd name="T99" fmla="*/ 48 h 208"/>
                <a:gd name="T100" fmla="*/ 437 w 478"/>
                <a:gd name="T101" fmla="*/ 59 h 208"/>
                <a:gd name="T102" fmla="*/ 439 w 478"/>
                <a:gd name="T103" fmla="*/ 60 h 208"/>
                <a:gd name="T104" fmla="*/ 449 w 478"/>
                <a:gd name="T105" fmla="*/ 62 h 208"/>
                <a:gd name="T106" fmla="*/ 428 w 478"/>
                <a:gd name="T107" fmla="*/ 177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8" h="208">
                  <a:moveTo>
                    <a:pt x="473" y="56"/>
                  </a:moveTo>
                  <a:cubicBezTo>
                    <a:pt x="473" y="55"/>
                    <a:pt x="468" y="54"/>
                    <a:pt x="460" y="52"/>
                  </a:cubicBezTo>
                  <a:cubicBezTo>
                    <a:pt x="460" y="52"/>
                    <a:pt x="460" y="52"/>
                    <a:pt x="460" y="52"/>
                  </a:cubicBezTo>
                  <a:cubicBezTo>
                    <a:pt x="456" y="51"/>
                    <a:pt x="456" y="51"/>
                    <a:pt x="456" y="51"/>
                  </a:cubicBezTo>
                  <a:cubicBezTo>
                    <a:pt x="439" y="47"/>
                    <a:pt x="292" y="13"/>
                    <a:pt x="279" y="64"/>
                  </a:cubicBezTo>
                  <a:cubicBezTo>
                    <a:pt x="277" y="69"/>
                    <a:pt x="276" y="76"/>
                    <a:pt x="274" y="86"/>
                  </a:cubicBezTo>
                  <a:cubicBezTo>
                    <a:pt x="268" y="78"/>
                    <a:pt x="258" y="71"/>
                    <a:pt x="243" y="68"/>
                  </a:cubicBezTo>
                  <a:cubicBezTo>
                    <a:pt x="224" y="65"/>
                    <a:pt x="208" y="72"/>
                    <a:pt x="198" y="78"/>
                  </a:cubicBezTo>
                  <a:cubicBezTo>
                    <a:pt x="199" y="67"/>
                    <a:pt x="199" y="58"/>
                    <a:pt x="198" y="53"/>
                  </a:cubicBezTo>
                  <a:cubicBezTo>
                    <a:pt x="195" y="0"/>
                    <a:pt x="44" y="5"/>
                    <a:pt x="27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6"/>
                    <a:pt x="9" y="7"/>
                    <a:pt x="9" y="7"/>
                  </a:cubicBezTo>
                  <a:cubicBezTo>
                    <a:pt x="6" y="7"/>
                    <a:pt x="3" y="10"/>
                    <a:pt x="4" y="13"/>
                  </a:cubicBezTo>
                  <a:cubicBezTo>
                    <a:pt x="4" y="16"/>
                    <a:pt x="6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4" y="18"/>
                    <a:pt x="19" y="18"/>
                  </a:cubicBezTo>
                  <a:cubicBezTo>
                    <a:pt x="7" y="68"/>
                    <a:pt x="0" y="111"/>
                    <a:pt x="20" y="141"/>
                  </a:cubicBezTo>
                  <a:cubicBezTo>
                    <a:pt x="33" y="160"/>
                    <a:pt x="55" y="172"/>
                    <a:pt x="88" y="177"/>
                  </a:cubicBezTo>
                  <a:cubicBezTo>
                    <a:pt x="95" y="178"/>
                    <a:pt x="102" y="179"/>
                    <a:pt x="109" y="179"/>
                  </a:cubicBezTo>
                  <a:cubicBezTo>
                    <a:pt x="131" y="179"/>
                    <a:pt x="150" y="172"/>
                    <a:pt x="164" y="159"/>
                  </a:cubicBezTo>
                  <a:cubicBezTo>
                    <a:pt x="183" y="142"/>
                    <a:pt x="192" y="117"/>
                    <a:pt x="196" y="95"/>
                  </a:cubicBezTo>
                  <a:cubicBezTo>
                    <a:pt x="201" y="90"/>
                    <a:pt x="218" y="77"/>
                    <a:pt x="241" y="80"/>
                  </a:cubicBezTo>
                  <a:cubicBezTo>
                    <a:pt x="263" y="84"/>
                    <a:pt x="271" y="101"/>
                    <a:pt x="273" y="108"/>
                  </a:cubicBezTo>
                  <a:cubicBezTo>
                    <a:pt x="273" y="130"/>
                    <a:pt x="276" y="155"/>
                    <a:pt x="291" y="175"/>
                  </a:cubicBezTo>
                  <a:cubicBezTo>
                    <a:pt x="307" y="195"/>
                    <a:pt x="331" y="206"/>
                    <a:pt x="363" y="208"/>
                  </a:cubicBezTo>
                  <a:cubicBezTo>
                    <a:pt x="365" y="208"/>
                    <a:pt x="367" y="208"/>
                    <a:pt x="370" y="208"/>
                  </a:cubicBezTo>
                  <a:cubicBezTo>
                    <a:pt x="400" y="208"/>
                    <a:pt x="422" y="200"/>
                    <a:pt x="437" y="185"/>
                  </a:cubicBezTo>
                  <a:cubicBezTo>
                    <a:pt x="462" y="160"/>
                    <a:pt x="463" y="116"/>
                    <a:pt x="461" y="65"/>
                  </a:cubicBezTo>
                  <a:cubicBezTo>
                    <a:pt x="466" y="66"/>
                    <a:pt x="470" y="67"/>
                    <a:pt x="470" y="67"/>
                  </a:cubicBezTo>
                  <a:cubicBezTo>
                    <a:pt x="470" y="67"/>
                    <a:pt x="471" y="67"/>
                    <a:pt x="472" y="67"/>
                  </a:cubicBezTo>
                  <a:cubicBezTo>
                    <a:pt x="474" y="67"/>
                    <a:pt x="477" y="66"/>
                    <a:pt x="477" y="63"/>
                  </a:cubicBezTo>
                  <a:cubicBezTo>
                    <a:pt x="478" y="60"/>
                    <a:pt x="476" y="56"/>
                    <a:pt x="473" y="56"/>
                  </a:cubicBezTo>
                  <a:moveTo>
                    <a:pt x="156" y="150"/>
                  </a:moveTo>
                  <a:cubicBezTo>
                    <a:pt x="140" y="165"/>
                    <a:pt x="118" y="170"/>
                    <a:pt x="90" y="165"/>
                  </a:cubicBezTo>
                  <a:cubicBezTo>
                    <a:pt x="60" y="161"/>
                    <a:pt x="41" y="150"/>
                    <a:pt x="30" y="134"/>
                  </a:cubicBezTo>
                  <a:cubicBezTo>
                    <a:pt x="12" y="108"/>
                    <a:pt x="20" y="66"/>
                    <a:pt x="32" y="18"/>
                  </a:cubicBezTo>
                  <a:cubicBezTo>
                    <a:pt x="35" y="17"/>
                    <a:pt x="39" y="17"/>
                    <a:pt x="42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59" y="17"/>
                    <a:pt x="83" y="18"/>
                    <a:pt x="108" y="20"/>
                  </a:cubicBezTo>
                  <a:cubicBezTo>
                    <a:pt x="158" y="25"/>
                    <a:pt x="185" y="37"/>
                    <a:pt x="186" y="53"/>
                  </a:cubicBezTo>
                  <a:cubicBezTo>
                    <a:pt x="188" y="85"/>
                    <a:pt x="181" y="128"/>
                    <a:pt x="156" y="150"/>
                  </a:cubicBezTo>
                  <a:moveTo>
                    <a:pt x="428" y="177"/>
                  </a:moveTo>
                  <a:cubicBezTo>
                    <a:pt x="414" y="190"/>
                    <a:pt x="393" y="197"/>
                    <a:pt x="363" y="196"/>
                  </a:cubicBezTo>
                  <a:cubicBezTo>
                    <a:pt x="335" y="195"/>
                    <a:pt x="314" y="185"/>
                    <a:pt x="301" y="168"/>
                  </a:cubicBezTo>
                  <a:cubicBezTo>
                    <a:pt x="289" y="152"/>
                    <a:pt x="285" y="130"/>
                    <a:pt x="285" y="109"/>
                  </a:cubicBezTo>
                  <a:cubicBezTo>
                    <a:pt x="285" y="109"/>
                    <a:pt x="285" y="109"/>
                    <a:pt x="285" y="109"/>
                  </a:cubicBezTo>
                  <a:cubicBezTo>
                    <a:pt x="285" y="108"/>
                    <a:pt x="285" y="108"/>
                    <a:pt x="285" y="107"/>
                  </a:cubicBezTo>
                  <a:cubicBezTo>
                    <a:pt x="285" y="93"/>
                    <a:pt x="287" y="79"/>
                    <a:pt x="290" y="67"/>
                  </a:cubicBezTo>
                  <a:cubicBezTo>
                    <a:pt x="294" y="53"/>
                    <a:pt x="316" y="48"/>
                    <a:pt x="345" y="48"/>
                  </a:cubicBezTo>
                  <a:cubicBezTo>
                    <a:pt x="373" y="48"/>
                    <a:pt x="408" y="53"/>
                    <a:pt x="437" y="59"/>
                  </a:cubicBezTo>
                  <a:cubicBezTo>
                    <a:pt x="438" y="59"/>
                    <a:pt x="438" y="60"/>
                    <a:pt x="439" y="60"/>
                  </a:cubicBezTo>
                  <a:cubicBezTo>
                    <a:pt x="442" y="60"/>
                    <a:pt x="446" y="61"/>
                    <a:pt x="449" y="62"/>
                  </a:cubicBezTo>
                  <a:cubicBezTo>
                    <a:pt x="451" y="111"/>
                    <a:pt x="451" y="154"/>
                    <a:pt x="428" y="177"/>
                  </a:cubicBezTo>
                </a:path>
              </a:pathLst>
            </a:custGeom>
            <a:solidFill>
              <a:srgbClr val="663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86B8E9F6-8AA3-4C56-BBC3-4E6CD6256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400" y="5158558"/>
              <a:ext cx="455461" cy="79876"/>
            </a:xfrm>
            <a:custGeom>
              <a:avLst/>
              <a:gdLst>
                <a:gd name="T0" fmla="*/ 354 w 358"/>
                <a:gd name="T1" fmla="*/ 0 h 63"/>
                <a:gd name="T2" fmla="*/ 148 w 358"/>
                <a:gd name="T3" fmla="*/ 55 h 63"/>
                <a:gd name="T4" fmla="*/ 42 w 358"/>
                <a:gd name="T5" fmla="*/ 38 h 63"/>
                <a:gd name="T6" fmla="*/ 14 w 358"/>
                <a:gd name="T7" fmla="*/ 26 h 63"/>
                <a:gd name="T8" fmla="*/ 7 w 358"/>
                <a:gd name="T9" fmla="*/ 22 h 63"/>
                <a:gd name="T10" fmla="*/ 5 w 358"/>
                <a:gd name="T11" fmla="*/ 21 h 63"/>
                <a:gd name="T12" fmla="*/ 4 w 358"/>
                <a:gd name="T13" fmla="*/ 21 h 63"/>
                <a:gd name="T14" fmla="*/ 4 w 358"/>
                <a:gd name="T15" fmla="*/ 21 h 63"/>
                <a:gd name="T16" fmla="*/ 0 w 358"/>
                <a:gd name="T17" fmla="*/ 28 h 63"/>
                <a:gd name="T18" fmla="*/ 148 w 358"/>
                <a:gd name="T19" fmla="*/ 63 h 63"/>
                <a:gd name="T20" fmla="*/ 358 w 358"/>
                <a:gd name="T21" fmla="*/ 7 h 63"/>
                <a:gd name="T22" fmla="*/ 354 w 358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">
                  <a:moveTo>
                    <a:pt x="354" y="0"/>
                  </a:moveTo>
                  <a:cubicBezTo>
                    <a:pt x="274" y="42"/>
                    <a:pt x="204" y="55"/>
                    <a:pt x="148" y="55"/>
                  </a:cubicBezTo>
                  <a:cubicBezTo>
                    <a:pt x="102" y="55"/>
                    <a:pt x="66" y="46"/>
                    <a:pt x="42" y="38"/>
                  </a:cubicBezTo>
                  <a:cubicBezTo>
                    <a:pt x="30" y="34"/>
                    <a:pt x="20" y="29"/>
                    <a:pt x="14" y="26"/>
                  </a:cubicBezTo>
                  <a:cubicBezTo>
                    <a:pt x="11" y="25"/>
                    <a:pt x="8" y="23"/>
                    <a:pt x="7" y="22"/>
                  </a:cubicBezTo>
                  <a:cubicBezTo>
                    <a:pt x="6" y="22"/>
                    <a:pt x="5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55" y="63"/>
                    <a:pt x="148" y="63"/>
                  </a:cubicBezTo>
                  <a:cubicBezTo>
                    <a:pt x="205" y="63"/>
                    <a:pt x="276" y="50"/>
                    <a:pt x="358" y="7"/>
                  </a:cubicBezTo>
                  <a:cubicBezTo>
                    <a:pt x="354" y="0"/>
                    <a:pt x="354" y="0"/>
                    <a:pt x="354" y="0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7738920B-9A3E-4258-A630-31B12A9A0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267" y="5098510"/>
              <a:ext cx="455461" cy="100836"/>
            </a:xfrm>
            <a:custGeom>
              <a:avLst/>
              <a:gdLst>
                <a:gd name="T0" fmla="*/ 0 w 358"/>
                <a:gd name="T1" fmla="*/ 6 h 79"/>
                <a:gd name="T2" fmla="*/ 58 w 358"/>
                <a:gd name="T3" fmla="*/ 43 h 79"/>
                <a:gd name="T4" fmla="*/ 218 w 358"/>
                <a:gd name="T5" fmla="*/ 79 h 79"/>
                <a:gd name="T6" fmla="*/ 358 w 358"/>
                <a:gd name="T7" fmla="*/ 55 h 79"/>
                <a:gd name="T8" fmla="*/ 356 w 358"/>
                <a:gd name="T9" fmla="*/ 47 h 79"/>
                <a:gd name="T10" fmla="*/ 218 w 358"/>
                <a:gd name="T11" fmla="*/ 71 h 79"/>
                <a:gd name="T12" fmla="*/ 62 w 358"/>
                <a:gd name="T13" fmla="*/ 36 h 79"/>
                <a:gd name="T14" fmla="*/ 20 w 358"/>
                <a:gd name="T15" fmla="*/ 11 h 79"/>
                <a:gd name="T16" fmla="*/ 9 w 358"/>
                <a:gd name="T17" fmla="*/ 3 h 79"/>
                <a:gd name="T18" fmla="*/ 6 w 358"/>
                <a:gd name="T19" fmla="*/ 1 h 79"/>
                <a:gd name="T20" fmla="*/ 5 w 358"/>
                <a:gd name="T21" fmla="*/ 1 h 79"/>
                <a:gd name="T22" fmla="*/ 5 w 358"/>
                <a:gd name="T23" fmla="*/ 0 h 79"/>
                <a:gd name="T24" fmla="*/ 0 w 358"/>
                <a:gd name="T25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8" h="79">
                  <a:moveTo>
                    <a:pt x="0" y="6"/>
                  </a:moveTo>
                  <a:cubicBezTo>
                    <a:pt x="0" y="7"/>
                    <a:pt x="21" y="25"/>
                    <a:pt x="58" y="43"/>
                  </a:cubicBezTo>
                  <a:cubicBezTo>
                    <a:pt x="95" y="61"/>
                    <a:pt x="150" y="79"/>
                    <a:pt x="218" y="79"/>
                  </a:cubicBezTo>
                  <a:cubicBezTo>
                    <a:pt x="260" y="79"/>
                    <a:pt x="307" y="72"/>
                    <a:pt x="358" y="55"/>
                  </a:cubicBezTo>
                  <a:cubicBezTo>
                    <a:pt x="356" y="47"/>
                    <a:pt x="356" y="47"/>
                    <a:pt x="356" y="47"/>
                  </a:cubicBezTo>
                  <a:cubicBezTo>
                    <a:pt x="305" y="64"/>
                    <a:pt x="259" y="71"/>
                    <a:pt x="218" y="71"/>
                  </a:cubicBezTo>
                  <a:cubicBezTo>
                    <a:pt x="151" y="71"/>
                    <a:pt x="98" y="53"/>
                    <a:pt x="62" y="36"/>
                  </a:cubicBezTo>
                  <a:cubicBezTo>
                    <a:pt x="43" y="27"/>
                    <a:pt x="29" y="18"/>
                    <a:pt x="20" y="11"/>
                  </a:cubicBezTo>
                  <a:cubicBezTo>
                    <a:pt x="15" y="8"/>
                    <a:pt x="11" y="5"/>
                    <a:pt x="9" y="3"/>
                  </a:cubicBezTo>
                  <a:cubicBezTo>
                    <a:pt x="8" y="2"/>
                    <a:pt x="7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202C3CD0-C2A2-4438-B31D-6D60C2F49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1264" y="5405549"/>
              <a:ext cx="212435" cy="188076"/>
            </a:xfrm>
            <a:custGeom>
              <a:avLst/>
              <a:gdLst>
                <a:gd name="T0" fmla="*/ 94 w 167"/>
                <a:gd name="T1" fmla="*/ 80 h 148"/>
                <a:gd name="T2" fmla="*/ 83 w 167"/>
                <a:gd name="T3" fmla="*/ 69 h 148"/>
                <a:gd name="T4" fmla="*/ 94 w 167"/>
                <a:gd name="T5" fmla="*/ 58 h 148"/>
                <a:gd name="T6" fmla="*/ 105 w 167"/>
                <a:gd name="T7" fmla="*/ 69 h 148"/>
                <a:gd name="T8" fmla="*/ 94 w 167"/>
                <a:gd name="T9" fmla="*/ 80 h 148"/>
                <a:gd name="T10" fmla="*/ 28 w 167"/>
                <a:gd name="T11" fmla="*/ 0 h 148"/>
                <a:gd name="T12" fmla="*/ 23 w 167"/>
                <a:gd name="T13" fmla="*/ 0 h 148"/>
                <a:gd name="T14" fmla="*/ 22 w 167"/>
                <a:gd name="T15" fmla="*/ 0 h 148"/>
                <a:gd name="T16" fmla="*/ 19 w 167"/>
                <a:gd name="T17" fmla="*/ 0 h 148"/>
                <a:gd name="T18" fmla="*/ 12 w 167"/>
                <a:gd name="T19" fmla="*/ 1 h 148"/>
                <a:gd name="T20" fmla="*/ 0 w 167"/>
                <a:gd name="T21" fmla="*/ 76 h 148"/>
                <a:gd name="T22" fmla="*/ 10 w 167"/>
                <a:gd name="T23" fmla="*/ 117 h 148"/>
                <a:gd name="T24" fmla="*/ 30 w 167"/>
                <a:gd name="T25" fmla="*/ 135 h 148"/>
                <a:gd name="T26" fmla="*/ 63 w 167"/>
                <a:gd name="T27" fmla="*/ 121 h 148"/>
                <a:gd name="T28" fmla="*/ 105 w 167"/>
                <a:gd name="T29" fmla="*/ 148 h 148"/>
                <a:gd name="T30" fmla="*/ 136 w 167"/>
                <a:gd name="T31" fmla="*/ 133 h 148"/>
                <a:gd name="T32" fmla="*/ 167 w 167"/>
                <a:gd name="T33" fmla="*/ 46 h 148"/>
                <a:gd name="T34" fmla="*/ 166 w 167"/>
                <a:gd name="T35" fmla="*/ 36 h 148"/>
                <a:gd name="T36" fmla="*/ 106 w 167"/>
                <a:gd name="T37" fmla="*/ 5 h 148"/>
                <a:gd name="T38" fmla="*/ 105 w 167"/>
                <a:gd name="T39" fmla="*/ 6 h 148"/>
                <a:gd name="T40" fmla="*/ 91 w 167"/>
                <a:gd name="T41" fmla="*/ 6 h 148"/>
                <a:gd name="T42" fmla="*/ 62 w 167"/>
                <a:gd name="T43" fmla="*/ 1 h 148"/>
                <a:gd name="T44" fmla="*/ 28 w 167"/>
                <a:gd name="T45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" h="148">
                  <a:moveTo>
                    <a:pt x="94" y="80"/>
                  </a:moveTo>
                  <a:cubicBezTo>
                    <a:pt x="88" y="80"/>
                    <a:pt x="83" y="75"/>
                    <a:pt x="83" y="69"/>
                  </a:cubicBezTo>
                  <a:cubicBezTo>
                    <a:pt x="83" y="63"/>
                    <a:pt x="88" y="58"/>
                    <a:pt x="94" y="58"/>
                  </a:cubicBezTo>
                  <a:cubicBezTo>
                    <a:pt x="100" y="58"/>
                    <a:pt x="105" y="63"/>
                    <a:pt x="105" y="69"/>
                  </a:cubicBezTo>
                  <a:cubicBezTo>
                    <a:pt x="105" y="75"/>
                    <a:pt x="100" y="80"/>
                    <a:pt x="94" y="80"/>
                  </a:cubicBezTo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92"/>
                    <a:pt x="2" y="106"/>
                    <a:pt x="10" y="117"/>
                  </a:cubicBezTo>
                  <a:cubicBezTo>
                    <a:pt x="15" y="125"/>
                    <a:pt x="21" y="131"/>
                    <a:pt x="30" y="135"/>
                  </a:cubicBezTo>
                  <a:cubicBezTo>
                    <a:pt x="38" y="127"/>
                    <a:pt x="50" y="121"/>
                    <a:pt x="63" y="121"/>
                  </a:cubicBezTo>
                  <a:cubicBezTo>
                    <a:pt x="82" y="121"/>
                    <a:pt x="98" y="132"/>
                    <a:pt x="105" y="148"/>
                  </a:cubicBezTo>
                  <a:cubicBezTo>
                    <a:pt x="117" y="146"/>
                    <a:pt x="128" y="141"/>
                    <a:pt x="136" y="133"/>
                  </a:cubicBezTo>
                  <a:cubicBezTo>
                    <a:pt x="159" y="113"/>
                    <a:pt x="167" y="77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2"/>
                    <a:pt x="144" y="11"/>
                    <a:pt x="106" y="5"/>
                  </a:cubicBezTo>
                  <a:cubicBezTo>
                    <a:pt x="106" y="6"/>
                    <a:pt x="105" y="6"/>
                    <a:pt x="105" y="6"/>
                  </a:cubicBezTo>
                  <a:cubicBezTo>
                    <a:pt x="100" y="6"/>
                    <a:pt x="96" y="6"/>
                    <a:pt x="91" y="6"/>
                  </a:cubicBezTo>
                  <a:cubicBezTo>
                    <a:pt x="81" y="6"/>
                    <a:pt x="71" y="5"/>
                    <a:pt x="62" y="1"/>
                  </a:cubicBezTo>
                  <a:cubicBezTo>
                    <a:pt x="49" y="1"/>
                    <a:pt x="37" y="0"/>
                    <a:pt x="28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9">
              <a:extLst>
                <a:ext uri="{FF2B5EF4-FFF2-40B4-BE49-F238E27FC236}">
                  <a16:creationId xmlns:a16="http://schemas.microsoft.com/office/drawing/2014/main" id="{3221A0C2-7421-4CB6-8296-792731B29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F8B577A5-BAB7-4AC7-B08E-BA0F2631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006" y="5406682"/>
              <a:ext cx="56083" cy="6231"/>
            </a:xfrm>
            <a:custGeom>
              <a:avLst/>
              <a:gdLst>
                <a:gd name="T0" fmla="*/ 0 w 44"/>
                <a:gd name="T1" fmla="*/ 0 h 5"/>
                <a:gd name="T2" fmla="*/ 29 w 44"/>
                <a:gd name="T3" fmla="*/ 5 h 5"/>
                <a:gd name="T4" fmla="*/ 43 w 44"/>
                <a:gd name="T5" fmla="*/ 5 h 5"/>
                <a:gd name="T6" fmla="*/ 44 w 44"/>
                <a:gd name="T7" fmla="*/ 4 h 5"/>
                <a:gd name="T8" fmla="*/ 26 w 44"/>
                <a:gd name="T9" fmla="*/ 2 h 5"/>
                <a:gd name="T10" fmla="*/ 0 w 4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5">
                  <a:moveTo>
                    <a:pt x="0" y="0"/>
                  </a:moveTo>
                  <a:cubicBezTo>
                    <a:pt x="9" y="4"/>
                    <a:pt x="19" y="5"/>
                    <a:pt x="29" y="5"/>
                  </a:cubicBezTo>
                  <a:cubicBezTo>
                    <a:pt x="34" y="5"/>
                    <a:pt x="38" y="5"/>
                    <a:pt x="43" y="5"/>
                  </a:cubicBezTo>
                  <a:cubicBezTo>
                    <a:pt x="43" y="5"/>
                    <a:pt x="44" y="5"/>
                    <a:pt x="44" y="4"/>
                  </a:cubicBezTo>
                  <a:cubicBezTo>
                    <a:pt x="38" y="4"/>
                    <a:pt x="32" y="3"/>
                    <a:pt x="26" y="2"/>
                  </a:cubicBezTo>
                  <a:cubicBezTo>
                    <a:pt x="17" y="1"/>
                    <a:pt x="8" y="1"/>
                    <a:pt x="0" y="0"/>
                  </a:cubicBezTo>
                </a:path>
              </a:pathLst>
            </a:custGeom>
            <a:solidFill>
              <a:srgbClr val="535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2DEEEA26-AFB9-4ADB-82F7-987D46366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219" y="5559069"/>
              <a:ext cx="95737" cy="37389"/>
            </a:xfrm>
            <a:custGeom>
              <a:avLst/>
              <a:gdLst>
                <a:gd name="T0" fmla="*/ 33 w 75"/>
                <a:gd name="T1" fmla="*/ 0 h 29"/>
                <a:gd name="T2" fmla="*/ 0 w 75"/>
                <a:gd name="T3" fmla="*/ 14 h 29"/>
                <a:gd name="T4" fmla="*/ 40 w 75"/>
                <a:gd name="T5" fmla="*/ 27 h 29"/>
                <a:gd name="T6" fmla="*/ 58 w 75"/>
                <a:gd name="T7" fmla="*/ 29 h 29"/>
                <a:gd name="T8" fmla="*/ 75 w 75"/>
                <a:gd name="T9" fmla="*/ 27 h 29"/>
                <a:gd name="T10" fmla="*/ 33 w 75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29">
                  <a:moveTo>
                    <a:pt x="33" y="0"/>
                  </a:moveTo>
                  <a:cubicBezTo>
                    <a:pt x="20" y="0"/>
                    <a:pt x="8" y="6"/>
                    <a:pt x="0" y="14"/>
                  </a:cubicBezTo>
                  <a:cubicBezTo>
                    <a:pt x="10" y="20"/>
                    <a:pt x="23" y="25"/>
                    <a:pt x="40" y="27"/>
                  </a:cubicBezTo>
                  <a:cubicBezTo>
                    <a:pt x="46" y="28"/>
                    <a:pt x="53" y="29"/>
                    <a:pt x="58" y="29"/>
                  </a:cubicBezTo>
                  <a:cubicBezTo>
                    <a:pt x="64" y="29"/>
                    <a:pt x="70" y="28"/>
                    <a:pt x="75" y="27"/>
                  </a:cubicBezTo>
                  <a:cubicBezTo>
                    <a:pt x="68" y="11"/>
                    <a:pt x="52" y="0"/>
                    <a:pt x="33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94325CF-E4E9-4DC2-9E20-76518EDE8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264" y="5405549"/>
              <a:ext cx="212435" cy="96304"/>
            </a:xfrm>
            <a:custGeom>
              <a:avLst/>
              <a:gdLst>
                <a:gd name="T0" fmla="*/ 28 w 167"/>
                <a:gd name="T1" fmla="*/ 0 h 76"/>
                <a:gd name="T2" fmla="*/ 23 w 167"/>
                <a:gd name="T3" fmla="*/ 0 h 76"/>
                <a:gd name="T4" fmla="*/ 22 w 167"/>
                <a:gd name="T5" fmla="*/ 0 h 76"/>
                <a:gd name="T6" fmla="*/ 19 w 167"/>
                <a:gd name="T7" fmla="*/ 0 h 76"/>
                <a:gd name="T8" fmla="*/ 12 w 167"/>
                <a:gd name="T9" fmla="*/ 1 h 76"/>
                <a:gd name="T10" fmla="*/ 0 w 167"/>
                <a:gd name="T11" fmla="*/ 76 h 76"/>
                <a:gd name="T12" fmla="*/ 12 w 167"/>
                <a:gd name="T13" fmla="*/ 1 h 76"/>
                <a:gd name="T14" fmla="*/ 19 w 167"/>
                <a:gd name="T15" fmla="*/ 0 h 76"/>
                <a:gd name="T16" fmla="*/ 22 w 167"/>
                <a:gd name="T17" fmla="*/ 0 h 76"/>
                <a:gd name="T18" fmla="*/ 23 w 167"/>
                <a:gd name="T19" fmla="*/ 0 h 76"/>
                <a:gd name="T20" fmla="*/ 28 w 167"/>
                <a:gd name="T21" fmla="*/ 0 h 76"/>
                <a:gd name="T22" fmla="*/ 62 w 167"/>
                <a:gd name="T23" fmla="*/ 1 h 76"/>
                <a:gd name="T24" fmla="*/ 88 w 167"/>
                <a:gd name="T25" fmla="*/ 3 h 76"/>
                <a:gd name="T26" fmla="*/ 106 w 167"/>
                <a:gd name="T27" fmla="*/ 5 h 76"/>
                <a:gd name="T28" fmla="*/ 166 w 167"/>
                <a:gd name="T29" fmla="*/ 36 h 76"/>
                <a:gd name="T30" fmla="*/ 167 w 167"/>
                <a:gd name="T31" fmla="*/ 46 h 76"/>
                <a:gd name="T32" fmla="*/ 166 w 167"/>
                <a:gd name="T33" fmla="*/ 36 h 76"/>
                <a:gd name="T34" fmla="*/ 88 w 167"/>
                <a:gd name="T35" fmla="*/ 3 h 76"/>
                <a:gd name="T36" fmla="*/ 28 w 167"/>
                <a:gd name="T3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7" h="76"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54"/>
                    <a:pt x="5" y="28"/>
                    <a:pt x="12" y="1"/>
                  </a:cubicBezTo>
                  <a:cubicBezTo>
                    <a:pt x="14" y="0"/>
                    <a:pt x="17" y="0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37" y="0"/>
                    <a:pt x="49" y="1"/>
                    <a:pt x="62" y="1"/>
                  </a:cubicBezTo>
                  <a:cubicBezTo>
                    <a:pt x="70" y="2"/>
                    <a:pt x="79" y="2"/>
                    <a:pt x="88" y="3"/>
                  </a:cubicBezTo>
                  <a:cubicBezTo>
                    <a:pt x="94" y="4"/>
                    <a:pt x="100" y="5"/>
                    <a:pt x="106" y="5"/>
                  </a:cubicBezTo>
                  <a:cubicBezTo>
                    <a:pt x="144" y="11"/>
                    <a:pt x="165" y="22"/>
                    <a:pt x="166" y="36"/>
                  </a:cubicBezTo>
                  <a:cubicBezTo>
                    <a:pt x="167" y="39"/>
                    <a:pt x="167" y="43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0"/>
                    <a:pt x="138" y="8"/>
                    <a:pt x="88" y="3"/>
                  </a:cubicBezTo>
                  <a:cubicBezTo>
                    <a:pt x="66" y="1"/>
                    <a:pt x="44" y="0"/>
                    <a:pt x="28" y="0"/>
                  </a:cubicBezTo>
                </a:path>
              </a:pathLst>
            </a:custGeom>
            <a:solidFill>
              <a:srgbClr val="8B6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CCF68048-D448-4D44-8F92-2D1A630BDA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328" y="5444638"/>
              <a:ext cx="210169" cy="179579"/>
            </a:xfrm>
            <a:custGeom>
              <a:avLst/>
              <a:gdLst>
                <a:gd name="T0" fmla="*/ 69 w 165"/>
                <a:gd name="T1" fmla="*/ 66 h 141"/>
                <a:gd name="T2" fmla="*/ 58 w 165"/>
                <a:gd name="T3" fmla="*/ 55 h 141"/>
                <a:gd name="T4" fmla="*/ 69 w 165"/>
                <a:gd name="T5" fmla="*/ 44 h 141"/>
                <a:gd name="T6" fmla="*/ 80 w 165"/>
                <a:gd name="T7" fmla="*/ 55 h 141"/>
                <a:gd name="T8" fmla="*/ 69 w 165"/>
                <a:gd name="T9" fmla="*/ 66 h 141"/>
                <a:gd name="T10" fmla="*/ 60 w 165"/>
                <a:gd name="T11" fmla="*/ 0 h 141"/>
                <a:gd name="T12" fmla="*/ 5 w 165"/>
                <a:gd name="T13" fmla="*/ 19 h 141"/>
                <a:gd name="T14" fmla="*/ 0 w 165"/>
                <a:gd name="T15" fmla="*/ 59 h 141"/>
                <a:gd name="T16" fmla="*/ 0 w 165"/>
                <a:gd name="T17" fmla="*/ 61 h 141"/>
                <a:gd name="T18" fmla="*/ 0 w 165"/>
                <a:gd name="T19" fmla="*/ 61 h 141"/>
                <a:gd name="T20" fmla="*/ 0 w 165"/>
                <a:gd name="T21" fmla="*/ 61 h 141"/>
                <a:gd name="T22" fmla="*/ 0 w 165"/>
                <a:gd name="T23" fmla="*/ 61 h 141"/>
                <a:gd name="T24" fmla="*/ 0 w 165"/>
                <a:gd name="T25" fmla="*/ 61 h 141"/>
                <a:gd name="T26" fmla="*/ 16 w 165"/>
                <a:gd name="T27" fmla="*/ 120 h 141"/>
                <a:gd name="T28" fmla="*/ 43 w 165"/>
                <a:gd name="T29" fmla="*/ 141 h 141"/>
                <a:gd name="T30" fmla="*/ 87 w 165"/>
                <a:gd name="T31" fmla="*/ 107 h 141"/>
                <a:gd name="T32" fmla="*/ 131 w 165"/>
                <a:gd name="T33" fmla="*/ 138 h 141"/>
                <a:gd name="T34" fmla="*/ 143 w 165"/>
                <a:gd name="T35" fmla="*/ 129 h 141"/>
                <a:gd name="T36" fmla="*/ 165 w 165"/>
                <a:gd name="T37" fmla="*/ 46 h 141"/>
                <a:gd name="T38" fmla="*/ 164 w 165"/>
                <a:gd name="T39" fmla="*/ 14 h 141"/>
                <a:gd name="T40" fmla="*/ 154 w 165"/>
                <a:gd name="T41" fmla="*/ 12 h 141"/>
                <a:gd name="T42" fmla="*/ 152 w 165"/>
                <a:gd name="T43" fmla="*/ 11 h 141"/>
                <a:gd name="T44" fmla="*/ 60 w 165"/>
                <a:gd name="T4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141">
                  <a:moveTo>
                    <a:pt x="69" y="66"/>
                  </a:moveTo>
                  <a:cubicBezTo>
                    <a:pt x="63" y="66"/>
                    <a:pt x="58" y="61"/>
                    <a:pt x="58" y="55"/>
                  </a:cubicBezTo>
                  <a:cubicBezTo>
                    <a:pt x="58" y="49"/>
                    <a:pt x="63" y="44"/>
                    <a:pt x="69" y="44"/>
                  </a:cubicBezTo>
                  <a:cubicBezTo>
                    <a:pt x="75" y="44"/>
                    <a:pt x="80" y="49"/>
                    <a:pt x="80" y="55"/>
                  </a:cubicBezTo>
                  <a:cubicBezTo>
                    <a:pt x="80" y="61"/>
                    <a:pt x="75" y="66"/>
                    <a:pt x="69" y="66"/>
                  </a:cubicBezTo>
                  <a:moveTo>
                    <a:pt x="60" y="0"/>
                  </a:moveTo>
                  <a:cubicBezTo>
                    <a:pt x="31" y="0"/>
                    <a:pt x="9" y="5"/>
                    <a:pt x="5" y="19"/>
                  </a:cubicBezTo>
                  <a:cubicBezTo>
                    <a:pt x="2" y="31"/>
                    <a:pt x="0" y="45"/>
                    <a:pt x="0" y="59"/>
                  </a:cubicBezTo>
                  <a:cubicBezTo>
                    <a:pt x="0" y="60"/>
                    <a:pt x="0" y="60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3"/>
                    <a:pt x="4" y="104"/>
                    <a:pt x="16" y="120"/>
                  </a:cubicBezTo>
                  <a:cubicBezTo>
                    <a:pt x="23" y="129"/>
                    <a:pt x="32" y="136"/>
                    <a:pt x="43" y="141"/>
                  </a:cubicBezTo>
                  <a:cubicBezTo>
                    <a:pt x="49" y="121"/>
                    <a:pt x="66" y="107"/>
                    <a:pt x="87" y="107"/>
                  </a:cubicBezTo>
                  <a:cubicBezTo>
                    <a:pt x="108" y="107"/>
                    <a:pt x="125" y="120"/>
                    <a:pt x="131" y="138"/>
                  </a:cubicBezTo>
                  <a:cubicBezTo>
                    <a:pt x="135" y="135"/>
                    <a:pt x="139" y="132"/>
                    <a:pt x="143" y="129"/>
                  </a:cubicBezTo>
                  <a:cubicBezTo>
                    <a:pt x="160" y="111"/>
                    <a:pt x="165" y="82"/>
                    <a:pt x="165" y="46"/>
                  </a:cubicBezTo>
                  <a:cubicBezTo>
                    <a:pt x="165" y="36"/>
                    <a:pt x="164" y="25"/>
                    <a:pt x="164" y="14"/>
                  </a:cubicBezTo>
                  <a:cubicBezTo>
                    <a:pt x="161" y="13"/>
                    <a:pt x="157" y="12"/>
                    <a:pt x="154" y="12"/>
                  </a:cubicBezTo>
                  <a:cubicBezTo>
                    <a:pt x="153" y="12"/>
                    <a:pt x="153" y="11"/>
                    <a:pt x="152" y="11"/>
                  </a:cubicBezTo>
                  <a:cubicBezTo>
                    <a:pt x="123" y="5"/>
                    <a:pt x="88" y="0"/>
                    <a:pt x="60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4">
              <a:extLst>
                <a:ext uri="{FF2B5EF4-FFF2-40B4-BE49-F238E27FC236}">
                  <a16:creationId xmlns:a16="http://schemas.microsoft.com/office/drawing/2014/main" id="{9FCC4E03-B4C0-4377-A857-64CDB658C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757CE6EF-4782-4D7F-AD1B-E96039E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278" y="5581163"/>
              <a:ext cx="111599" cy="52117"/>
            </a:xfrm>
            <a:custGeom>
              <a:avLst/>
              <a:gdLst>
                <a:gd name="T0" fmla="*/ 44 w 88"/>
                <a:gd name="T1" fmla="*/ 0 h 41"/>
                <a:gd name="T2" fmla="*/ 0 w 88"/>
                <a:gd name="T3" fmla="*/ 34 h 41"/>
                <a:gd name="T4" fmla="*/ 35 w 88"/>
                <a:gd name="T5" fmla="*/ 41 h 41"/>
                <a:gd name="T6" fmla="*/ 42 w 88"/>
                <a:gd name="T7" fmla="*/ 41 h 41"/>
                <a:gd name="T8" fmla="*/ 88 w 88"/>
                <a:gd name="T9" fmla="*/ 31 h 41"/>
                <a:gd name="T10" fmla="*/ 44 w 88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1">
                  <a:moveTo>
                    <a:pt x="44" y="0"/>
                  </a:moveTo>
                  <a:cubicBezTo>
                    <a:pt x="23" y="0"/>
                    <a:pt x="6" y="14"/>
                    <a:pt x="0" y="34"/>
                  </a:cubicBezTo>
                  <a:cubicBezTo>
                    <a:pt x="10" y="38"/>
                    <a:pt x="22" y="40"/>
                    <a:pt x="35" y="41"/>
                  </a:cubicBezTo>
                  <a:cubicBezTo>
                    <a:pt x="37" y="41"/>
                    <a:pt x="40" y="41"/>
                    <a:pt x="42" y="41"/>
                  </a:cubicBezTo>
                  <a:cubicBezTo>
                    <a:pt x="61" y="41"/>
                    <a:pt x="76" y="38"/>
                    <a:pt x="88" y="31"/>
                  </a:cubicBezTo>
                  <a:cubicBezTo>
                    <a:pt x="82" y="13"/>
                    <a:pt x="65" y="0"/>
                    <a:pt x="44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A38A9622-0501-4371-873C-1C5395DFF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794" y="5842883"/>
              <a:ext cx="553465" cy="557430"/>
            </a:xfrm>
            <a:custGeom>
              <a:avLst/>
              <a:gdLst>
                <a:gd name="T0" fmla="*/ 5 w 435"/>
                <a:gd name="T1" fmla="*/ 54 h 438"/>
                <a:gd name="T2" fmla="*/ 265 w 435"/>
                <a:gd name="T3" fmla="*/ 158 h 438"/>
                <a:gd name="T4" fmla="*/ 303 w 435"/>
                <a:gd name="T5" fmla="*/ 151 h 438"/>
                <a:gd name="T6" fmla="*/ 299 w 435"/>
                <a:gd name="T7" fmla="*/ 47 h 438"/>
                <a:gd name="T8" fmla="*/ 328 w 435"/>
                <a:gd name="T9" fmla="*/ 14 h 438"/>
                <a:gd name="T10" fmla="*/ 358 w 435"/>
                <a:gd name="T11" fmla="*/ 0 h 438"/>
                <a:gd name="T12" fmla="*/ 370 w 435"/>
                <a:gd name="T13" fmla="*/ 92 h 438"/>
                <a:gd name="T14" fmla="*/ 426 w 435"/>
                <a:gd name="T15" fmla="*/ 185 h 438"/>
                <a:gd name="T16" fmla="*/ 434 w 435"/>
                <a:gd name="T17" fmla="*/ 219 h 438"/>
                <a:gd name="T18" fmla="*/ 425 w 435"/>
                <a:gd name="T19" fmla="*/ 350 h 438"/>
                <a:gd name="T20" fmla="*/ 254 w 435"/>
                <a:gd name="T21" fmla="*/ 438 h 438"/>
                <a:gd name="T22" fmla="*/ 98 w 435"/>
                <a:gd name="T23" fmla="*/ 339 h 438"/>
                <a:gd name="T24" fmla="*/ 145 w 435"/>
                <a:gd name="T25" fmla="*/ 193 h 438"/>
                <a:gd name="T26" fmla="*/ 20 w 435"/>
                <a:gd name="T27" fmla="*/ 121 h 438"/>
                <a:gd name="T28" fmla="*/ 2 w 435"/>
                <a:gd name="T29" fmla="*/ 84 h 438"/>
                <a:gd name="T30" fmla="*/ 5 w 435"/>
                <a:gd name="T31" fmla="*/ 54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5" h="438">
                  <a:moveTo>
                    <a:pt x="5" y="54"/>
                  </a:moveTo>
                  <a:cubicBezTo>
                    <a:pt x="265" y="158"/>
                    <a:pt x="265" y="158"/>
                    <a:pt x="265" y="158"/>
                  </a:cubicBezTo>
                  <a:cubicBezTo>
                    <a:pt x="303" y="151"/>
                    <a:pt x="303" y="151"/>
                    <a:pt x="303" y="151"/>
                  </a:cubicBezTo>
                  <a:cubicBezTo>
                    <a:pt x="303" y="151"/>
                    <a:pt x="286" y="90"/>
                    <a:pt x="299" y="47"/>
                  </a:cubicBezTo>
                  <a:cubicBezTo>
                    <a:pt x="303" y="32"/>
                    <a:pt x="314" y="20"/>
                    <a:pt x="328" y="14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70" y="92"/>
                    <a:pt x="370" y="92"/>
                    <a:pt x="370" y="92"/>
                  </a:cubicBezTo>
                  <a:cubicBezTo>
                    <a:pt x="426" y="185"/>
                    <a:pt x="426" y="185"/>
                    <a:pt x="426" y="185"/>
                  </a:cubicBezTo>
                  <a:cubicBezTo>
                    <a:pt x="432" y="196"/>
                    <a:pt x="435" y="208"/>
                    <a:pt x="434" y="219"/>
                  </a:cubicBezTo>
                  <a:cubicBezTo>
                    <a:pt x="425" y="350"/>
                    <a:pt x="425" y="350"/>
                    <a:pt x="425" y="350"/>
                  </a:cubicBezTo>
                  <a:cubicBezTo>
                    <a:pt x="254" y="438"/>
                    <a:pt x="254" y="438"/>
                    <a:pt x="254" y="438"/>
                  </a:cubicBezTo>
                  <a:cubicBezTo>
                    <a:pt x="98" y="339"/>
                    <a:pt x="98" y="339"/>
                    <a:pt x="98" y="339"/>
                  </a:cubicBezTo>
                  <a:cubicBezTo>
                    <a:pt x="145" y="193"/>
                    <a:pt x="145" y="193"/>
                    <a:pt x="145" y="19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7" y="114"/>
                    <a:pt x="0" y="99"/>
                    <a:pt x="2" y="84"/>
                  </a:cubicBezTo>
                  <a:lnTo>
                    <a:pt x="5" y="54"/>
                  </a:lnTo>
                  <a:close/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04ADEE6B-89BF-43D8-8835-2078CBC94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2" y="6288713"/>
              <a:ext cx="290045" cy="218667"/>
            </a:xfrm>
            <a:custGeom>
              <a:avLst/>
              <a:gdLst>
                <a:gd name="T0" fmla="*/ 0 w 512"/>
                <a:gd name="T1" fmla="*/ 197 h 386"/>
                <a:gd name="T2" fmla="*/ 56 w 512"/>
                <a:gd name="T3" fmla="*/ 386 h 386"/>
                <a:gd name="T4" fmla="*/ 512 w 512"/>
                <a:gd name="T5" fmla="*/ 150 h 386"/>
                <a:gd name="T6" fmla="*/ 384 w 512"/>
                <a:gd name="T7" fmla="*/ 0 h 386"/>
                <a:gd name="T8" fmla="*/ 0 w 512"/>
                <a:gd name="T9" fmla="*/ 19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2" h="386">
                  <a:moveTo>
                    <a:pt x="0" y="197"/>
                  </a:moveTo>
                  <a:lnTo>
                    <a:pt x="56" y="386"/>
                  </a:lnTo>
                  <a:lnTo>
                    <a:pt x="512" y="150"/>
                  </a:lnTo>
                  <a:lnTo>
                    <a:pt x="384" y="0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569EA4B-FEAA-43D8-90CD-383BBE26E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6373688"/>
              <a:ext cx="744070" cy="484313"/>
            </a:xfrm>
            <a:custGeom>
              <a:avLst/>
              <a:gdLst>
                <a:gd name="connsiteX0" fmla="*/ 258323 w 744070"/>
                <a:gd name="connsiteY0" fmla="*/ 0 h 484313"/>
                <a:gd name="connsiteX1" fmla="*/ 709296 w 744070"/>
                <a:gd name="connsiteY1" fmla="*/ 449641 h 484313"/>
                <a:gd name="connsiteX2" fmla="*/ 744070 w 744070"/>
                <a:gd name="connsiteY2" fmla="*/ 484313 h 484313"/>
                <a:gd name="connsiteX3" fmla="*/ 100204 w 744070"/>
                <a:gd name="connsiteY3" fmla="*/ 484313 h 484313"/>
                <a:gd name="connsiteX4" fmla="*/ 64825 w 744070"/>
                <a:gd name="connsiteY4" fmla="*/ 360345 h 484313"/>
                <a:gd name="connsiteX5" fmla="*/ 0 w 744070"/>
                <a:gd name="connsiteY5" fmla="*/ 133657 h 484313"/>
                <a:gd name="connsiteX6" fmla="*/ 258323 w 744070"/>
                <a:gd name="connsiteY6" fmla="*/ 0 h 48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4070" h="484313">
                  <a:moveTo>
                    <a:pt x="258323" y="0"/>
                  </a:moveTo>
                  <a:cubicBezTo>
                    <a:pt x="453338" y="194440"/>
                    <a:pt x="599600" y="340269"/>
                    <a:pt x="709296" y="449641"/>
                  </a:cubicBezTo>
                  <a:lnTo>
                    <a:pt x="744070" y="484313"/>
                  </a:lnTo>
                  <a:lnTo>
                    <a:pt x="100204" y="484313"/>
                  </a:lnTo>
                  <a:lnTo>
                    <a:pt x="64825" y="360345"/>
                  </a:lnTo>
                  <a:cubicBezTo>
                    <a:pt x="28811" y="234258"/>
                    <a:pt x="0" y="133657"/>
                    <a:pt x="0" y="133657"/>
                  </a:cubicBezTo>
                  <a:cubicBezTo>
                    <a:pt x="258323" y="0"/>
                    <a:pt x="258323" y="0"/>
                    <a:pt x="258323" y="0"/>
                  </a:cubicBez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E72188F-8710-49E0-BF9D-F5733D01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03" y="6390116"/>
              <a:ext cx="497353" cy="467884"/>
            </a:xfrm>
            <a:custGeom>
              <a:avLst/>
              <a:gdLst>
                <a:gd name="connsiteX0" fmla="*/ 66280 w 497353"/>
                <a:gd name="connsiteY0" fmla="*/ 0 h 467884"/>
                <a:gd name="connsiteX1" fmla="*/ 497353 w 497353"/>
                <a:gd name="connsiteY1" fmla="*/ 467884 h 467884"/>
                <a:gd name="connsiteX2" fmla="*/ 355878 w 497353"/>
                <a:gd name="connsiteY2" fmla="*/ 467884 h 467884"/>
                <a:gd name="connsiteX3" fmla="*/ 0 w 497353"/>
                <a:gd name="connsiteY3" fmla="*/ 34556 h 46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353" h="467884">
                  <a:moveTo>
                    <a:pt x="66280" y="0"/>
                  </a:moveTo>
                  <a:lnTo>
                    <a:pt x="497353" y="467884"/>
                  </a:lnTo>
                  <a:lnTo>
                    <a:pt x="355878" y="467884"/>
                  </a:lnTo>
                  <a:lnTo>
                    <a:pt x="0" y="34556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AD6FF684-B0F4-496B-9117-5B849A063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423" y="6086475"/>
              <a:ext cx="380684" cy="313838"/>
            </a:xfrm>
            <a:custGeom>
              <a:avLst/>
              <a:gdLst>
                <a:gd name="T0" fmla="*/ 672 w 672"/>
                <a:gd name="T1" fmla="*/ 386 h 554"/>
                <a:gd name="T2" fmla="*/ 294 w 672"/>
                <a:gd name="T3" fmla="*/ 0 h 554"/>
                <a:gd name="T4" fmla="*/ 0 w 672"/>
                <a:gd name="T5" fmla="*/ 332 h 554"/>
                <a:gd name="T6" fmla="*/ 351 w 672"/>
                <a:gd name="T7" fmla="*/ 554 h 554"/>
                <a:gd name="T8" fmla="*/ 672 w 672"/>
                <a:gd name="T9" fmla="*/ 38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554">
                  <a:moveTo>
                    <a:pt x="672" y="386"/>
                  </a:moveTo>
                  <a:lnTo>
                    <a:pt x="294" y="0"/>
                  </a:lnTo>
                  <a:lnTo>
                    <a:pt x="0" y="332"/>
                  </a:lnTo>
                  <a:lnTo>
                    <a:pt x="351" y="554"/>
                  </a:lnTo>
                  <a:lnTo>
                    <a:pt x="672" y="386"/>
                  </a:lnTo>
                  <a:close/>
                </a:path>
              </a:pathLst>
            </a:custGeom>
            <a:solidFill>
              <a:srgbClr val="F9B8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51">
              <a:extLst>
                <a:ext uri="{FF2B5EF4-FFF2-40B4-BE49-F238E27FC236}">
                  <a16:creationId xmlns:a16="http://schemas.microsoft.com/office/drawing/2014/main" id="{7B380E24-A29C-41FE-A352-4636DFF4A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221" y="6783829"/>
              <a:ext cx="265119" cy="44187"/>
            </a:xfrm>
            <a:prstGeom prst="rect">
              <a:avLst/>
            </a:pr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Arc 84">
            <a:extLst>
              <a:ext uri="{FF2B5EF4-FFF2-40B4-BE49-F238E27FC236}">
                <a16:creationId xmlns:a16="http://schemas.microsoft.com/office/drawing/2014/main" id="{3FDE2E32-55A1-47D4-8BA3-A74AA58710FC}"/>
              </a:ext>
            </a:extLst>
          </p:cNvPr>
          <p:cNvSpPr/>
          <p:nvPr/>
        </p:nvSpPr>
        <p:spPr>
          <a:xfrm>
            <a:off x="6092634" y="1866901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F006245B-CF7C-459E-96E6-9C5B6F3A727A}"/>
              </a:ext>
            </a:extLst>
          </p:cNvPr>
          <p:cNvSpPr/>
          <p:nvPr/>
        </p:nvSpPr>
        <p:spPr>
          <a:xfrm flipH="1">
            <a:off x="5117104" y="2689226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Arc 86">
            <a:extLst>
              <a:ext uri="{FF2B5EF4-FFF2-40B4-BE49-F238E27FC236}">
                <a16:creationId xmlns:a16="http://schemas.microsoft.com/office/drawing/2014/main" id="{34219E64-6959-4878-8FA7-2BEB46A31060}"/>
              </a:ext>
            </a:extLst>
          </p:cNvPr>
          <p:cNvSpPr/>
          <p:nvPr/>
        </p:nvSpPr>
        <p:spPr>
          <a:xfrm>
            <a:off x="6092634" y="3504752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Arc 87">
            <a:extLst>
              <a:ext uri="{FF2B5EF4-FFF2-40B4-BE49-F238E27FC236}">
                <a16:creationId xmlns:a16="http://schemas.microsoft.com/office/drawing/2014/main" id="{65E216E0-C32C-440F-AAB5-139A4374FFFF}"/>
              </a:ext>
            </a:extLst>
          </p:cNvPr>
          <p:cNvSpPr/>
          <p:nvPr/>
        </p:nvSpPr>
        <p:spPr>
          <a:xfrm flipH="1">
            <a:off x="5117104" y="4327077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9A63EE7D-5057-4B8E-8757-B9E740D440F8}"/>
              </a:ext>
            </a:extLst>
          </p:cNvPr>
          <p:cNvSpPr/>
          <p:nvPr/>
        </p:nvSpPr>
        <p:spPr>
          <a:xfrm>
            <a:off x="6503025" y="14986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86E19F7B-2058-4825-89DB-B751C993E96C}"/>
              </a:ext>
            </a:extLst>
          </p:cNvPr>
          <p:cNvSpPr/>
          <p:nvPr/>
        </p:nvSpPr>
        <p:spPr>
          <a:xfrm>
            <a:off x="6503025" y="31191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DDF2124-B230-4F3B-9077-EAE3F12511A3}"/>
              </a:ext>
            </a:extLst>
          </p:cNvPr>
          <p:cNvSpPr/>
          <p:nvPr/>
        </p:nvSpPr>
        <p:spPr>
          <a:xfrm>
            <a:off x="4928606" y="3944933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61CF362-72A2-4C2D-8DDA-229C19A034B8}"/>
              </a:ext>
            </a:extLst>
          </p:cNvPr>
          <p:cNvSpPr/>
          <p:nvPr/>
        </p:nvSpPr>
        <p:spPr>
          <a:xfrm>
            <a:off x="4928606" y="2315367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7F98DE7-6D5C-4AAB-AB76-499E06BB19E1}"/>
              </a:ext>
            </a:extLst>
          </p:cNvPr>
          <p:cNvSpPr/>
          <p:nvPr/>
        </p:nvSpPr>
        <p:spPr>
          <a:xfrm>
            <a:off x="6656116" y="16516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218963C-54BE-40FA-B0AC-376E38B5298A}"/>
              </a:ext>
            </a:extLst>
          </p:cNvPr>
          <p:cNvSpPr/>
          <p:nvPr/>
        </p:nvSpPr>
        <p:spPr>
          <a:xfrm>
            <a:off x="6656116" y="32721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6BC5FD4B-CC98-4B20-94B1-1FAF5D5488A7}"/>
              </a:ext>
            </a:extLst>
          </p:cNvPr>
          <p:cNvSpPr/>
          <p:nvPr/>
        </p:nvSpPr>
        <p:spPr>
          <a:xfrm>
            <a:off x="5081697" y="4098024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E46B063A-AE2E-4FDB-B04E-ABFAA771C3CD}"/>
              </a:ext>
            </a:extLst>
          </p:cNvPr>
          <p:cNvSpPr/>
          <p:nvPr/>
        </p:nvSpPr>
        <p:spPr>
          <a:xfrm>
            <a:off x="5081697" y="2468458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Subtitle 176">
            <a:extLst>
              <a:ext uri="{FF2B5EF4-FFF2-40B4-BE49-F238E27FC236}">
                <a16:creationId xmlns:a16="http://schemas.microsoft.com/office/drawing/2014/main" id="{9F1FCAC1-077D-4E23-9DEE-33F5BDA7CF56}"/>
              </a:ext>
            </a:extLst>
          </p:cNvPr>
          <p:cNvSpPr txBox="1">
            <a:spLocks/>
          </p:cNvSpPr>
          <p:nvPr/>
        </p:nvSpPr>
        <p:spPr>
          <a:xfrm>
            <a:off x="440306" y="1649767"/>
            <a:ext cx="4220388" cy="6647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pt-BR" sz="18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ectando soluções: sociedade, mercado e Universidade</a:t>
            </a:r>
            <a:endParaRPr lang="en-ID" sz="1800" b="1" i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ubtitle 176">
            <a:extLst>
              <a:ext uri="{FF2B5EF4-FFF2-40B4-BE49-F238E27FC236}">
                <a16:creationId xmlns:a16="http://schemas.microsoft.com/office/drawing/2014/main" id="{6D7C18E6-EDD1-4DC2-9B6B-0CBAF1E2AD60}"/>
              </a:ext>
            </a:extLst>
          </p:cNvPr>
          <p:cNvSpPr txBox="1">
            <a:spLocks/>
          </p:cNvSpPr>
          <p:nvPr/>
        </p:nvSpPr>
        <p:spPr>
          <a:xfrm>
            <a:off x="145891" y="4254840"/>
            <a:ext cx="4157302" cy="6647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sistema nacional de ciência, tecnologia e inovação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os do desenvolvimento científico-tecnológico no trabalho humano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ção: chave para o futuro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 planos nacionais para ciência, tecnologia e inovação</a:t>
            </a:r>
          </a:p>
          <a:p>
            <a:pPr marL="457200" algn="just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opriedade intelectual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67279C2-29BA-4EDC-AFAB-C926DD4E73BB}"/>
              </a:ext>
            </a:extLst>
          </p:cNvPr>
          <p:cNvGrpSpPr/>
          <p:nvPr/>
        </p:nvGrpSpPr>
        <p:grpSpPr>
          <a:xfrm>
            <a:off x="5197083" y="4269467"/>
            <a:ext cx="270746" cy="158632"/>
            <a:chOff x="4113213" y="4046538"/>
            <a:chExt cx="360363" cy="211138"/>
          </a:xfrm>
          <a:solidFill>
            <a:srgbClr val="FF4D67"/>
          </a:solidFill>
          <a:effectLst/>
        </p:grpSpPr>
        <p:sp>
          <p:nvSpPr>
            <p:cNvPr id="105" name="Freeform 84">
              <a:extLst>
                <a:ext uri="{FF2B5EF4-FFF2-40B4-BE49-F238E27FC236}">
                  <a16:creationId xmlns:a16="http://schemas.microsoft.com/office/drawing/2014/main" id="{D3F6DF5E-78B5-406D-AAD4-506C37608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85">
              <a:extLst>
                <a:ext uri="{FF2B5EF4-FFF2-40B4-BE49-F238E27FC236}">
                  <a16:creationId xmlns:a16="http://schemas.microsoft.com/office/drawing/2014/main" id="{D242F6A0-7E15-4A7D-98FF-193BE789C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725FA6C-624F-4D4D-A426-E14BAF461F09}"/>
              </a:ext>
            </a:extLst>
          </p:cNvPr>
          <p:cNvGrpSpPr/>
          <p:nvPr/>
        </p:nvGrpSpPr>
        <p:grpSpPr>
          <a:xfrm>
            <a:off x="6783809" y="1778842"/>
            <a:ext cx="246133" cy="247217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108" name="Freeform 63">
              <a:extLst>
                <a:ext uri="{FF2B5EF4-FFF2-40B4-BE49-F238E27FC236}">
                  <a16:creationId xmlns:a16="http://schemas.microsoft.com/office/drawing/2014/main" id="{7BE7B3F5-C19C-41B4-BFF8-188F7DC86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64">
              <a:extLst>
                <a:ext uri="{FF2B5EF4-FFF2-40B4-BE49-F238E27FC236}">
                  <a16:creationId xmlns:a16="http://schemas.microsoft.com/office/drawing/2014/main" id="{D7A157B6-45E0-433B-90AB-3E2894F33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65">
              <a:extLst>
                <a:ext uri="{FF2B5EF4-FFF2-40B4-BE49-F238E27FC236}">
                  <a16:creationId xmlns:a16="http://schemas.microsoft.com/office/drawing/2014/main" id="{8E049428-5E5A-4D31-B685-3173CD3EF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66">
              <a:extLst>
                <a:ext uri="{FF2B5EF4-FFF2-40B4-BE49-F238E27FC236}">
                  <a16:creationId xmlns:a16="http://schemas.microsoft.com/office/drawing/2014/main" id="{B70E1FAB-8775-4032-BCC0-35EC6166C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3EC0F959-C14D-4C63-8FC5-ADA2F38BEB9B}"/>
              </a:ext>
            </a:extLst>
          </p:cNvPr>
          <p:cNvGrpSpPr/>
          <p:nvPr/>
        </p:nvGrpSpPr>
        <p:grpSpPr>
          <a:xfrm>
            <a:off x="6795194" y="3399884"/>
            <a:ext cx="223362" cy="246133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113" name="Freeform 179">
              <a:extLst>
                <a:ext uri="{FF2B5EF4-FFF2-40B4-BE49-F238E27FC236}">
                  <a16:creationId xmlns:a16="http://schemas.microsoft.com/office/drawing/2014/main" id="{D2767634-0B9F-4149-BE70-82C8EF602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180">
              <a:extLst>
                <a:ext uri="{FF2B5EF4-FFF2-40B4-BE49-F238E27FC236}">
                  <a16:creationId xmlns:a16="http://schemas.microsoft.com/office/drawing/2014/main" id="{16A95282-1182-4865-9B66-25A9356F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181">
              <a:extLst>
                <a:ext uri="{FF2B5EF4-FFF2-40B4-BE49-F238E27FC236}">
                  <a16:creationId xmlns:a16="http://schemas.microsoft.com/office/drawing/2014/main" id="{936707BE-26FE-4009-A914-C40BD76BF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182">
              <a:extLst>
                <a:ext uri="{FF2B5EF4-FFF2-40B4-BE49-F238E27FC236}">
                  <a16:creationId xmlns:a16="http://schemas.microsoft.com/office/drawing/2014/main" id="{6E8DE9AF-7042-46D0-A8A0-F0D3C5F4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183">
              <a:extLst>
                <a:ext uri="{FF2B5EF4-FFF2-40B4-BE49-F238E27FC236}">
                  <a16:creationId xmlns:a16="http://schemas.microsoft.com/office/drawing/2014/main" id="{C00F1781-2E60-4AF8-806C-BB1839D6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8" name="Freeform 6">
            <a:extLst>
              <a:ext uri="{FF2B5EF4-FFF2-40B4-BE49-F238E27FC236}">
                <a16:creationId xmlns:a16="http://schemas.microsoft.com/office/drawing/2014/main" id="{250C5294-B36D-4B1A-85F8-194432DE6C41}"/>
              </a:ext>
            </a:extLst>
          </p:cNvPr>
          <p:cNvSpPr>
            <a:spLocks noEditPoints="1"/>
          </p:cNvSpPr>
          <p:nvPr/>
        </p:nvSpPr>
        <p:spPr bwMode="auto">
          <a:xfrm>
            <a:off x="6343581" y="5638298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E9472BF3-3C11-4E0A-A77F-0B25DC7F464A}"/>
              </a:ext>
            </a:extLst>
          </p:cNvPr>
          <p:cNvGrpSpPr/>
          <p:nvPr/>
        </p:nvGrpSpPr>
        <p:grpSpPr>
          <a:xfrm>
            <a:off x="5230749" y="2617062"/>
            <a:ext cx="203415" cy="204311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3169C4A-693A-4942-A036-7748D1478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3CEC476-94E1-441E-B7F1-5328A15DD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27EBCD0C-0AF1-4B66-8DB2-435DC9E2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4934A8A8-9F7E-4D85-843E-0169ABF4A5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33">
              <a:extLst>
                <a:ext uri="{FF2B5EF4-FFF2-40B4-BE49-F238E27FC236}">
                  <a16:creationId xmlns:a16="http://schemas.microsoft.com/office/drawing/2014/main" id="{5A8B153F-AE18-4207-BD7A-5FC94D53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34">
              <a:extLst>
                <a:ext uri="{FF2B5EF4-FFF2-40B4-BE49-F238E27FC236}">
                  <a16:creationId xmlns:a16="http://schemas.microsoft.com/office/drawing/2014/main" id="{92232B8F-0687-4D1F-AEED-4C13578CA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34" name="Subtitle 176">
            <a:extLst>
              <a:ext uri="{FF2B5EF4-FFF2-40B4-BE49-F238E27FC236}">
                <a16:creationId xmlns:a16="http://schemas.microsoft.com/office/drawing/2014/main" id="{1B280D24-9994-46E1-ABC0-0987DA8E2AD2}"/>
              </a:ext>
            </a:extLst>
          </p:cNvPr>
          <p:cNvSpPr txBox="1">
            <a:spLocks/>
          </p:cNvSpPr>
          <p:nvPr/>
        </p:nvSpPr>
        <p:spPr>
          <a:xfrm>
            <a:off x="1181845" y="1397267"/>
            <a:ext cx="3289892" cy="48702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ID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DCC42B88-2A82-4971-B05D-4EBD4BE15D71}"/>
              </a:ext>
            </a:extLst>
          </p:cNvPr>
          <p:cNvSpPr/>
          <p:nvPr/>
        </p:nvSpPr>
        <p:spPr>
          <a:xfrm>
            <a:off x="7151494" y="4643802"/>
            <a:ext cx="551670" cy="551670"/>
          </a:xfrm>
          <a:prstGeom prst="ellipse">
            <a:avLst/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6">
            <a:extLst>
              <a:ext uri="{FF2B5EF4-FFF2-40B4-BE49-F238E27FC236}">
                <a16:creationId xmlns:a16="http://schemas.microsoft.com/office/drawing/2014/main" id="{6A535A8B-478B-48EF-9C93-56E9FC114346}"/>
              </a:ext>
            </a:extLst>
          </p:cNvPr>
          <p:cNvSpPr>
            <a:spLocks noEditPoints="1"/>
          </p:cNvSpPr>
          <p:nvPr/>
        </p:nvSpPr>
        <p:spPr bwMode="auto">
          <a:xfrm>
            <a:off x="7275236" y="4760686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6" name="Subtitle 176">
            <a:extLst>
              <a:ext uri="{FF2B5EF4-FFF2-40B4-BE49-F238E27FC236}">
                <a16:creationId xmlns:a16="http://schemas.microsoft.com/office/drawing/2014/main" id="{C080DD58-D73F-4A8F-8512-A1DE4406DDDB}"/>
              </a:ext>
            </a:extLst>
          </p:cNvPr>
          <p:cNvSpPr txBox="1">
            <a:spLocks/>
          </p:cNvSpPr>
          <p:nvPr/>
        </p:nvSpPr>
        <p:spPr>
          <a:xfrm>
            <a:off x="7459943" y="2455345"/>
            <a:ext cx="3651790" cy="41225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ormulação do problema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definir os objetivos?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ustificativa de uma pesquisa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desenvolver base teórica para a pesquisa?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materializar a pesquisa?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eta e tabulação de dados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mo fazer a análise e a conclusão?</a:t>
            </a:r>
          </a:p>
          <a:p>
            <a:pPr marL="457200" algn="just"/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zando a pesquisa cientifica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ID" sz="1800" b="1" dirty="0">
              <a:solidFill>
                <a:srgbClr val="4443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Subtitle 176">
            <a:extLst>
              <a:ext uri="{FF2B5EF4-FFF2-40B4-BE49-F238E27FC236}">
                <a16:creationId xmlns:a16="http://schemas.microsoft.com/office/drawing/2014/main" id="{632EACD2-AC2E-4761-8661-30A1D2C84FD6}"/>
              </a:ext>
            </a:extLst>
          </p:cNvPr>
          <p:cNvSpPr txBox="1">
            <a:spLocks/>
          </p:cNvSpPr>
          <p:nvPr/>
        </p:nvSpPr>
        <p:spPr>
          <a:xfrm>
            <a:off x="7463816" y="1559808"/>
            <a:ext cx="4287878" cy="891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800" b="1" i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ão na massa: roteiro para elaborar trabalhos na universidade</a:t>
            </a:r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ID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206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>
            <a:extLst>
              <a:ext uri="{FF2B5EF4-FFF2-40B4-BE49-F238E27FC236}">
                <a16:creationId xmlns:a16="http://schemas.microsoft.com/office/drawing/2014/main" id="{FC055ECE-6A81-41FA-B505-F88566DB06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2" name="Object 81" hidden="1">
                        <a:extLst>
                          <a:ext uri="{FF2B5EF4-FFF2-40B4-BE49-F238E27FC236}">
                            <a16:creationId xmlns:a16="http://schemas.microsoft.com/office/drawing/2014/main" id="{FC055ECE-6A81-41FA-B505-F88566DB0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F798B784-8660-4753-8835-2E75FD9D2C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7" name="Rectangle: Top Corners Rounded 136">
            <a:extLst>
              <a:ext uri="{FF2B5EF4-FFF2-40B4-BE49-F238E27FC236}">
                <a16:creationId xmlns:a16="http://schemas.microsoft.com/office/drawing/2014/main" id="{D99CBC5E-8C4C-4961-9638-298344632A27}"/>
              </a:ext>
            </a:extLst>
          </p:cNvPr>
          <p:cNvSpPr/>
          <p:nvPr/>
        </p:nvSpPr>
        <p:spPr>
          <a:xfrm>
            <a:off x="6665" y="-24707"/>
            <a:ext cx="12185335" cy="1664758"/>
          </a:xfrm>
          <a:prstGeom prst="round2SameRect">
            <a:avLst>
              <a:gd name="adj1" fmla="val 0"/>
              <a:gd name="adj2" fmla="val 2478"/>
            </a:avLst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3F36C327-A4D4-4345-AE0D-9EBC60AF49C5}"/>
              </a:ext>
            </a:extLst>
          </p:cNvPr>
          <p:cNvSpPr/>
          <p:nvPr/>
        </p:nvSpPr>
        <p:spPr>
          <a:xfrm flipV="1">
            <a:off x="6982496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AA715A07-50A7-4B93-9E41-211CE0437E61}"/>
              </a:ext>
            </a:extLst>
          </p:cNvPr>
          <p:cNvSpPr/>
          <p:nvPr/>
        </p:nvSpPr>
        <p:spPr>
          <a:xfrm flipH="1">
            <a:off x="0" y="-36496"/>
            <a:ext cx="5209504" cy="1661562"/>
          </a:xfrm>
          <a:custGeom>
            <a:avLst/>
            <a:gdLst>
              <a:gd name="connsiteX0" fmla="*/ 5032360 w 5209504"/>
              <a:gd name="connsiteY0" fmla="*/ 529 h 2513187"/>
              <a:gd name="connsiteX1" fmla="*/ 5178434 w 5209504"/>
              <a:gd name="connsiteY1" fmla="*/ 13100 h 2513187"/>
              <a:gd name="connsiteX2" fmla="*/ 5209504 w 5209504"/>
              <a:gd name="connsiteY2" fmla="*/ 20372 h 2513187"/>
              <a:gd name="connsiteX3" fmla="*/ 5209504 w 5209504"/>
              <a:gd name="connsiteY3" fmla="*/ 2513187 h 2513187"/>
              <a:gd name="connsiteX4" fmla="*/ 14515 w 5209504"/>
              <a:gd name="connsiteY4" fmla="*/ 2513187 h 2513187"/>
              <a:gd name="connsiteX5" fmla="*/ 11239 w 5209504"/>
              <a:gd name="connsiteY5" fmla="*/ 2511484 h 2513187"/>
              <a:gd name="connsiteX6" fmla="*/ 2503 w 5209504"/>
              <a:gd name="connsiteY6" fmla="*/ 2487789 h 2513187"/>
              <a:gd name="connsiteX7" fmla="*/ 3431503 w 5209504"/>
              <a:gd name="connsiteY7" fmla="*/ 2284589 h 2513187"/>
              <a:gd name="connsiteX8" fmla="*/ 3749003 w 5209504"/>
              <a:gd name="connsiteY8" fmla="*/ 430389 h 2513187"/>
              <a:gd name="connsiteX9" fmla="*/ 5032360 w 5209504"/>
              <a:gd name="connsiteY9" fmla="*/ 529 h 2513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09504" h="2513187">
                <a:moveTo>
                  <a:pt x="5032360" y="529"/>
                </a:moveTo>
                <a:cubicBezTo>
                  <a:pt x="5083246" y="1911"/>
                  <a:pt x="5132188" y="6020"/>
                  <a:pt x="5178434" y="13100"/>
                </a:cubicBezTo>
                <a:lnTo>
                  <a:pt x="5209504" y="20372"/>
                </a:lnTo>
                <a:lnTo>
                  <a:pt x="5209504" y="2513187"/>
                </a:lnTo>
                <a:lnTo>
                  <a:pt x="14515" y="2513187"/>
                </a:lnTo>
                <a:lnTo>
                  <a:pt x="11239" y="2511484"/>
                </a:lnTo>
                <a:cubicBezTo>
                  <a:pt x="395" y="2502746"/>
                  <a:pt x="-2789" y="2494801"/>
                  <a:pt x="2503" y="2487789"/>
                </a:cubicBezTo>
                <a:cubicBezTo>
                  <a:pt x="87170" y="2375606"/>
                  <a:pt x="2807086" y="2627489"/>
                  <a:pt x="3431503" y="2284589"/>
                </a:cubicBezTo>
                <a:cubicBezTo>
                  <a:pt x="4055920" y="1941689"/>
                  <a:pt x="3403986" y="783872"/>
                  <a:pt x="3749003" y="430389"/>
                </a:cubicBezTo>
                <a:cubicBezTo>
                  <a:pt x="3986202" y="187370"/>
                  <a:pt x="4584566" y="-11630"/>
                  <a:pt x="5032360" y="529"/>
                </a:cubicBezTo>
                <a:close/>
              </a:path>
            </a:pathLst>
          </a:custGeom>
          <a:solidFill>
            <a:srgbClr val="FE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578FF5FA-115B-4620-9C5C-7337B165D625}"/>
              </a:ext>
            </a:extLst>
          </p:cNvPr>
          <p:cNvSpPr/>
          <p:nvPr/>
        </p:nvSpPr>
        <p:spPr>
          <a:xfrm>
            <a:off x="213815" y="1635834"/>
            <a:ext cx="11799994" cy="5222166"/>
          </a:xfrm>
          <a:prstGeom prst="roundRect">
            <a:avLst>
              <a:gd name="adj" fmla="val 31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14134D27-3E47-4359-8650-B6B335CCC3D6}"/>
              </a:ext>
            </a:extLst>
          </p:cNvPr>
          <p:cNvSpPr/>
          <p:nvPr/>
        </p:nvSpPr>
        <p:spPr>
          <a:xfrm>
            <a:off x="6029814" y="2189776"/>
            <a:ext cx="132373" cy="3709189"/>
          </a:xfrm>
          <a:prstGeom prst="roundRect">
            <a:avLst>
              <a:gd name="adj" fmla="val 50000"/>
            </a:avLst>
          </a:prstGeom>
          <a:solidFill>
            <a:srgbClr val="605E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EA63-54EB-47BB-9461-D8BC77BEB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 err="1"/>
              <a:t>Unidade</a:t>
            </a:r>
            <a:r>
              <a:rPr lang="en-US" sz="3000" dirty="0"/>
              <a:t> 5: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6EEA6F0F-EC9D-4F77-9E8A-682A78F2C1B0}"/>
              </a:ext>
            </a:extLst>
          </p:cNvPr>
          <p:cNvSpPr/>
          <p:nvPr/>
        </p:nvSpPr>
        <p:spPr>
          <a:xfrm>
            <a:off x="4438650" y="5200650"/>
            <a:ext cx="3314700" cy="1657350"/>
          </a:xfrm>
          <a:custGeom>
            <a:avLst/>
            <a:gdLst>
              <a:gd name="connsiteX0" fmla="*/ 1657350 w 3314700"/>
              <a:gd name="connsiteY0" fmla="*/ 0 h 1657350"/>
              <a:gd name="connsiteX1" fmla="*/ 3314700 w 3314700"/>
              <a:gd name="connsiteY1" fmla="*/ 1657350 h 1657350"/>
              <a:gd name="connsiteX2" fmla="*/ 0 w 3314700"/>
              <a:gd name="connsiteY2" fmla="*/ 1657350 h 1657350"/>
              <a:gd name="connsiteX3" fmla="*/ 1657350 w 3314700"/>
              <a:gd name="connsiteY3" fmla="*/ 0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4700" h="1657350">
                <a:moveTo>
                  <a:pt x="1657350" y="0"/>
                </a:moveTo>
                <a:cubicBezTo>
                  <a:pt x="2572679" y="0"/>
                  <a:pt x="3314700" y="742021"/>
                  <a:pt x="3314700" y="1657350"/>
                </a:cubicBezTo>
                <a:lnTo>
                  <a:pt x="0" y="1657350"/>
                </a:lnTo>
                <a:cubicBezTo>
                  <a:pt x="0" y="742021"/>
                  <a:pt x="742021" y="0"/>
                  <a:pt x="1657350" y="0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5642798-B6EF-4EA9-B787-15DFC069FB4B}"/>
              </a:ext>
            </a:extLst>
          </p:cNvPr>
          <p:cNvGrpSpPr/>
          <p:nvPr/>
        </p:nvGrpSpPr>
        <p:grpSpPr>
          <a:xfrm>
            <a:off x="4996290" y="4994275"/>
            <a:ext cx="2199421" cy="1863726"/>
            <a:chOff x="4980055" y="4994275"/>
            <a:chExt cx="2199421" cy="1863726"/>
          </a:xfrm>
          <a:effectLst>
            <a:outerShdw dist="635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B40DA2B-6CA2-42EE-BA96-AB24CE64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1944" y="6234896"/>
              <a:ext cx="60048" cy="49851"/>
            </a:xfrm>
            <a:custGeom>
              <a:avLst/>
              <a:gdLst>
                <a:gd name="T0" fmla="*/ 106 w 106"/>
                <a:gd name="T1" fmla="*/ 14 h 88"/>
                <a:gd name="T2" fmla="*/ 2 w 106"/>
                <a:gd name="T3" fmla="*/ 0 h 88"/>
                <a:gd name="T4" fmla="*/ 0 w 106"/>
                <a:gd name="T5" fmla="*/ 88 h 88"/>
                <a:gd name="T6" fmla="*/ 106 w 106"/>
                <a:gd name="T7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88">
                  <a:moveTo>
                    <a:pt x="106" y="14"/>
                  </a:moveTo>
                  <a:lnTo>
                    <a:pt x="2" y="0"/>
                  </a:lnTo>
                  <a:lnTo>
                    <a:pt x="0" y="88"/>
                  </a:lnTo>
                  <a:lnTo>
                    <a:pt x="106" y="14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BC4184D-EC4F-45B7-8034-78C9A42AC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55290"/>
              <a:ext cx="40788" cy="36822"/>
            </a:xfrm>
            <a:custGeom>
              <a:avLst/>
              <a:gdLst>
                <a:gd name="T0" fmla="*/ 72 w 72"/>
                <a:gd name="T1" fmla="*/ 0 h 65"/>
                <a:gd name="T2" fmla="*/ 0 w 72"/>
                <a:gd name="T3" fmla="*/ 21 h 65"/>
                <a:gd name="T4" fmla="*/ 67 w 72"/>
                <a:gd name="T5" fmla="*/ 65 h 65"/>
                <a:gd name="T6" fmla="*/ 72 w 72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65">
                  <a:moveTo>
                    <a:pt x="72" y="0"/>
                  </a:moveTo>
                  <a:lnTo>
                    <a:pt x="0" y="21"/>
                  </a:lnTo>
                  <a:lnTo>
                    <a:pt x="67" y="6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FB9018D-D4E6-4430-B222-4BD1597FF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117" y="6312506"/>
              <a:ext cx="773831" cy="545494"/>
            </a:xfrm>
            <a:custGeom>
              <a:avLst/>
              <a:gdLst>
                <a:gd name="connsiteX0" fmla="*/ 773831 w 773831"/>
                <a:gd name="connsiteY0" fmla="*/ 0 h 545494"/>
                <a:gd name="connsiteX1" fmla="*/ 736671 w 773831"/>
                <a:gd name="connsiteY1" fmla="*/ 545494 h 545494"/>
                <a:gd name="connsiteX2" fmla="*/ 10021 w 773831"/>
                <a:gd name="connsiteY2" fmla="*/ 545494 h 545494"/>
                <a:gd name="connsiteX3" fmla="*/ 0 w 773831"/>
                <a:gd name="connsiteY3" fmla="*/ 6798 h 545494"/>
                <a:gd name="connsiteX4" fmla="*/ 344995 w 773831"/>
                <a:gd name="connsiteY4" fmla="*/ 167116 h 54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3831" h="545494">
                  <a:moveTo>
                    <a:pt x="773831" y="0"/>
                  </a:moveTo>
                  <a:lnTo>
                    <a:pt x="736671" y="545494"/>
                  </a:lnTo>
                  <a:lnTo>
                    <a:pt x="10021" y="545494"/>
                  </a:lnTo>
                  <a:lnTo>
                    <a:pt x="0" y="6798"/>
                  </a:lnTo>
                  <a:lnTo>
                    <a:pt x="344995" y="167116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C79D7A4F-1F53-4405-B296-098E5376E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0566" y="5412914"/>
              <a:ext cx="237927" cy="239060"/>
            </a:xfrm>
            <a:custGeom>
              <a:avLst/>
              <a:gdLst>
                <a:gd name="T0" fmla="*/ 187 w 187"/>
                <a:gd name="T1" fmla="*/ 95 h 188"/>
                <a:gd name="T2" fmla="*/ 93 w 187"/>
                <a:gd name="T3" fmla="*/ 188 h 188"/>
                <a:gd name="T4" fmla="*/ 0 w 187"/>
                <a:gd name="T5" fmla="*/ 125 h 188"/>
                <a:gd name="T6" fmla="*/ 93 w 187"/>
                <a:gd name="T7" fmla="*/ 1 h 188"/>
                <a:gd name="T8" fmla="*/ 187 w 187"/>
                <a:gd name="T9" fmla="*/ 9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188">
                  <a:moveTo>
                    <a:pt x="187" y="95"/>
                  </a:moveTo>
                  <a:cubicBezTo>
                    <a:pt x="187" y="146"/>
                    <a:pt x="145" y="188"/>
                    <a:pt x="93" y="188"/>
                  </a:cubicBezTo>
                  <a:cubicBezTo>
                    <a:pt x="42" y="188"/>
                    <a:pt x="0" y="177"/>
                    <a:pt x="0" y="125"/>
                  </a:cubicBezTo>
                  <a:cubicBezTo>
                    <a:pt x="0" y="73"/>
                    <a:pt x="49" y="2"/>
                    <a:pt x="93" y="1"/>
                  </a:cubicBezTo>
                  <a:cubicBezTo>
                    <a:pt x="145" y="0"/>
                    <a:pt x="187" y="43"/>
                    <a:pt x="187" y="95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E63C769C-45AA-42E9-97F5-0F3BF4205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497" y="5481460"/>
              <a:ext cx="177879" cy="174480"/>
            </a:xfrm>
            <a:custGeom>
              <a:avLst/>
              <a:gdLst>
                <a:gd name="T0" fmla="*/ 23 w 140"/>
                <a:gd name="T1" fmla="*/ 112 h 137"/>
                <a:gd name="T2" fmla="*/ 29 w 140"/>
                <a:gd name="T3" fmla="*/ 24 h 137"/>
                <a:gd name="T4" fmla="*/ 117 w 140"/>
                <a:gd name="T5" fmla="*/ 26 h 137"/>
                <a:gd name="T6" fmla="*/ 111 w 140"/>
                <a:gd name="T7" fmla="*/ 114 h 137"/>
                <a:gd name="T8" fmla="*/ 23 w 140"/>
                <a:gd name="T9" fmla="*/ 1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37">
                  <a:moveTo>
                    <a:pt x="23" y="112"/>
                  </a:moveTo>
                  <a:cubicBezTo>
                    <a:pt x="0" y="88"/>
                    <a:pt x="3" y="48"/>
                    <a:pt x="29" y="24"/>
                  </a:cubicBezTo>
                  <a:cubicBezTo>
                    <a:pt x="55" y="0"/>
                    <a:pt x="95" y="1"/>
                    <a:pt x="117" y="26"/>
                  </a:cubicBezTo>
                  <a:cubicBezTo>
                    <a:pt x="140" y="50"/>
                    <a:pt x="137" y="90"/>
                    <a:pt x="111" y="114"/>
                  </a:cubicBezTo>
                  <a:cubicBezTo>
                    <a:pt x="85" y="137"/>
                    <a:pt x="46" y="137"/>
                    <a:pt x="23" y="112"/>
                  </a:cubicBezTo>
                  <a:close/>
                </a:path>
              </a:pathLst>
            </a:cu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D80409D-1C4E-435A-8366-1B2F9156A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424" y="5411781"/>
              <a:ext cx="236794" cy="237927"/>
            </a:xfrm>
            <a:custGeom>
              <a:avLst/>
              <a:gdLst>
                <a:gd name="T0" fmla="*/ 186 w 186"/>
                <a:gd name="T1" fmla="*/ 120 h 187"/>
                <a:gd name="T2" fmla="*/ 93 w 186"/>
                <a:gd name="T3" fmla="*/ 187 h 187"/>
                <a:gd name="T4" fmla="*/ 0 w 186"/>
                <a:gd name="T5" fmla="*/ 94 h 187"/>
                <a:gd name="T6" fmla="*/ 93 w 186"/>
                <a:gd name="T7" fmla="*/ 0 h 187"/>
                <a:gd name="T8" fmla="*/ 186 w 186"/>
                <a:gd name="T9" fmla="*/ 12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87">
                  <a:moveTo>
                    <a:pt x="186" y="120"/>
                  </a:moveTo>
                  <a:cubicBezTo>
                    <a:pt x="186" y="171"/>
                    <a:pt x="145" y="187"/>
                    <a:pt x="93" y="187"/>
                  </a:cubicBezTo>
                  <a:cubicBezTo>
                    <a:pt x="42" y="187"/>
                    <a:pt x="0" y="145"/>
                    <a:pt x="0" y="94"/>
                  </a:cubicBezTo>
                  <a:cubicBezTo>
                    <a:pt x="0" y="42"/>
                    <a:pt x="42" y="0"/>
                    <a:pt x="93" y="0"/>
                  </a:cubicBezTo>
                  <a:cubicBezTo>
                    <a:pt x="145" y="0"/>
                    <a:pt x="186" y="68"/>
                    <a:pt x="186" y="120"/>
                  </a:cubicBezTo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3F38AAB6-2168-49E2-846A-A7354BFBA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4542" y="5495622"/>
              <a:ext cx="155219" cy="154086"/>
            </a:xfrm>
            <a:prstGeom prst="ellipse">
              <a:avLst/>
            </a:prstGeom>
            <a:solidFill>
              <a:srgbClr val="D893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4D828908-0247-48D1-AB46-98876E9E5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136" y="5783401"/>
              <a:ext cx="675827" cy="735309"/>
            </a:xfrm>
            <a:custGeom>
              <a:avLst/>
              <a:gdLst>
                <a:gd name="T0" fmla="*/ 9 w 1193"/>
                <a:gd name="T1" fmla="*/ 168 h 1298"/>
                <a:gd name="T2" fmla="*/ 0 w 1193"/>
                <a:gd name="T3" fmla="*/ 885 h 1298"/>
                <a:gd name="T4" fmla="*/ 517 w 1193"/>
                <a:gd name="T5" fmla="*/ 1298 h 1298"/>
                <a:gd name="T6" fmla="*/ 1193 w 1193"/>
                <a:gd name="T7" fmla="*/ 903 h 1298"/>
                <a:gd name="T8" fmla="*/ 1103 w 1193"/>
                <a:gd name="T9" fmla="*/ 0 h 1298"/>
                <a:gd name="T10" fmla="*/ 9 w 1193"/>
                <a:gd name="T11" fmla="*/ 168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3" h="1298">
                  <a:moveTo>
                    <a:pt x="9" y="168"/>
                  </a:moveTo>
                  <a:lnTo>
                    <a:pt x="0" y="885"/>
                  </a:lnTo>
                  <a:lnTo>
                    <a:pt x="517" y="1298"/>
                  </a:lnTo>
                  <a:lnTo>
                    <a:pt x="1193" y="903"/>
                  </a:lnTo>
                  <a:lnTo>
                    <a:pt x="1103" y="0"/>
                  </a:lnTo>
                  <a:lnTo>
                    <a:pt x="9" y="168"/>
                  </a:lnTo>
                  <a:close/>
                </a:path>
              </a:pathLst>
            </a:custGeom>
            <a:solidFill>
              <a:srgbClr val="F9A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0D353887-3FC1-4235-B8FE-F0147C8FE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034" y="5114938"/>
              <a:ext cx="762501" cy="953409"/>
            </a:xfrm>
            <a:custGeom>
              <a:avLst/>
              <a:gdLst>
                <a:gd name="T0" fmla="*/ 109 w 599"/>
                <a:gd name="T1" fmla="*/ 190 h 749"/>
                <a:gd name="T2" fmla="*/ 33 w 599"/>
                <a:gd name="T3" fmla="*/ 508 h 749"/>
                <a:gd name="T4" fmla="*/ 252 w 599"/>
                <a:gd name="T5" fmla="*/ 732 h 749"/>
                <a:gd name="T6" fmla="*/ 592 w 599"/>
                <a:gd name="T7" fmla="*/ 549 h 749"/>
                <a:gd name="T8" fmla="*/ 556 w 599"/>
                <a:gd name="T9" fmla="*/ 163 h 749"/>
                <a:gd name="T10" fmla="*/ 332 w 599"/>
                <a:gd name="T11" fmla="*/ 0 h 749"/>
                <a:gd name="T12" fmla="*/ 109 w 599"/>
                <a:gd name="T13" fmla="*/ 19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9" h="749">
                  <a:moveTo>
                    <a:pt x="109" y="190"/>
                  </a:moveTo>
                  <a:cubicBezTo>
                    <a:pt x="33" y="508"/>
                    <a:pt x="33" y="508"/>
                    <a:pt x="33" y="508"/>
                  </a:cubicBezTo>
                  <a:cubicBezTo>
                    <a:pt x="33" y="508"/>
                    <a:pt x="0" y="716"/>
                    <a:pt x="252" y="732"/>
                  </a:cubicBezTo>
                  <a:cubicBezTo>
                    <a:pt x="505" y="749"/>
                    <a:pt x="599" y="646"/>
                    <a:pt x="592" y="549"/>
                  </a:cubicBezTo>
                  <a:cubicBezTo>
                    <a:pt x="586" y="443"/>
                    <a:pt x="575" y="256"/>
                    <a:pt x="556" y="163"/>
                  </a:cubicBezTo>
                  <a:cubicBezTo>
                    <a:pt x="542" y="95"/>
                    <a:pt x="504" y="0"/>
                    <a:pt x="332" y="0"/>
                  </a:cubicBezTo>
                  <a:cubicBezTo>
                    <a:pt x="160" y="0"/>
                    <a:pt x="109" y="190"/>
                    <a:pt x="109" y="190"/>
                  </a:cubicBezTo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2ADF8E-790D-4DD6-9AB0-466DC53C9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5980" y="6548168"/>
              <a:ext cx="169361" cy="309833"/>
            </a:xfrm>
            <a:custGeom>
              <a:avLst/>
              <a:gdLst>
                <a:gd name="connsiteX0" fmla="*/ 104590 w 169361"/>
                <a:gd name="connsiteY0" fmla="*/ 0 h 309833"/>
                <a:gd name="connsiteX1" fmla="*/ 169361 w 169361"/>
                <a:gd name="connsiteY1" fmla="*/ 309833 h 309833"/>
                <a:gd name="connsiteX2" fmla="*/ 0 w 169361"/>
                <a:gd name="connsiteY2" fmla="*/ 309833 h 309833"/>
                <a:gd name="connsiteX3" fmla="*/ 43409 w 169361"/>
                <a:gd name="connsiteY3" fmla="*/ 19261 h 309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61" h="309833">
                  <a:moveTo>
                    <a:pt x="104590" y="0"/>
                  </a:moveTo>
                  <a:lnTo>
                    <a:pt x="169361" y="309833"/>
                  </a:lnTo>
                  <a:lnTo>
                    <a:pt x="0" y="309833"/>
                  </a:lnTo>
                  <a:lnTo>
                    <a:pt x="43409" y="19261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4DDC595B-CDA9-4761-91FE-4B7D62865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492" y="5174987"/>
              <a:ext cx="186943" cy="305340"/>
            </a:xfrm>
            <a:custGeom>
              <a:avLst/>
              <a:gdLst>
                <a:gd name="T0" fmla="*/ 62 w 147"/>
                <a:gd name="T1" fmla="*/ 240 h 240"/>
                <a:gd name="T2" fmla="*/ 56 w 147"/>
                <a:gd name="T3" fmla="*/ 40 h 240"/>
                <a:gd name="T4" fmla="*/ 147 w 147"/>
                <a:gd name="T5" fmla="*/ 0 h 240"/>
                <a:gd name="T6" fmla="*/ 62 w 147"/>
                <a:gd name="T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240">
                  <a:moveTo>
                    <a:pt x="62" y="240"/>
                  </a:moveTo>
                  <a:cubicBezTo>
                    <a:pt x="62" y="240"/>
                    <a:pt x="0" y="69"/>
                    <a:pt x="56" y="40"/>
                  </a:cubicBezTo>
                  <a:cubicBezTo>
                    <a:pt x="112" y="11"/>
                    <a:pt x="147" y="0"/>
                    <a:pt x="147" y="0"/>
                  </a:cubicBezTo>
                  <a:cubicBezTo>
                    <a:pt x="62" y="240"/>
                    <a:pt x="62" y="240"/>
                    <a:pt x="62" y="240"/>
                  </a:cubicBezTo>
                </a:path>
              </a:pathLst>
            </a:custGeom>
            <a:solidFill>
              <a:srgbClr val="1E1E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9C6F7EF2-2694-43C4-8482-355B717B4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5124002"/>
              <a:ext cx="232829" cy="370487"/>
            </a:xfrm>
            <a:custGeom>
              <a:avLst/>
              <a:gdLst>
                <a:gd name="T0" fmla="*/ 30 w 183"/>
                <a:gd name="T1" fmla="*/ 64 h 291"/>
                <a:gd name="T2" fmla="*/ 104 w 183"/>
                <a:gd name="T3" fmla="*/ 291 h 291"/>
                <a:gd name="T4" fmla="*/ 110 w 183"/>
                <a:gd name="T5" fmla="*/ 57 h 291"/>
                <a:gd name="T6" fmla="*/ 0 w 183"/>
                <a:gd name="T7" fmla="*/ 44 h 291"/>
                <a:gd name="T8" fmla="*/ 30 w 183"/>
                <a:gd name="T9" fmla="*/ 6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291">
                  <a:moveTo>
                    <a:pt x="30" y="64"/>
                  </a:moveTo>
                  <a:cubicBezTo>
                    <a:pt x="104" y="291"/>
                    <a:pt x="104" y="291"/>
                    <a:pt x="104" y="291"/>
                  </a:cubicBezTo>
                  <a:cubicBezTo>
                    <a:pt x="104" y="291"/>
                    <a:pt x="183" y="114"/>
                    <a:pt x="110" y="57"/>
                  </a:cubicBezTo>
                  <a:cubicBezTo>
                    <a:pt x="37" y="0"/>
                    <a:pt x="0" y="44"/>
                    <a:pt x="0" y="44"/>
                  </a:cubicBezTo>
                  <a:lnTo>
                    <a:pt x="30" y="64"/>
                  </a:ln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16FFACFB-ADBD-442F-BE58-02FE501D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835" y="4994275"/>
              <a:ext cx="568760" cy="301375"/>
            </a:xfrm>
            <a:custGeom>
              <a:avLst/>
              <a:gdLst>
                <a:gd name="T0" fmla="*/ 74 w 447"/>
                <a:gd name="T1" fmla="*/ 22 h 237"/>
                <a:gd name="T2" fmla="*/ 28 w 447"/>
                <a:gd name="T3" fmla="*/ 25 h 237"/>
                <a:gd name="T4" fmla="*/ 1 w 447"/>
                <a:gd name="T5" fmla="*/ 77 h 237"/>
                <a:gd name="T6" fmla="*/ 18 w 447"/>
                <a:gd name="T7" fmla="*/ 136 h 237"/>
                <a:gd name="T8" fmla="*/ 219 w 447"/>
                <a:gd name="T9" fmla="*/ 236 h 237"/>
                <a:gd name="T10" fmla="*/ 382 w 447"/>
                <a:gd name="T11" fmla="*/ 189 h 237"/>
                <a:gd name="T12" fmla="*/ 427 w 447"/>
                <a:gd name="T13" fmla="*/ 158 h 237"/>
                <a:gd name="T14" fmla="*/ 447 w 447"/>
                <a:gd name="T15" fmla="*/ 133 h 237"/>
                <a:gd name="T16" fmla="*/ 370 w 447"/>
                <a:gd name="T17" fmla="*/ 39 h 237"/>
                <a:gd name="T18" fmla="*/ 256 w 447"/>
                <a:gd name="T19" fmla="*/ 14 h 237"/>
                <a:gd name="T20" fmla="*/ 206 w 447"/>
                <a:gd name="T21" fmla="*/ 39 h 237"/>
                <a:gd name="T22" fmla="*/ 99 w 447"/>
                <a:gd name="T23" fmla="*/ 35 h 237"/>
                <a:gd name="T24" fmla="*/ 74 w 447"/>
                <a:gd name="T25" fmla="*/ 2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" h="237">
                  <a:moveTo>
                    <a:pt x="74" y="22"/>
                  </a:moveTo>
                  <a:cubicBezTo>
                    <a:pt x="59" y="13"/>
                    <a:pt x="43" y="16"/>
                    <a:pt x="28" y="25"/>
                  </a:cubicBezTo>
                  <a:cubicBezTo>
                    <a:pt x="11" y="36"/>
                    <a:pt x="1" y="57"/>
                    <a:pt x="1" y="77"/>
                  </a:cubicBezTo>
                  <a:cubicBezTo>
                    <a:pt x="0" y="98"/>
                    <a:pt x="8" y="118"/>
                    <a:pt x="18" y="136"/>
                  </a:cubicBezTo>
                  <a:cubicBezTo>
                    <a:pt x="59" y="205"/>
                    <a:pt x="140" y="237"/>
                    <a:pt x="219" y="236"/>
                  </a:cubicBezTo>
                  <a:cubicBezTo>
                    <a:pt x="276" y="235"/>
                    <a:pt x="332" y="217"/>
                    <a:pt x="382" y="189"/>
                  </a:cubicBezTo>
                  <a:cubicBezTo>
                    <a:pt x="397" y="180"/>
                    <a:pt x="418" y="172"/>
                    <a:pt x="427" y="158"/>
                  </a:cubicBezTo>
                  <a:cubicBezTo>
                    <a:pt x="447" y="133"/>
                    <a:pt x="447" y="133"/>
                    <a:pt x="447" y="133"/>
                  </a:cubicBezTo>
                  <a:cubicBezTo>
                    <a:pt x="435" y="94"/>
                    <a:pt x="401" y="64"/>
                    <a:pt x="370" y="39"/>
                  </a:cubicBezTo>
                  <a:cubicBezTo>
                    <a:pt x="338" y="13"/>
                    <a:pt x="294" y="0"/>
                    <a:pt x="256" y="14"/>
                  </a:cubicBezTo>
                  <a:cubicBezTo>
                    <a:pt x="238" y="20"/>
                    <a:pt x="223" y="31"/>
                    <a:pt x="206" y="39"/>
                  </a:cubicBezTo>
                  <a:cubicBezTo>
                    <a:pt x="170" y="54"/>
                    <a:pt x="133" y="54"/>
                    <a:pt x="99" y="35"/>
                  </a:cubicBezTo>
                  <a:cubicBezTo>
                    <a:pt x="86" y="28"/>
                    <a:pt x="88" y="31"/>
                    <a:pt x="74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7935268B-D10B-4BBF-AF51-29B3317BF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0645" y="6479622"/>
              <a:ext cx="246425" cy="151254"/>
            </a:xfrm>
            <a:custGeom>
              <a:avLst/>
              <a:gdLst>
                <a:gd name="T0" fmla="*/ 0 w 435"/>
                <a:gd name="T1" fmla="*/ 38 h 267"/>
                <a:gd name="T2" fmla="*/ 202 w 435"/>
                <a:gd name="T3" fmla="*/ 267 h 267"/>
                <a:gd name="T4" fmla="*/ 435 w 435"/>
                <a:gd name="T5" fmla="*/ 6 h 267"/>
                <a:gd name="T6" fmla="*/ 195 w 435"/>
                <a:gd name="T7" fmla="*/ 0 h 267"/>
                <a:gd name="T8" fmla="*/ 0 w 435"/>
                <a:gd name="T9" fmla="*/ 3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67">
                  <a:moveTo>
                    <a:pt x="0" y="38"/>
                  </a:moveTo>
                  <a:lnTo>
                    <a:pt x="202" y="267"/>
                  </a:lnTo>
                  <a:lnTo>
                    <a:pt x="435" y="6"/>
                  </a:lnTo>
                  <a:lnTo>
                    <a:pt x="195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6B642735-546B-43CD-9EFD-CFC9BD9C1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575" y="6267187"/>
              <a:ext cx="315537" cy="390314"/>
            </a:xfrm>
            <a:custGeom>
              <a:avLst/>
              <a:gdLst>
                <a:gd name="T0" fmla="*/ 0 w 557"/>
                <a:gd name="T1" fmla="*/ 0 h 689"/>
                <a:gd name="T2" fmla="*/ 557 w 557"/>
                <a:gd name="T3" fmla="*/ 375 h 689"/>
                <a:gd name="T4" fmla="*/ 4 w 557"/>
                <a:gd name="T5" fmla="*/ 689 h 689"/>
                <a:gd name="T6" fmla="*/ 0 w 557"/>
                <a:gd name="T7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7" h="689">
                  <a:moveTo>
                    <a:pt x="0" y="0"/>
                  </a:moveTo>
                  <a:lnTo>
                    <a:pt x="557" y="375"/>
                  </a:lnTo>
                  <a:lnTo>
                    <a:pt x="4" y="6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FFB5D733-35B8-4AAC-AD45-75C317295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1112" y="6242827"/>
              <a:ext cx="390881" cy="424870"/>
            </a:xfrm>
            <a:custGeom>
              <a:avLst/>
              <a:gdLst>
                <a:gd name="T0" fmla="*/ 0 w 690"/>
                <a:gd name="T1" fmla="*/ 418 h 750"/>
                <a:gd name="T2" fmla="*/ 665 w 690"/>
                <a:gd name="T3" fmla="*/ 750 h 750"/>
                <a:gd name="T4" fmla="*/ 690 w 690"/>
                <a:gd name="T5" fmla="*/ 0 h 750"/>
                <a:gd name="T6" fmla="*/ 0 w 690"/>
                <a:gd name="T7" fmla="*/ 418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0" h="750">
                  <a:moveTo>
                    <a:pt x="0" y="418"/>
                  </a:moveTo>
                  <a:lnTo>
                    <a:pt x="665" y="750"/>
                  </a:lnTo>
                  <a:lnTo>
                    <a:pt x="690" y="0"/>
                  </a:lnTo>
                  <a:lnTo>
                    <a:pt x="0" y="4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005C1B1-94B6-491E-84B5-2D939476E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0055" y="6267187"/>
              <a:ext cx="711790" cy="590813"/>
            </a:xfrm>
            <a:custGeom>
              <a:avLst/>
              <a:gdLst>
                <a:gd name="connsiteX0" fmla="*/ 705674 w 711790"/>
                <a:gd name="connsiteY0" fmla="*/ 0 h 590813"/>
                <a:gd name="connsiteX1" fmla="*/ 711765 w 711790"/>
                <a:gd name="connsiteY1" fmla="*/ 588434 h 590813"/>
                <a:gd name="connsiteX2" fmla="*/ 711790 w 711790"/>
                <a:gd name="connsiteY2" fmla="*/ 590813 h 590813"/>
                <a:gd name="connsiteX3" fmla="*/ 0 w 711790"/>
                <a:gd name="connsiteY3" fmla="*/ 590813 h 590813"/>
                <a:gd name="connsiteX4" fmla="*/ 10353 w 711790"/>
                <a:gd name="connsiteY4" fmla="*/ 549210 h 590813"/>
                <a:gd name="connsiteX5" fmla="*/ 74316 w 711790"/>
                <a:gd name="connsiteY5" fmla="*/ 473341 h 590813"/>
                <a:gd name="connsiteX6" fmla="*/ 705674 w 711790"/>
                <a:gd name="connsiteY6" fmla="*/ 0 h 590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790" h="590813">
                  <a:moveTo>
                    <a:pt x="705674" y="0"/>
                  </a:moveTo>
                  <a:cubicBezTo>
                    <a:pt x="705674" y="0"/>
                    <a:pt x="709155" y="335005"/>
                    <a:pt x="711765" y="588434"/>
                  </a:cubicBezTo>
                  <a:lnTo>
                    <a:pt x="711790" y="590813"/>
                  </a:lnTo>
                  <a:lnTo>
                    <a:pt x="0" y="590813"/>
                  </a:lnTo>
                  <a:lnTo>
                    <a:pt x="10353" y="549210"/>
                  </a:lnTo>
                  <a:cubicBezTo>
                    <a:pt x="25309" y="519785"/>
                    <a:pt x="46948" y="493700"/>
                    <a:pt x="74316" y="473341"/>
                  </a:cubicBezTo>
                  <a:cubicBezTo>
                    <a:pt x="705674" y="0"/>
                    <a:pt x="705674" y="0"/>
                    <a:pt x="70567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B77FD92-1601-4033-B57B-35D24D966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908" y="6242828"/>
              <a:ext cx="809568" cy="615173"/>
            </a:xfrm>
            <a:custGeom>
              <a:avLst/>
              <a:gdLst>
                <a:gd name="connsiteX0" fmla="*/ 22044 w 809568"/>
                <a:gd name="connsiteY0" fmla="*/ 0 h 615173"/>
                <a:gd name="connsiteX1" fmla="*/ 741235 w 809568"/>
                <a:gd name="connsiteY1" fmla="*/ 521735 h 615173"/>
                <a:gd name="connsiteX2" fmla="*/ 783719 w 809568"/>
                <a:gd name="connsiteY2" fmla="*/ 565001 h 615173"/>
                <a:gd name="connsiteX3" fmla="*/ 809568 w 809568"/>
                <a:gd name="connsiteY3" fmla="*/ 615173 h 615173"/>
                <a:gd name="connsiteX4" fmla="*/ 0 w 809568"/>
                <a:gd name="connsiteY4" fmla="*/ 615173 h 615173"/>
                <a:gd name="connsiteX5" fmla="*/ 1160 w 809568"/>
                <a:gd name="connsiteY5" fmla="*/ 583100 h 615173"/>
                <a:gd name="connsiteX6" fmla="*/ 22044 w 809568"/>
                <a:gd name="connsiteY6" fmla="*/ 0 h 61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9568" h="615173">
                  <a:moveTo>
                    <a:pt x="22044" y="0"/>
                  </a:moveTo>
                  <a:lnTo>
                    <a:pt x="741235" y="521735"/>
                  </a:lnTo>
                  <a:cubicBezTo>
                    <a:pt x="757783" y="534142"/>
                    <a:pt x="772024" y="548776"/>
                    <a:pt x="783719" y="565001"/>
                  </a:cubicBezTo>
                  <a:lnTo>
                    <a:pt x="809568" y="615173"/>
                  </a:lnTo>
                  <a:lnTo>
                    <a:pt x="0" y="615173"/>
                  </a:lnTo>
                  <a:lnTo>
                    <a:pt x="1160" y="583100"/>
                  </a:lnTo>
                  <a:cubicBezTo>
                    <a:pt x="10110" y="335628"/>
                    <a:pt x="22044" y="4772"/>
                    <a:pt x="22044" y="0"/>
                  </a:cubicBez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F2F539AB-55A2-4A68-8DD6-9079D13D1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C7FCD22B-3EC6-4876-A1F3-C97C804AB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25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CD46A3A2-168B-4586-B813-96EB70982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  <a:gd name="T8" fmla="*/ 2 w 205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  <a:lnTo>
                    <a:pt x="2" y="36"/>
                  </a:ln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B9816AC-A679-412F-8649-6A5BB9AEB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226" y="5782268"/>
              <a:ext cx="116131" cy="20394"/>
            </a:xfrm>
            <a:custGeom>
              <a:avLst/>
              <a:gdLst>
                <a:gd name="T0" fmla="*/ 2 w 205"/>
                <a:gd name="T1" fmla="*/ 36 h 36"/>
                <a:gd name="T2" fmla="*/ 205 w 205"/>
                <a:gd name="T3" fmla="*/ 9 h 36"/>
                <a:gd name="T4" fmla="*/ 205 w 205"/>
                <a:gd name="T5" fmla="*/ 0 h 36"/>
                <a:gd name="T6" fmla="*/ 0 w 205"/>
                <a:gd name="T7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36">
                  <a:moveTo>
                    <a:pt x="2" y="36"/>
                  </a:moveTo>
                  <a:lnTo>
                    <a:pt x="205" y="9"/>
                  </a:lnTo>
                  <a:lnTo>
                    <a:pt x="205" y="0"/>
                  </a:lnTo>
                  <a:lnTo>
                    <a:pt x="0" y="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B98E31CB-5F6C-464E-A602-7157C1B45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746" y="5354565"/>
              <a:ext cx="148988" cy="59482"/>
            </a:xfrm>
            <a:custGeom>
              <a:avLst/>
              <a:gdLst>
                <a:gd name="T0" fmla="*/ 31 w 117"/>
                <a:gd name="T1" fmla="*/ 6 h 47"/>
                <a:gd name="T2" fmla="*/ 8 w 117"/>
                <a:gd name="T3" fmla="*/ 16 h 47"/>
                <a:gd name="T4" fmla="*/ 4 w 117"/>
                <a:gd name="T5" fmla="*/ 34 h 47"/>
                <a:gd name="T6" fmla="*/ 13 w 117"/>
                <a:gd name="T7" fmla="*/ 40 h 47"/>
                <a:gd name="T8" fmla="*/ 58 w 117"/>
                <a:gd name="T9" fmla="*/ 46 h 47"/>
                <a:gd name="T10" fmla="*/ 87 w 117"/>
                <a:gd name="T11" fmla="*/ 43 h 47"/>
                <a:gd name="T12" fmla="*/ 112 w 117"/>
                <a:gd name="T13" fmla="*/ 34 h 47"/>
                <a:gd name="T14" fmla="*/ 113 w 117"/>
                <a:gd name="T15" fmla="*/ 17 h 47"/>
                <a:gd name="T16" fmla="*/ 99 w 117"/>
                <a:gd name="T17" fmla="*/ 5 h 47"/>
                <a:gd name="T18" fmla="*/ 51 w 117"/>
                <a:gd name="T19" fmla="*/ 3 h 47"/>
                <a:gd name="T20" fmla="*/ 31 w 117"/>
                <a:gd name="T21" fmla="*/ 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47">
                  <a:moveTo>
                    <a:pt x="31" y="6"/>
                  </a:moveTo>
                  <a:cubicBezTo>
                    <a:pt x="24" y="8"/>
                    <a:pt x="14" y="11"/>
                    <a:pt x="8" y="16"/>
                  </a:cubicBezTo>
                  <a:cubicBezTo>
                    <a:pt x="2" y="21"/>
                    <a:pt x="0" y="28"/>
                    <a:pt x="4" y="34"/>
                  </a:cubicBezTo>
                  <a:cubicBezTo>
                    <a:pt x="7" y="37"/>
                    <a:pt x="10" y="39"/>
                    <a:pt x="13" y="40"/>
                  </a:cubicBezTo>
                  <a:cubicBezTo>
                    <a:pt x="27" y="47"/>
                    <a:pt x="43" y="47"/>
                    <a:pt x="58" y="46"/>
                  </a:cubicBezTo>
                  <a:cubicBezTo>
                    <a:pt x="68" y="45"/>
                    <a:pt x="77" y="44"/>
                    <a:pt x="87" y="43"/>
                  </a:cubicBezTo>
                  <a:cubicBezTo>
                    <a:pt x="95" y="42"/>
                    <a:pt x="107" y="41"/>
                    <a:pt x="112" y="34"/>
                  </a:cubicBezTo>
                  <a:cubicBezTo>
                    <a:pt x="116" y="30"/>
                    <a:pt x="117" y="22"/>
                    <a:pt x="113" y="17"/>
                  </a:cubicBezTo>
                  <a:cubicBezTo>
                    <a:pt x="110" y="11"/>
                    <a:pt x="105" y="7"/>
                    <a:pt x="99" y="5"/>
                  </a:cubicBezTo>
                  <a:cubicBezTo>
                    <a:pt x="84" y="0"/>
                    <a:pt x="67" y="1"/>
                    <a:pt x="51" y="3"/>
                  </a:cubicBezTo>
                  <a:cubicBezTo>
                    <a:pt x="45" y="4"/>
                    <a:pt x="38" y="5"/>
                    <a:pt x="31" y="6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5E01B88-A284-4CB4-878A-262063C3C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918" y="5381190"/>
              <a:ext cx="148988" cy="66280"/>
            </a:xfrm>
            <a:custGeom>
              <a:avLst/>
              <a:gdLst>
                <a:gd name="T0" fmla="*/ 87 w 117"/>
                <a:gd name="T1" fmla="*/ 11 h 52"/>
                <a:gd name="T2" fmla="*/ 109 w 117"/>
                <a:gd name="T3" fmla="*/ 23 h 52"/>
                <a:gd name="T4" fmla="*/ 111 w 117"/>
                <a:gd name="T5" fmla="*/ 42 h 52"/>
                <a:gd name="T6" fmla="*/ 103 w 117"/>
                <a:gd name="T7" fmla="*/ 47 h 52"/>
                <a:gd name="T8" fmla="*/ 57 w 117"/>
                <a:gd name="T9" fmla="*/ 47 h 52"/>
                <a:gd name="T10" fmla="*/ 28 w 117"/>
                <a:gd name="T11" fmla="*/ 42 h 52"/>
                <a:gd name="T12" fmla="*/ 4 w 117"/>
                <a:gd name="T13" fmla="*/ 31 h 52"/>
                <a:gd name="T14" fmla="*/ 4 w 117"/>
                <a:gd name="T15" fmla="*/ 13 h 52"/>
                <a:gd name="T16" fmla="*/ 20 w 117"/>
                <a:gd name="T17" fmla="*/ 3 h 52"/>
                <a:gd name="T18" fmla="*/ 68 w 117"/>
                <a:gd name="T19" fmla="*/ 6 h 52"/>
                <a:gd name="T20" fmla="*/ 87 w 117"/>
                <a:gd name="T21" fmla="*/ 1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52">
                  <a:moveTo>
                    <a:pt x="87" y="11"/>
                  </a:moveTo>
                  <a:cubicBezTo>
                    <a:pt x="95" y="14"/>
                    <a:pt x="104" y="18"/>
                    <a:pt x="109" y="23"/>
                  </a:cubicBezTo>
                  <a:cubicBezTo>
                    <a:pt x="115" y="28"/>
                    <a:pt x="117" y="36"/>
                    <a:pt x="111" y="42"/>
                  </a:cubicBezTo>
                  <a:cubicBezTo>
                    <a:pt x="109" y="44"/>
                    <a:pt x="106" y="46"/>
                    <a:pt x="103" y="47"/>
                  </a:cubicBezTo>
                  <a:cubicBezTo>
                    <a:pt x="88" y="52"/>
                    <a:pt x="72" y="50"/>
                    <a:pt x="57" y="47"/>
                  </a:cubicBezTo>
                  <a:cubicBezTo>
                    <a:pt x="47" y="46"/>
                    <a:pt x="38" y="44"/>
                    <a:pt x="28" y="42"/>
                  </a:cubicBezTo>
                  <a:cubicBezTo>
                    <a:pt x="20" y="40"/>
                    <a:pt x="9" y="38"/>
                    <a:pt x="4" y="31"/>
                  </a:cubicBezTo>
                  <a:cubicBezTo>
                    <a:pt x="0" y="26"/>
                    <a:pt x="1" y="18"/>
                    <a:pt x="4" y="13"/>
                  </a:cubicBezTo>
                  <a:cubicBezTo>
                    <a:pt x="8" y="8"/>
                    <a:pt x="14" y="5"/>
                    <a:pt x="20" y="3"/>
                  </a:cubicBezTo>
                  <a:cubicBezTo>
                    <a:pt x="35" y="0"/>
                    <a:pt x="52" y="2"/>
                    <a:pt x="68" y="6"/>
                  </a:cubicBezTo>
                  <a:cubicBezTo>
                    <a:pt x="74" y="7"/>
                    <a:pt x="81" y="9"/>
                    <a:pt x="87" y="11"/>
                  </a:cubicBezTo>
                </a:path>
              </a:pathLst>
            </a:custGeom>
            <a:solidFill>
              <a:srgbClr val="1D1E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23A3CCA8-A2A6-4A8F-A473-C8E4163A5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6044" y="5644610"/>
              <a:ext cx="809520" cy="414673"/>
            </a:xfrm>
            <a:custGeom>
              <a:avLst/>
              <a:gdLst>
                <a:gd name="T0" fmla="*/ 610 w 636"/>
                <a:gd name="T1" fmla="*/ 0 h 326"/>
                <a:gd name="T2" fmla="*/ 458 w 636"/>
                <a:gd name="T3" fmla="*/ 116 h 326"/>
                <a:gd name="T4" fmla="*/ 335 w 636"/>
                <a:gd name="T5" fmla="*/ 55 h 326"/>
                <a:gd name="T6" fmla="*/ 231 w 636"/>
                <a:gd name="T7" fmla="*/ 104 h 326"/>
                <a:gd name="T8" fmla="*/ 168 w 636"/>
                <a:gd name="T9" fmla="*/ 144 h 326"/>
                <a:gd name="T10" fmla="*/ 80 w 636"/>
                <a:gd name="T11" fmla="*/ 0 h 326"/>
                <a:gd name="T12" fmla="*/ 327 w 636"/>
                <a:gd name="T13" fmla="*/ 322 h 326"/>
                <a:gd name="T14" fmla="*/ 602 w 636"/>
                <a:gd name="T15" fmla="*/ 212 h 326"/>
                <a:gd name="T16" fmla="*/ 615 w 636"/>
                <a:gd name="T17" fmla="*/ 15 h 326"/>
                <a:gd name="T18" fmla="*/ 610 w 636"/>
                <a:gd name="T19" fmla="*/ 0 h 326"/>
                <a:gd name="T20" fmla="*/ 395 w 636"/>
                <a:gd name="T21" fmla="*/ 188 h 326"/>
                <a:gd name="T22" fmla="*/ 374 w 636"/>
                <a:gd name="T23" fmla="*/ 137 h 326"/>
                <a:gd name="T24" fmla="*/ 335 w 636"/>
                <a:gd name="T25" fmla="*/ 143 h 326"/>
                <a:gd name="T26" fmla="*/ 329 w 636"/>
                <a:gd name="T27" fmla="*/ 197 h 326"/>
                <a:gd name="T28" fmla="*/ 313 w 636"/>
                <a:gd name="T29" fmla="*/ 197 h 326"/>
                <a:gd name="T30" fmla="*/ 268 w 636"/>
                <a:gd name="T31" fmla="*/ 119 h 326"/>
                <a:gd name="T32" fmla="*/ 305 w 636"/>
                <a:gd name="T33" fmla="*/ 93 h 326"/>
                <a:gd name="T34" fmla="*/ 349 w 636"/>
                <a:gd name="T35" fmla="*/ 82 h 326"/>
                <a:gd name="T36" fmla="*/ 392 w 636"/>
                <a:gd name="T37" fmla="*/ 83 h 326"/>
                <a:gd name="T38" fmla="*/ 420 w 636"/>
                <a:gd name="T39" fmla="*/ 110 h 326"/>
                <a:gd name="T40" fmla="*/ 429 w 636"/>
                <a:gd name="T41" fmla="*/ 131 h 326"/>
                <a:gd name="T42" fmla="*/ 395 w 636"/>
                <a:gd name="T43" fmla="*/ 18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6" h="326">
                  <a:moveTo>
                    <a:pt x="610" y="0"/>
                  </a:moveTo>
                  <a:cubicBezTo>
                    <a:pt x="587" y="129"/>
                    <a:pt x="479" y="156"/>
                    <a:pt x="458" y="116"/>
                  </a:cubicBezTo>
                  <a:cubicBezTo>
                    <a:pt x="416" y="38"/>
                    <a:pt x="373" y="54"/>
                    <a:pt x="335" y="55"/>
                  </a:cubicBezTo>
                  <a:cubicBezTo>
                    <a:pt x="296" y="57"/>
                    <a:pt x="251" y="63"/>
                    <a:pt x="231" y="104"/>
                  </a:cubicBezTo>
                  <a:cubicBezTo>
                    <a:pt x="211" y="144"/>
                    <a:pt x="168" y="144"/>
                    <a:pt x="168" y="144"/>
                  </a:cubicBezTo>
                  <a:cubicBezTo>
                    <a:pt x="50" y="151"/>
                    <a:pt x="80" y="0"/>
                    <a:pt x="80" y="0"/>
                  </a:cubicBezTo>
                  <a:cubicBezTo>
                    <a:pt x="0" y="246"/>
                    <a:pt x="133" y="314"/>
                    <a:pt x="327" y="322"/>
                  </a:cubicBezTo>
                  <a:cubicBezTo>
                    <a:pt x="429" y="326"/>
                    <a:pt x="547" y="307"/>
                    <a:pt x="602" y="212"/>
                  </a:cubicBezTo>
                  <a:cubicBezTo>
                    <a:pt x="636" y="152"/>
                    <a:pt x="634" y="79"/>
                    <a:pt x="615" y="15"/>
                  </a:cubicBezTo>
                  <a:cubicBezTo>
                    <a:pt x="614" y="12"/>
                    <a:pt x="610" y="4"/>
                    <a:pt x="610" y="0"/>
                  </a:cubicBezTo>
                  <a:close/>
                  <a:moveTo>
                    <a:pt x="395" y="188"/>
                  </a:moveTo>
                  <a:cubicBezTo>
                    <a:pt x="374" y="137"/>
                    <a:pt x="374" y="137"/>
                    <a:pt x="374" y="137"/>
                  </a:cubicBezTo>
                  <a:cubicBezTo>
                    <a:pt x="335" y="143"/>
                    <a:pt x="335" y="143"/>
                    <a:pt x="335" y="143"/>
                  </a:cubicBezTo>
                  <a:cubicBezTo>
                    <a:pt x="329" y="197"/>
                    <a:pt x="329" y="197"/>
                    <a:pt x="329" y="197"/>
                  </a:cubicBezTo>
                  <a:cubicBezTo>
                    <a:pt x="324" y="197"/>
                    <a:pt x="318" y="197"/>
                    <a:pt x="313" y="197"/>
                  </a:cubicBezTo>
                  <a:cubicBezTo>
                    <a:pt x="239" y="196"/>
                    <a:pt x="261" y="141"/>
                    <a:pt x="268" y="119"/>
                  </a:cubicBezTo>
                  <a:cubicBezTo>
                    <a:pt x="272" y="105"/>
                    <a:pt x="292" y="98"/>
                    <a:pt x="305" y="93"/>
                  </a:cubicBezTo>
                  <a:cubicBezTo>
                    <a:pt x="319" y="88"/>
                    <a:pt x="334" y="84"/>
                    <a:pt x="349" y="82"/>
                  </a:cubicBezTo>
                  <a:cubicBezTo>
                    <a:pt x="363" y="80"/>
                    <a:pt x="379" y="78"/>
                    <a:pt x="392" y="83"/>
                  </a:cubicBezTo>
                  <a:cubicBezTo>
                    <a:pt x="405" y="88"/>
                    <a:pt x="413" y="99"/>
                    <a:pt x="420" y="110"/>
                  </a:cubicBezTo>
                  <a:cubicBezTo>
                    <a:pt x="423" y="117"/>
                    <a:pt x="426" y="124"/>
                    <a:pt x="429" y="131"/>
                  </a:cubicBezTo>
                  <a:cubicBezTo>
                    <a:pt x="442" y="160"/>
                    <a:pt x="426" y="178"/>
                    <a:pt x="395" y="188"/>
                  </a:cubicBezTo>
                  <a:close/>
                </a:path>
              </a:pathLst>
            </a:custGeom>
            <a:solidFill>
              <a:srgbClr val="C982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714EA946-3B64-49F2-8A17-CAA0889B8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968" y="5898966"/>
              <a:ext cx="645237" cy="263420"/>
            </a:xfrm>
            <a:custGeom>
              <a:avLst/>
              <a:gdLst>
                <a:gd name="T0" fmla="*/ 231 w 507"/>
                <a:gd name="T1" fmla="*/ 203 h 207"/>
                <a:gd name="T2" fmla="*/ 506 w 507"/>
                <a:gd name="T3" fmla="*/ 92 h 207"/>
                <a:gd name="T4" fmla="*/ 507 w 507"/>
                <a:gd name="T5" fmla="*/ 90 h 207"/>
                <a:gd name="T6" fmla="*/ 498 w 507"/>
                <a:gd name="T7" fmla="*/ 0 h 207"/>
                <a:gd name="T8" fmla="*/ 492 w 507"/>
                <a:gd name="T9" fmla="*/ 12 h 207"/>
                <a:gd name="T10" fmla="*/ 217 w 507"/>
                <a:gd name="T11" fmla="*/ 122 h 207"/>
                <a:gd name="T12" fmla="*/ 1 w 507"/>
                <a:gd name="T13" fmla="*/ 60 h 207"/>
                <a:gd name="T14" fmla="*/ 0 w 507"/>
                <a:gd name="T15" fmla="*/ 126 h 207"/>
                <a:gd name="T16" fmla="*/ 231 w 507"/>
                <a:gd name="T17" fmla="*/ 2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7" h="207">
                  <a:moveTo>
                    <a:pt x="231" y="203"/>
                  </a:moveTo>
                  <a:cubicBezTo>
                    <a:pt x="333" y="207"/>
                    <a:pt x="451" y="188"/>
                    <a:pt x="506" y="92"/>
                  </a:cubicBezTo>
                  <a:cubicBezTo>
                    <a:pt x="506" y="92"/>
                    <a:pt x="507" y="91"/>
                    <a:pt x="507" y="9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496" y="4"/>
                    <a:pt x="494" y="8"/>
                    <a:pt x="492" y="12"/>
                  </a:cubicBezTo>
                  <a:cubicBezTo>
                    <a:pt x="437" y="107"/>
                    <a:pt x="319" y="126"/>
                    <a:pt x="217" y="122"/>
                  </a:cubicBezTo>
                  <a:cubicBezTo>
                    <a:pt x="127" y="118"/>
                    <a:pt x="50" y="101"/>
                    <a:pt x="1" y="6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47" y="178"/>
                    <a:pt x="131" y="199"/>
                    <a:pt x="231" y="203"/>
                  </a:cubicBezTo>
                  <a:close/>
                </a:path>
              </a:pathLst>
            </a:custGeom>
            <a:solidFill>
              <a:srgbClr val="E88D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666E2805-A403-4F7C-853B-BF12DEC87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0842" y="5465031"/>
              <a:ext cx="179012" cy="283813"/>
            </a:xfrm>
            <a:custGeom>
              <a:avLst/>
              <a:gdLst>
                <a:gd name="T0" fmla="*/ 82 w 141"/>
                <a:gd name="T1" fmla="*/ 1 h 223"/>
                <a:gd name="T2" fmla="*/ 3 w 141"/>
                <a:gd name="T3" fmla="*/ 156 h 223"/>
                <a:gd name="T4" fmla="*/ 73 w 141"/>
                <a:gd name="T5" fmla="*/ 213 h 223"/>
                <a:gd name="T6" fmla="*/ 115 w 141"/>
                <a:gd name="T7" fmla="*/ 52 h 223"/>
                <a:gd name="T8" fmla="*/ 82 w 141"/>
                <a:gd name="T9" fmla="*/ 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223">
                  <a:moveTo>
                    <a:pt x="82" y="1"/>
                  </a:moveTo>
                  <a:cubicBezTo>
                    <a:pt x="82" y="1"/>
                    <a:pt x="0" y="23"/>
                    <a:pt x="3" y="156"/>
                  </a:cubicBezTo>
                  <a:cubicBezTo>
                    <a:pt x="3" y="156"/>
                    <a:pt x="4" y="223"/>
                    <a:pt x="73" y="213"/>
                  </a:cubicBezTo>
                  <a:cubicBezTo>
                    <a:pt x="141" y="202"/>
                    <a:pt x="115" y="52"/>
                    <a:pt x="115" y="52"/>
                  </a:cubicBezTo>
                  <a:cubicBezTo>
                    <a:pt x="115" y="52"/>
                    <a:pt x="126" y="0"/>
                    <a:pt x="82" y="1"/>
                  </a:cubicBezTo>
                  <a:close/>
                </a:path>
              </a:pathLst>
            </a:custGeom>
            <a:solidFill>
              <a:srgbClr val="F395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EF7246E3-506B-4C50-878B-E2DEB2D8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844" y="5207843"/>
              <a:ext cx="453195" cy="105934"/>
            </a:xfrm>
            <a:custGeom>
              <a:avLst/>
              <a:gdLst>
                <a:gd name="T0" fmla="*/ 319 w 356"/>
                <a:gd name="T1" fmla="*/ 20 h 83"/>
                <a:gd name="T2" fmla="*/ 290 w 356"/>
                <a:gd name="T3" fmla="*/ 34 h 83"/>
                <a:gd name="T4" fmla="*/ 151 w 356"/>
                <a:gd name="T5" fmla="*/ 66 h 83"/>
                <a:gd name="T6" fmla="*/ 108 w 356"/>
                <a:gd name="T7" fmla="*/ 63 h 83"/>
                <a:gd name="T8" fmla="*/ 6 w 356"/>
                <a:gd name="T9" fmla="*/ 24 h 83"/>
                <a:gd name="T10" fmla="*/ 4 w 356"/>
                <a:gd name="T11" fmla="*/ 29 h 83"/>
                <a:gd name="T12" fmla="*/ 0 w 356"/>
                <a:gd name="T13" fmla="*/ 41 h 83"/>
                <a:gd name="T14" fmla="*/ 148 w 356"/>
                <a:gd name="T15" fmla="*/ 83 h 83"/>
                <a:gd name="T16" fmla="*/ 242 w 356"/>
                <a:gd name="T17" fmla="*/ 66 h 83"/>
                <a:gd name="T18" fmla="*/ 310 w 356"/>
                <a:gd name="T19" fmla="*/ 37 h 83"/>
                <a:gd name="T20" fmla="*/ 341 w 356"/>
                <a:gd name="T21" fmla="*/ 18 h 83"/>
                <a:gd name="T22" fmla="*/ 355 w 356"/>
                <a:gd name="T23" fmla="*/ 7 h 83"/>
                <a:gd name="T24" fmla="*/ 355 w 356"/>
                <a:gd name="T25" fmla="*/ 7 h 83"/>
                <a:gd name="T26" fmla="*/ 353 w 356"/>
                <a:gd name="T27" fmla="*/ 0 h 83"/>
                <a:gd name="T28" fmla="*/ 319 w 356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6" h="83">
                  <a:moveTo>
                    <a:pt x="319" y="20"/>
                  </a:moveTo>
                  <a:cubicBezTo>
                    <a:pt x="305" y="26"/>
                    <a:pt x="292" y="33"/>
                    <a:pt x="290" y="34"/>
                  </a:cubicBezTo>
                  <a:cubicBezTo>
                    <a:pt x="246" y="53"/>
                    <a:pt x="199" y="66"/>
                    <a:pt x="151" y="66"/>
                  </a:cubicBezTo>
                  <a:cubicBezTo>
                    <a:pt x="137" y="66"/>
                    <a:pt x="123" y="65"/>
                    <a:pt x="108" y="63"/>
                  </a:cubicBezTo>
                  <a:cubicBezTo>
                    <a:pt x="72" y="58"/>
                    <a:pt x="36" y="45"/>
                    <a:pt x="6" y="24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43" y="73"/>
                    <a:pt x="94" y="83"/>
                    <a:pt x="148" y="83"/>
                  </a:cubicBezTo>
                  <a:cubicBezTo>
                    <a:pt x="180" y="82"/>
                    <a:pt x="212" y="76"/>
                    <a:pt x="242" y="66"/>
                  </a:cubicBezTo>
                  <a:cubicBezTo>
                    <a:pt x="265" y="58"/>
                    <a:pt x="288" y="49"/>
                    <a:pt x="310" y="37"/>
                  </a:cubicBezTo>
                  <a:cubicBezTo>
                    <a:pt x="321" y="31"/>
                    <a:pt x="331" y="25"/>
                    <a:pt x="341" y="18"/>
                  </a:cubicBezTo>
                  <a:cubicBezTo>
                    <a:pt x="346" y="15"/>
                    <a:pt x="351" y="11"/>
                    <a:pt x="355" y="7"/>
                  </a:cubicBezTo>
                  <a:cubicBezTo>
                    <a:pt x="355" y="7"/>
                    <a:pt x="355" y="7"/>
                    <a:pt x="355" y="7"/>
                  </a:cubicBezTo>
                  <a:cubicBezTo>
                    <a:pt x="356" y="6"/>
                    <a:pt x="353" y="1"/>
                    <a:pt x="353" y="0"/>
                  </a:cubicBezTo>
                  <a:cubicBezTo>
                    <a:pt x="353" y="0"/>
                    <a:pt x="336" y="12"/>
                    <a:pt x="319" y="20"/>
                  </a:cubicBezTo>
                  <a:close/>
                </a:path>
              </a:pathLst>
            </a:custGeom>
            <a:solidFill>
              <a:srgbClr val="F2B2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ED73F77E-2DB2-4D25-9CFA-EAC48D2A0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578" y="5635546"/>
              <a:ext cx="116131" cy="62314"/>
            </a:xfrm>
            <a:custGeom>
              <a:avLst/>
              <a:gdLst>
                <a:gd name="T0" fmla="*/ 91 w 91"/>
                <a:gd name="T1" fmla="*/ 0 h 49"/>
                <a:gd name="T2" fmla="*/ 43 w 91"/>
                <a:gd name="T3" fmla="*/ 10 h 49"/>
                <a:gd name="T4" fmla="*/ 36 w 91"/>
                <a:gd name="T5" fmla="*/ 10 h 49"/>
                <a:gd name="T6" fmla="*/ 0 w 91"/>
                <a:gd name="T7" fmla="*/ 3 h 49"/>
                <a:gd name="T8" fmla="*/ 45 w 91"/>
                <a:gd name="T9" fmla="*/ 49 h 49"/>
                <a:gd name="T10" fmla="*/ 91 w 91"/>
                <a:gd name="T11" fmla="*/ 3 h 49"/>
                <a:gd name="T12" fmla="*/ 91 w 9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49">
                  <a:moveTo>
                    <a:pt x="91" y="0"/>
                  </a:moveTo>
                  <a:cubicBezTo>
                    <a:pt x="78" y="7"/>
                    <a:pt x="62" y="10"/>
                    <a:pt x="43" y="10"/>
                  </a:cubicBezTo>
                  <a:cubicBezTo>
                    <a:pt x="40" y="10"/>
                    <a:pt x="38" y="10"/>
                    <a:pt x="36" y="10"/>
                  </a:cubicBezTo>
                  <a:cubicBezTo>
                    <a:pt x="22" y="9"/>
                    <a:pt x="10" y="7"/>
                    <a:pt x="0" y="3"/>
                  </a:cubicBezTo>
                  <a:cubicBezTo>
                    <a:pt x="0" y="28"/>
                    <a:pt x="20" y="49"/>
                    <a:pt x="45" y="49"/>
                  </a:cubicBezTo>
                  <a:cubicBezTo>
                    <a:pt x="71" y="49"/>
                    <a:pt x="91" y="28"/>
                    <a:pt x="91" y="3"/>
                  </a:cubicBezTo>
                  <a:cubicBezTo>
                    <a:pt x="91" y="2"/>
                    <a:pt x="91" y="1"/>
                    <a:pt x="91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4D3D196F-239D-4E85-9B51-4E706079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791" y="5589660"/>
              <a:ext cx="117264" cy="85541"/>
            </a:xfrm>
            <a:custGeom>
              <a:avLst/>
              <a:gdLst>
                <a:gd name="T0" fmla="*/ 6 w 92"/>
                <a:gd name="T1" fmla="*/ 0 h 67"/>
                <a:gd name="T2" fmla="*/ 0 w 92"/>
                <a:gd name="T3" fmla="*/ 22 h 67"/>
                <a:gd name="T4" fmla="*/ 46 w 92"/>
                <a:gd name="T5" fmla="*/ 67 h 67"/>
                <a:gd name="T6" fmla="*/ 92 w 92"/>
                <a:gd name="T7" fmla="*/ 22 h 67"/>
                <a:gd name="T8" fmla="*/ 91 w 92"/>
                <a:gd name="T9" fmla="*/ 15 h 67"/>
                <a:gd name="T10" fmla="*/ 72 w 92"/>
                <a:gd name="T11" fmla="*/ 17 h 67"/>
                <a:gd name="T12" fmla="*/ 51 w 92"/>
                <a:gd name="T13" fmla="*/ 15 h 67"/>
                <a:gd name="T14" fmla="*/ 6 w 92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7">
                  <a:moveTo>
                    <a:pt x="6" y="0"/>
                  </a:moveTo>
                  <a:cubicBezTo>
                    <a:pt x="2" y="7"/>
                    <a:pt x="0" y="14"/>
                    <a:pt x="0" y="22"/>
                  </a:cubicBezTo>
                  <a:cubicBezTo>
                    <a:pt x="0" y="47"/>
                    <a:pt x="21" y="67"/>
                    <a:pt x="46" y="67"/>
                  </a:cubicBezTo>
                  <a:cubicBezTo>
                    <a:pt x="71" y="67"/>
                    <a:pt x="92" y="47"/>
                    <a:pt x="92" y="22"/>
                  </a:cubicBezTo>
                  <a:cubicBezTo>
                    <a:pt x="92" y="19"/>
                    <a:pt x="92" y="17"/>
                    <a:pt x="91" y="15"/>
                  </a:cubicBezTo>
                  <a:cubicBezTo>
                    <a:pt x="85" y="16"/>
                    <a:pt x="79" y="17"/>
                    <a:pt x="72" y="17"/>
                  </a:cubicBezTo>
                  <a:cubicBezTo>
                    <a:pt x="65" y="17"/>
                    <a:pt x="58" y="16"/>
                    <a:pt x="51" y="15"/>
                  </a:cubicBezTo>
                  <a:cubicBezTo>
                    <a:pt x="33" y="12"/>
                    <a:pt x="18" y="7"/>
                    <a:pt x="6" y="0"/>
                  </a:cubicBezTo>
                </a:path>
              </a:pathLst>
            </a:custGeom>
            <a:solidFill>
              <a:srgbClr val="FAB2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D6FE1EF8-6E94-4C5C-83BF-410A1DC23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5772" y="5383456"/>
              <a:ext cx="608414" cy="265119"/>
            </a:xfrm>
            <a:custGeom>
              <a:avLst/>
              <a:gdLst>
                <a:gd name="T0" fmla="*/ 473 w 478"/>
                <a:gd name="T1" fmla="*/ 56 h 208"/>
                <a:gd name="T2" fmla="*/ 460 w 478"/>
                <a:gd name="T3" fmla="*/ 52 h 208"/>
                <a:gd name="T4" fmla="*/ 460 w 478"/>
                <a:gd name="T5" fmla="*/ 52 h 208"/>
                <a:gd name="T6" fmla="*/ 456 w 478"/>
                <a:gd name="T7" fmla="*/ 51 h 208"/>
                <a:gd name="T8" fmla="*/ 279 w 478"/>
                <a:gd name="T9" fmla="*/ 64 h 208"/>
                <a:gd name="T10" fmla="*/ 274 w 478"/>
                <a:gd name="T11" fmla="*/ 86 h 208"/>
                <a:gd name="T12" fmla="*/ 243 w 478"/>
                <a:gd name="T13" fmla="*/ 68 h 208"/>
                <a:gd name="T14" fmla="*/ 198 w 478"/>
                <a:gd name="T15" fmla="*/ 78 h 208"/>
                <a:gd name="T16" fmla="*/ 198 w 478"/>
                <a:gd name="T17" fmla="*/ 53 h 208"/>
                <a:gd name="T18" fmla="*/ 27 w 478"/>
                <a:gd name="T19" fmla="*/ 6 h 208"/>
                <a:gd name="T20" fmla="*/ 22 w 478"/>
                <a:gd name="T21" fmla="*/ 6 h 208"/>
                <a:gd name="T22" fmla="*/ 22 w 478"/>
                <a:gd name="T23" fmla="*/ 6 h 208"/>
                <a:gd name="T24" fmla="*/ 9 w 478"/>
                <a:gd name="T25" fmla="*/ 7 h 208"/>
                <a:gd name="T26" fmla="*/ 4 w 478"/>
                <a:gd name="T27" fmla="*/ 13 h 208"/>
                <a:gd name="T28" fmla="*/ 10 w 478"/>
                <a:gd name="T29" fmla="*/ 19 h 208"/>
                <a:gd name="T30" fmla="*/ 10 w 478"/>
                <a:gd name="T31" fmla="*/ 19 h 208"/>
                <a:gd name="T32" fmla="*/ 19 w 478"/>
                <a:gd name="T33" fmla="*/ 18 h 208"/>
                <a:gd name="T34" fmla="*/ 20 w 478"/>
                <a:gd name="T35" fmla="*/ 141 h 208"/>
                <a:gd name="T36" fmla="*/ 88 w 478"/>
                <a:gd name="T37" fmla="*/ 177 h 208"/>
                <a:gd name="T38" fmla="*/ 109 w 478"/>
                <a:gd name="T39" fmla="*/ 179 h 208"/>
                <a:gd name="T40" fmla="*/ 164 w 478"/>
                <a:gd name="T41" fmla="*/ 159 h 208"/>
                <a:gd name="T42" fmla="*/ 196 w 478"/>
                <a:gd name="T43" fmla="*/ 95 h 208"/>
                <a:gd name="T44" fmla="*/ 241 w 478"/>
                <a:gd name="T45" fmla="*/ 80 h 208"/>
                <a:gd name="T46" fmla="*/ 273 w 478"/>
                <a:gd name="T47" fmla="*/ 108 h 208"/>
                <a:gd name="T48" fmla="*/ 291 w 478"/>
                <a:gd name="T49" fmla="*/ 175 h 208"/>
                <a:gd name="T50" fmla="*/ 363 w 478"/>
                <a:gd name="T51" fmla="*/ 208 h 208"/>
                <a:gd name="T52" fmla="*/ 370 w 478"/>
                <a:gd name="T53" fmla="*/ 208 h 208"/>
                <a:gd name="T54" fmla="*/ 437 w 478"/>
                <a:gd name="T55" fmla="*/ 185 h 208"/>
                <a:gd name="T56" fmla="*/ 461 w 478"/>
                <a:gd name="T57" fmla="*/ 65 h 208"/>
                <a:gd name="T58" fmla="*/ 470 w 478"/>
                <a:gd name="T59" fmla="*/ 67 h 208"/>
                <a:gd name="T60" fmla="*/ 472 w 478"/>
                <a:gd name="T61" fmla="*/ 67 h 208"/>
                <a:gd name="T62" fmla="*/ 477 w 478"/>
                <a:gd name="T63" fmla="*/ 63 h 208"/>
                <a:gd name="T64" fmla="*/ 473 w 478"/>
                <a:gd name="T65" fmla="*/ 56 h 208"/>
                <a:gd name="T66" fmla="*/ 156 w 478"/>
                <a:gd name="T67" fmla="*/ 150 h 208"/>
                <a:gd name="T68" fmla="*/ 90 w 478"/>
                <a:gd name="T69" fmla="*/ 165 h 208"/>
                <a:gd name="T70" fmla="*/ 30 w 478"/>
                <a:gd name="T71" fmla="*/ 134 h 208"/>
                <a:gd name="T72" fmla="*/ 32 w 478"/>
                <a:gd name="T73" fmla="*/ 18 h 208"/>
                <a:gd name="T74" fmla="*/ 42 w 478"/>
                <a:gd name="T75" fmla="*/ 17 h 208"/>
                <a:gd name="T76" fmla="*/ 43 w 478"/>
                <a:gd name="T77" fmla="*/ 17 h 208"/>
                <a:gd name="T78" fmla="*/ 108 w 478"/>
                <a:gd name="T79" fmla="*/ 20 h 208"/>
                <a:gd name="T80" fmla="*/ 186 w 478"/>
                <a:gd name="T81" fmla="*/ 53 h 208"/>
                <a:gd name="T82" fmla="*/ 156 w 478"/>
                <a:gd name="T83" fmla="*/ 150 h 208"/>
                <a:gd name="T84" fmla="*/ 428 w 478"/>
                <a:gd name="T85" fmla="*/ 177 h 208"/>
                <a:gd name="T86" fmla="*/ 363 w 478"/>
                <a:gd name="T87" fmla="*/ 196 h 208"/>
                <a:gd name="T88" fmla="*/ 301 w 478"/>
                <a:gd name="T89" fmla="*/ 168 h 208"/>
                <a:gd name="T90" fmla="*/ 285 w 478"/>
                <a:gd name="T91" fmla="*/ 109 h 208"/>
                <a:gd name="T92" fmla="*/ 285 w 478"/>
                <a:gd name="T93" fmla="*/ 109 h 208"/>
                <a:gd name="T94" fmla="*/ 285 w 478"/>
                <a:gd name="T95" fmla="*/ 107 h 208"/>
                <a:gd name="T96" fmla="*/ 290 w 478"/>
                <a:gd name="T97" fmla="*/ 67 h 208"/>
                <a:gd name="T98" fmla="*/ 345 w 478"/>
                <a:gd name="T99" fmla="*/ 48 h 208"/>
                <a:gd name="T100" fmla="*/ 437 w 478"/>
                <a:gd name="T101" fmla="*/ 59 h 208"/>
                <a:gd name="T102" fmla="*/ 439 w 478"/>
                <a:gd name="T103" fmla="*/ 60 h 208"/>
                <a:gd name="T104" fmla="*/ 449 w 478"/>
                <a:gd name="T105" fmla="*/ 62 h 208"/>
                <a:gd name="T106" fmla="*/ 428 w 478"/>
                <a:gd name="T107" fmla="*/ 177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8" h="208">
                  <a:moveTo>
                    <a:pt x="473" y="56"/>
                  </a:moveTo>
                  <a:cubicBezTo>
                    <a:pt x="473" y="55"/>
                    <a:pt x="468" y="54"/>
                    <a:pt x="460" y="52"/>
                  </a:cubicBezTo>
                  <a:cubicBezTo>
                    <a:pt x="460" y="52"/>
                    <a:pt x="460" y="52"/>
                    <a:pt x="460" y="52"/>
                  </a:cubicBezTo>
                  <a:cubicBezTo>
                    <a:pt x="456" y="51"/>
                    <a:pt x="456" y="51"/>
                    <a:pt x="456" y="51"/>
                  </a:cubicBezTo>
                  <a:cubicBezTo>
                    <a:pt x="439" y="47"/>
                    <a:pt x="292" y="13"/>
                    <a:pt x="279" y="64"/>
                  </a:cubicBezTo>
                  <a:cubicBezTo>
                    <a:pt x="277" y="69"/>
                    <a:pt x="276" y="76"/>
                    <a:pt x="274" y="86"/>
                  </a:cubicBezTo>
                  <a:cubicBezTo>
                    <a:pt x="268" y="78"/>
                    <a:pt x="258" y="71"/>
                    <a:pt x="243" y="68"/>
                  </a:cubicBezTo>
                  <a:cubicBezTo>
                    <a:pt x="224" y="65"/>
                    <a:pt x="208" y="72"/>
                    <a:pt x="198" y="78"/>
                  </a:cubicBezTo>
                  <a:cubicBezTo>
                    <a:pt x="199" y="67"/>
                    <a:pt x="199" y="58"/>
                    <a:pt x="198" y="53"/>
                  </a:cubicBezTo>
                  <a:cubicBezTo>
                    <a:pt x="195" y="0"/>
                    <a:pt x="44" y="5"/>
                    <a:pt x="27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6"/>
                    <a:pt x="9" y="7"/>
                    <a:pt x="9" y="7"/>
                  </a:cubicBezTo>
                  <a:cubicBezTo>
                    <a:pt x="6" y="7"/>
                    <a:pt x="3" y="10"/>
                    <a:pt x="4" y="13"/>
                  </a:cubicBezTo>
                  <a:cubicBezTo>
                    <a:pt x="4" y="16"/>
                    <a:pt x="6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4" y="18"/>
                    <a:pt x="19" y="18"/>
                  </a:cubicBezTo>
                  <a:cubicBezTo>
                    <a:pt x="7" y="68"/>
                    <a:pt x="0" y="111"/>
                    <a:pt x="20" y="141"/>
                  </a:cubicBezTo>
                  <a:cubicBezTo>
                    <a:pt x="33" y="160"/>
                    <a:pt x="55" y="172"/>
                    <a:pt x="88" y="177"/>
                  </a:cubicBezTo>
                  <a:cubicBezTo>
                    <a:pt x="95" y="178"/>
                    <a:pt x="102" y="179"/>
                    <a:pt x="109" y="179"/>
                  </a:cubicBezTo>
                  <a:cubicBezTo>
                    <a:pt x="131" y="179"/>
                    <a:pt x="150" y="172"/>
                    <a:pt x="164" y="159"/>
                  </a:cubicBezTo>
                  <a:cubicBezTo>
                    <a:pt x="183" y="142"/>
                    <a:pt x="192" y="117"/>
                    <a:pt x="196" y="95"/>
                  </a:cubicBezTo>
                  <a:cubicBezTo>
                    <a:pt x="201" y="90"/>
                    <a:pt x="218" y="77"/>
                    <a:pt x="241" y="80"/>
                  </a:cubicBezTo>
                  <a:cubicBezTo>
                    <a:pt x="263" y="84"/>
                    <a:pt x="271" y="101"/>
                    <a:pt x="273" y="108"/>
                  </a:cubicBezTo>
                  <a:cubicBezTo>
                    <a:pt x="273" y="130"/>
                    <a:pt x="276" y="155"/>
                    <a:pt x="291" y="175"/>
                  </a:cubicBezTo>
                  <a:cubicBezTo>
                    <a:pt x="307" y="195"/>
                    <a:pt x="331" y="206"/>
                    <a:pt x="363" y="208"/>
                  </a:cubicBezTo>
                  <a:cubicBezTo>
                    <a:pt x="365" y="208"/>
                    <a:pt x="367" y="208"/>
                    <a:pt x="370" y="208"/>
                  </a:cubicBezTo>
                  <a:cubicBezTo>
                    <a:pt x="400" y="208"/>
                    <a:pt x="422" y="200"/>
                    <a:pt x="437" y="185"/>
                  </a:cubicBezTo>
                  <a:cubicBezTo>
                    <a:pt x="462" y="160"/>
                    <a:pt x="463" y="116"/>
                    <a:pt x="461" y="65"/>
                  </a:cubicBezTo>
                  <a:cubicBezTo>
                    <a:pt x="466" y="66"/>
                    <a:pt x="470" y="67"/>
                    <a:pt x="470" y="67"/>
                  </a:cubicBezTo>
                  <a:cubicBezTo>
                    <a:pt x="470" y="67"/>
                    <a:pt x="471" y="67"/>
                    <a:pt x="472" y="67"/>
                  </a:cubicBezTo>
                  <a:cubicBezTo>
                    <a:pt x="474" y="67"/>
                    <a:pt x="477" y="66"/>
                    <a:pt x="477" y="63"/>
                  </a:cubicBezTo>
                  <a:cubicBezTo>
                    <a:pt x="478" y="60"/>
                    <a:pt x="476" y="56"/>
                    <a:pt x="473" y="56"/>
                  </a:cubicBezTo>
                  <a:moveTo>
                    <a:pt x="156" y="150"/>
                  </a:moveTo>
                  <a:cubicBezTo>
                    <a:pt x="140" y="165"/>
                    <a:pt x="118" y="170"/>
                    <a:pt x="90" y="165"/>
                  </a:cubicBezTo>
                  <a:cubicBezTo>
                    <a:pt x="60" y="161"/>
                    <a:pt x="41" y="150"/>
                    <a:pt x="30" y="134"/>
                  </a:cubicBezTo>
                  <a:cubicBezTo>
                    <a:pt x="12" y="108"/>
                    <a:pt x="20" y="66"/>
                    <a:pt x="32" y="18"/>
                  </a:cubicBezTo>
                  <a:cubicBezTo>
                    <a:pt x="35" y="17"/>
                    <a:pt x="39" y="17"/>
                    <a:pt x="42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59" y="17"/>
                    <a:pt x="83" y="18"/>
                    <a:pt x="108" y="20"/>
                  </a:cubicBezTo>
                  <a:cubicBezTo>
                    <a:pt x="158" y="25"/>
                    <a:pt x="185" y="37"/>
                    <a:pt x="186" y="53"/>
                  </a:cubicBezTo>
                  <a:cubicBezTo>
                    <a:pt x="188" y="85"/>
                    <a:pt x="181" y="128"/>
                    <a:pt x="156" y="150"/>
                  </a:cubicBezTo>
                  <a:moveTo>
                    <a:pt x="428" y="177"/>
                  </a:moveTo>
                  <a:cubicBezTo>
                    <a:pt x="414" y="190"/>
                    <a:pt x="393" y="197"/>
                    <a:pt x="363" y="196"/>
                  </a:cubicBezTo>
                  <a:cubicBezTo>
                    <a:pt x="335" y="195"/>
                    <a:pt x="314" y="185"/>
                    <a:pt x="301" y="168"/>
                  </a:cubicBezTo>
                  <a:cubicBezTo>
                    <a:pt x="289" y="152"/>
                    <a:pt x="285" y="130"/>
                    <a:pt x="285" y="109"/>
                  </a:cubicBezTo>
                  <a:cubicBezTo>
                    <a:pt x="285" y="109"/>
                    <a:pt x="285" y="109"/>
                    <a:pt x="285" y="109"/>
                  </a:cubicBezTo>
                  <a:cubicBezTo>
                    <a:pt x="285" y="108"/>
                    <a:pt x="285" y="108"/>
                    <a:pt x="285" y="107"/>
                  </a:cubicBezTo>
                  <a:cubicBezTo>
                    <a:pt x="285" y="93"/>
                    <a:pt x="287" y="79"/>
                    <a:pt x="290" y="67"/>
                  </a:cubicBezTo>
                  <a:cubicBezTo>
                    <a:pt x="294" y="53"/>
                    <a:pt x="316" y="48"/>
                    <a:pt x="345" y="48"/>
                  </a:cubicBezTo>
                  <a:cubicBezTo>
                    <a:pt x="373" y="48"/>
                    <a:pt x="408" y="53"/>
                    <a:pt x="437" y="59"/>
                  </a:cubicBezTo>
                  <a:cubicBezTo>
                    <a:pt x="438" y="59"/>
                    <a:pt x="438" y="60"/>
                    <a:pt x="439" y="60"/>
                  </a:cubicBezTo>
                  <a:cubicBezTo>
                    <a:pt x="442" y="60"/>
                    <a:pt x="446" y="61"/>
                    <a:pt x="449" y="62"/>
                  </a:cubicBezTo>
                  <a:cubicBezTo>
                    <a:pt x="451" y="111"/>
                    <a:pt x="451" y="154"/>
                    <a:pt x="428" y="177"/>
                  </a:cubicBezTo>
                </a:path>
              </a:pathLst>
            </a:custGeom>
            <a:solidFill>
              <a:srgbClr val="663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86B8E9F6-8AA3-4C56-BBC3-4E6CD6256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400" y="5158558"/>
              <a:ext cx="455461" cy="79876"/>
            </a:xfrm>
            <a:custGeom>
              <a:avLst/>
              <a:gdLst>
                <a:gd name="T0" fmla="*/ 354 w 358"/>
                <a:gd name="T1" fmla="*/ 0 h 63"/>
                <a:gd name="T2" fmla="*/ 148 w 358"/>
                <a:gd name="T3" fmla="*/ 55 h 63"/>
                <a:gd name="T4" fmla="*/ 42 w 358"/>
                <a:gd name="T5" fmla="*/ 38 h 63"/>
                <a:gd name="T6" fmla="*/ 14 w 358"/>
                <a:gd name="T7" fmla="*/ 26 h 63"/>
                <a:gd name="T8" fmla="*/ 7 w 358"/>
                <a:gd name="T9" fmla="*/ 22 h 63"/>
                <a:gd name="T10" fmla="*/ 5 w 358"/>
                <a:gd name="T11" fmla="*/ 21 h 63"/>
                <a:gd name="T12" fmla="*/ 4 w 358"/>
                <a:gd name="T13" fmla="*/ 21 h 63"/>
                <a:gd name="T14" fmla="*/ 4 w 358"/>
                <a:gd name="T15" fmla="*/ 21 h 63"/>
                <a:gd name="T16" fmla="*/ 0 w 358"/>
                <a:gd name="T17" fmla="*/ 28 h 63"/>
                <a:gd name="T18" fmla="*/ 148 w 358"/>
                <a:gd name="T19" fmla="*/ 63 h 63"/>
                <a:gd name="T20" fmla="*/ 358 w 358"/>
                <a:gd name="T21" fmla="*/ 7 h 63"/>
                <a:gd name="T22" fmla="*/ 354 w 358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8" h="63">
                  <a:moveTo>
                    <a:pt x="354" y="0"/>
                  </a:moveTo>
                  <a:cubicBezTo>
                    <a:pt x="274" y="42"/>
                    <a:pt x="204" y="55"/>
                    <a:pt x="148" y="55"/>
                  </a:cubicBezTo>
                  <a:cubicBezTo>
                    <a:pt x="102" y="55"/>
                    <a:pt x="66" y="46"/>
                    <a:pt x="42" y="38"/>
                  </a:cubicBezTo>
                  <a:cubicBezTo>
                    <a:pt x="30" y="34"/>
                    <a:pt x="20" y="29"/>
                    <a:pt x="14" y="26"/>
                  </a:cubicBezTo>
                  <a:cubicBezTo>
                    <a:pt x="11" y="25"/>
                    <a:pt x="8" y="23"/>
                    <a:pt x="7" y="22"/>
                  </a:cubicBezTo>
                  <a:cubicBezTo>
                    <a:pt x="6" y="22"/>
                    <a:pt x="5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55" y="63"/>
                    <a:pt x="148" y="63"/>
                  </a:cubicBezTo>
                  <a:cubicBezTo>
                    <a:pt x="205" y="63"/>
                    <a:pt x="276" y="50"/>
                    <a:pt x="358" y="7"/>
                  </a:cubicBezTo>
                  <a:cubicBezTo>
                    <a:pt x="354" y="0"/>
                    <a:pt x="354" y="0"/>
                    <a:pt x="354" y="0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7738920B-9A3E-4258-A630-31B12A9A0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267" y="5098510"/>
              <a:ext cx="455461" cy="100836"/>
            </a:xfrm>
            <a:custGeom>
              <a:avLst/>
              <a:gdLst>
                <a:gd name="T0" fmla="*/ 0 w 358"/>
                <a:gd name="T1" fmla="*/ 6 h 79"/>
                <a:gd name="T2" fmla="*/ 58 w 358"/>
                <a:gd name="T3" fmla="*/ 43 h 79"/>
                <a:gd name="T4" fmla="*/ 218 w 358"/>
                <a:gd name="T5" fmla="*/ 79 h 79"/>
                <a:gd name="T6" fmla="*/ 358 w 358"/>
                <a:gd name="T7" fmla="*/ 55 h 79"/>
                <a:gd name="T8" fmla="*/ 356 w 358"/>
                <a:gd name="T9" fmla="*/ 47 h 79"/>
                <a:gd name="T10" fmla="*/ 218 w 358"/>
                <a:gd name="T11" fmla="*/ 71 h 79"/>
                <a:gd name="T12" fmla="*/ 62 w 358"/>
                <a:gd name="T13" fmla="*/ 36 h 79"/>
                <a:gd name="T14" fmla="*/ 20 w 358"/>
                <a:gd name="T15" fmla="*/ 11 h 79"/>
                <a:gd name="T16" fmla="*/ 9 w 358"/>
                <a:gd name="T17" fmla="*/ 3 h 79"/>
                <a:gd name="T18" fmla="*/ 6 w 358"/>
                <a:gd name="T19" fmla="*/ 1 h 79"/>
                <a:gd name="T20" fmla="*/ 5 w 358"/>
                <a:gd name="T21" fmla="*/ 1 h 79"/>
                <a:gd name="T22" fmla="*/ 5 w 358"/>
                <a:gd name="T23" fmla="*/ 0 h 79"/>
                <a:gd name="T24" fmla="*/ 0 w 358"/>
                <a:gd name="T25" fmla="*/ 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8" h="79">
                  <a:moveTo>
                    <a:pt x="0" y="6"/>
                  </a:moveTo>
                  <a:cubicBezTo>
                    <a:pt x="0" y="7"/>
                    <a:pt x="21" y="25"/>
                    <a:pt x="58" y="43"/>
                  </a:cubicBezTo>
                  <a:cubicBezTo>
                    <a:pt x="95" y="61"/>
                    <a:pt x="150" y="79"/>
                    <a:pt x="218" y="79"/>
                  </a:cubicBezTo>
                  <a:cubicBezTo>
                    <a:pt x="260" y="79"/>
                    <a:pt x="307" y="72"/>
                    <a:pt x="358" y="55"/>
                  </a:cubicBezTo>
                  <a:cubicBezTo>
                    <a:pt x="356" y="47"/>
                    <a:pt x="356" y="47"/>
                    <a:pt x="356" y="47"/>
                  </a:cubicBezTo>
                  <a:cubicBezTo>
                    <a:pt x="305" y="64"/>
                    <a:pt x="259" y="71"/>
                    <a:pt x="218" y="71"/>
                  </a:cubicBezTo>
                  <a:cubicBezTo>
                    <a:pt x="151" y="71"/>
                    <a:pt x="98" y="53"/>
                    <a:pt x="62" y="36"/>
                  </a:cubicBezTo>
                  <a:cubicBezTo>
                    <a:pt x="43" y="27"/>
                    <a:pt x="29" y="18"/>
                    <a:pt x="20" y="11"/>
                  </a:cubicBezTo>
                  <a:cubicBezTo>
                    <a:pt x="15" y="8"/>
                    <a:pt x="11" y="5"/>
                    <a:pt x="9" y="3"/>
                  </a:cubicBezTo>
                  <a:cubicBezTo>
                    <a:pt x="8" y="2"/>
                    <a:pt x="7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727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202C3CD0-C2A2-4438-B31D-6D60C2F49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1264" y="5405549"/>
              <a:ext cx="212435" cy="188076"/>
            </a:xfrm>
            <a:custGeom>
              <a:avLst/>
              <a:gdLst>
                <a:gd name="T0" fmla="*/ 94 w 167"/>
                <a:gd name="T1" fmla="*/ 80 h 148"/>
                <a:gd name="T2" fmla="*/ 83 w 167"/>
                <a:gd name="T3" fmla="*/ 69 h 148"/>
                <a:gd name="T4" fmla="*/ 94 w 167"/>
                <a:gd name="T5" fmla="*/ 58 h 148"/>
                <a:gd name="T6" fmla="*/ 105 w 167"/>
                <a:gd name="T7" fmla="*/ 69 h 148"/>
                <a:gd name="T8" fmla="*/ 94 w 167"/>
                <a:gd name="T9" fmla="*/ 80 h 148"/>
                <a:gd name="T10" fmla="*/ 28 w 167"/>
                <a:gd name="T11" fmla="*/ 0 h 148"/>
                <a:gd name="T12" fmla="*/ 23 w 167"/>
                <a:gd name="T13" fmla="*/ 0 h 148"/>
                <a:gd name="T14" fmla="*/ 22 w 167"/>
                <a:gd name="T15" fmla="*/ 0 h 148"/>
                <a:gd name="T16" fmla="*/ 19 w 167"/>
                <a:gd name="T17" fmla="*/ 0 h 148"/>
                <a:gd name="T18" fmla="*/ 12 w 167"/>
                <a:gd name="T19" fmla="*/ 1 h 148"/>
                <a:gd name="T20" fmla="*/ 0 w 167"/>
                <a:gd name="T21" fmla="*/ 76 h 148"/>
                <a:gd name="T22" fmla="*/ 10 w 167"/>
                <a:gd name="T23" fmla="*/ 117 h 148"/>
                <a:gd name="T24" fmla="*/ 30 w 167"/>
                <a:gd name="T25" fmla="*/ 135 h 148"/>
                <a:gd name="T26" fmla="*/ 63 w 167"/>
                <a:gd name="T27" fmla="*/ 121 h 148"/>
                <a:gd name="T28" fmla="*/ 105 w 167"/>
                <a:gd name="T29" fmla="*/ 148 h 148"/>
                <a:gd name="T30" fmla="*/ 136 w 167"/>
                <a:gd name="T31" fmla="*/ 133 h 148"/>
                <a:gd name="T32" fmla="*/ 167 w 167"/>
                <a:gd name="T33" fmla="*/ 46 h 148"/>
                <a:gd name="T34" fmla="*/ 166 w 167"/>
                <a:gd name="T35" fmla="*/ 36 h 148"/>
                <a:gd name="T36" fmla="*/ 106 w 167"/>
                <a:gd name="T37" fmla="*/ 5 h 148"/>
                <a:gd name="T38" fmla="*/ 105 w 167"/>
                <a:gd name="T39" fmla="*/ 6 h 148"/>
                <a:gd name="T40" fmla="*/ 91 w 167"/>
                <a:gd name="T41" fmla="*/ 6 h 148"/>
                <a:gd name="T42" fmla="*/ 62 w 167"/>
                <a:gd name="T43" fmla="*/ 1 h 148"/>
                <a:gd name="T44" fmla="*/ 28 w 167"/>
                <a:gd name="T45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" h="148">
                  <a:moveTo>
                    <a:pt x="94" y="80"/>
                  </a:moveTo>
                  <a:cubicBezTo>
                    <a:pt x="88" y="80"/>
                    <a:pt x="83" y="75"/>
                    <a:pt x="83" y="69"/>
                  </a:cubicBezTo>
                  <a:cubicBezTo>
                    <a:pt x="83" y="63"/>
                    <a:pt x="88" y="58"/>
                    <a:pt x="94" y="58"/>
                  </a:cubicBezTo>
                  <a:cubicBezTo>
                    <a:pt x="100" y="58"/>
                    <a:pt x="105" y="63"/>
                    <a:pt x="105" y="69"/>
                  </a:cubicBezTo>
                  <a:cubicBezTo>
                    <a:pt x="105" y="75"/>
                    <a:pt x="100" y="80"/>
                    <a:pt x="94" y="80"/>
                  </a:cubicBezTo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92"/>
                    <a:pt x="2" y="106"/>
                    <a:pt x="10" y="117"/>
                  </a:cubicBezTo>
                  <a:cubicBezTo>
                    <a:pt x="15" y="125"/>
                    <a:pt x="21" y="131"/>
                    <a:pt x="30" y="135"/>
                  </a:cubicBezTo>
                  <a:cubicBezTo>
                    <a:pt x="38" y="127"/>
                    <a:pt x="50" y="121"/>
                    <a:pt x="63" y="121"/>
                  </a:cubicBezTo>
                  <a:cubicBezTo>
                    <a:pt x="82" y="121"/>
                    <a:pt x="98" y="132"/>
                    <a:pt x="105" y="148"/>
                  </a:cubicBezTo>
                  <a:cubicBezTo>
                    <a:pt x="117" y="146"/>
                    <a:pt x="128" y="141"/>
                    <a:pt x="136" y="133"/>
                  </a:cubicBezTo>
                  <a:cubicBezTo>
                    <a:pt x="159" y="113"/>
                    <a:pt x="167" y="77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2"/>
                    <a:pt x="144" y="11"/>
                    <a:pt x="106" y="5"/>
                  </a:cubicBezTo>
                  <a:cubicBezTo>
                    <a:pt x="106" y="6"/>
                    <a:pt x="105" y="6"/>
                    <a:pt x="105" y="6"/>
                  </a:cubicBezTo>
                  <a:cubicBezTo>
                    <a:pt x="100" y="6"/>
                    <a:pt x="96" y="6"/>
                    <a:pt x="91" y="6"/>
                  </a:cubicBezTo>
                  <a:cubicBezTo>
                    <a:pt x="81" y="6"/>
                    <a:pt x="71" y="5"/>
                    <a:pt x="62" y="1"/>
                  </a:cubicBezTo>
                  <a:cubicBezTo>
                    <a:pt x="49" y="1"/>
                    <a:pt x="37" y="0"/>
                    <a:pt x="28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9">
              <a:extLst>
                <a:ext uri="{FF2B5EF4-FFF2-40B4-BE49-F238E27FC236}">
                  <a16:creationId xmlns:a16="http://schemas.microsoft.com/office/drawing/2014/main" id="{3221A0C2-7421-4CB6-8296-792731B295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632" y="5479194"/>
              <a:ext cx="28325" cy="27758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F8B577A5-BAB7-4AC7-B08E-BA0F2631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006" y="5406682"/>
              <a:ext cx="56083" cy="6231"/>
            </a:xfrm>
            <a:custGeom>
              <a:avLst/>
              <a:gdLst>
                <a:gd name="T0" fmla="*/ 0 w 44"/>
                <a:gd name="T1" fmla="*/ 0 h 5"/>
                <a:gd name="T2" fmla="*/ 29 w 44"/>
                <a:gd name="T3" fmla="*/ 5 h 5"/>
                <a:gd name="T4" fmla="*/ 43 w 44"/>
                <a:gd name="T5" fmla="*/ 5 h 5"/>
                <a:gd name="T6" fmla="*/ 44 w 44"/>
                <a:gd name="T7" fmla="*/ 4 h 5"/>
                <a:gd name="T8" fmla="*/ 26 w 44"/>
                <a:gd name="T9" fmla="*/ 2 h 5"/>
                <a:gd name="T10" fmla="*/ 0 w 4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5">
                  <a:moveTo>
                    <a:pt x="0" y="0"/>
                  </a:moveTo>
                  <a:cubicBezTo>
                    <a:pt x="9" y="4"/>
                    <a:pt x="19" y="5"/>
                    <a:pt x="29" y="5"/>
                  </a:cubicBezTo>
                  <a:cubicBezTo>
                    <a:pt x="34" y="5"/>
                    <a:pt x="38" y="5"/>
                    <a:pt x="43" y="5"/>
                  </a:cubicBezTo>
                  <a:cubicBezTo>
                    <a:pt x="43" y="5"/>
                    <a:pt x="44" y="5"/>
                    <a:pt x="44" y="4"/>
                  </a:cubicBezTo>
                  <a:cubicBezTo>
                    <a:pt x="38" y="4"/>
                    <a:pt x="32" y="3"/>
                    <a:pt x="26" y="2"/>
                  </a:cubicBezTo>
                  <a:cubicBezTo>
                    <a:pt x="17" y="1"/>
                    <a:pt x="8" y="1"/>
                    <a:pt x="0" y="0"/>
                  </a:cubicBezTo>
                </a:path>
              </a:pathLst>
            </a:custGeom>
            <a:solidFill>
              <a:srgbClr val="5354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2DEEEA26-AFB9-4ADB-82F7-987D46366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219" y="5559069"/>
              <a:ext cx="95737" cy="37389"/>
            </a:xfrm>
            <a:custGeom>
              <a:avLst/>
              <a:gdLst>
                <a:gd name="T0" fmla="*/ 33 w 75"/>
                <a:gd name="T1" fmla="*/ 0 h 29"/>
                <a:gd name="T2" fmla="*/ 0 w 75"/>
                <a:gd name="T3" fmla="*/ 14 h 29"/>
                <a:gd name="T4" fmla="*/ 40 w 75"/>
                <a:gd name="T5" fmla="*/ 27 h 29"/>
                <a:gd name="T6" fmla="*/ 58 w 75"/>
                <a:gd name="T7" fmla="*/ 29 h 29"/>
                <a:gd name="T8" fmla="*/ 75 w 75"/>
                <a:gd name="T9" fmla="*/ 27 h 29"/>
                <a:gd name="T10" fmla="*/ 33 w 75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29">
                  <a:moveTo>
                    <a:pt x="33" y="0"/>
                  </a:moveTo>
                  <a:cubicBezTo>
                    <a:pt x="20" y="0"/>
                    <a:pt x="8" y="6"/>
                    <a:pt x="0" y="14"/>
                  </a:cubicBezTo>
                  <a:cubicBezTo>
                    <a:pt x="10" y="20"/>
                    <a:pt x="23" y="25"/>
                    <a:pt x="40" y="27"/>
                  </a:cubicBezTo>
                  <a:cubicBezTo>
                    <a:pt x="46" y="28"/>
                    <a:pt x="53" y="29"/>
                    <a:pt x="58" y="29"/>
                  </a:cubicBezTo>
                  <a:cubicBezTo>
                    <a:pt x="64" y="29"/>
                    <a:pt x="70" y="28"/>
                    <a:pt x="75" y="27"/>
                  </a:cubicBezTo>
                  <a:cubicBezTo>
                    <a:pt x="68" y="11"/>
                    <a:pt x="52" y="0"/>
                    <a:pt x="33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94325CF-E4E9-4DC2-9E20-76518EDE8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264" y="5405549"/>
              <a:ext cx="212435" cy="96304"/>
            </a:xfrm>
            <a:custGeom>
              <a:avLst/>
              <a:gdLst>
                <a:gd name="T0" fmla="*/ 28 w 167"/>
                <a:gd name="T1" fmla="*/ 0 h 76"/>
                <a:gd name="T2" fmla="*/ 23 w 167"/>
                <a:gd name="T3" fmla="*/ 0 h 76"/>
                <a:gd name="T4" fmla="*/ 22 w 167"/>
                <a:gd name="T5" fmla="*/ 0 h 76"/>
                <a:gd name="T6" fmla="*/ 19 w 167"/>
                <a:gd name="T7" fmla="*/ 0 h 76"/>
                <a:gd name="T8" fmla="*/ 12 w 167"/>
                <a:gd name="T9" fmla="*/ 1 h 76"/>
                <a:gd name="T10" fmla="*/ 0 w 167"/>
                <a:gd name="T11" fmla="*/ 76 h 76"/>
                <a:gd name="T12" fmla="*/ 12 w 167"/>
                <a:gd name="T13" fmla="*/ 1 h 76"/>
                <a:gd name="T14" fmla="*/ 19 w 167"/>
                <a:gd name="T15" fmla="*/ 0 h 76"/>
                <a:gd name="T16" fmla="*/ 22 w 167"/>
                <a:gd name="T17" fmla="*/ 0 h 76"/>
                <a:gd name="T18" fmla="*/ 23 w 167"/>
                <a:gd name="T19" fmla="*/ 0 h 76"/>
                <a:gd name="T20" fmla="*/ 28 w 167"/>
                <a:gd name="T21" fmla="*/ 0 h 76"/>
                <a:gd name="T22" fmla="*/ 62 w 167"/>
                <a:gd name="T23" fmla="*/ 1 h 76"/>
                <a:gd name="T24" fmla="*/ 88 w 167"/>
                <a:gd name="T25" fmla="*/ 3 h 76"/>
                <a:gd name="T26" fmla="*/ 106 w 167"/>
                <a:gd name="T27" fmla="*/ 5 h 76"/>
                <a:gd name="T28" fmla="*/ 166 w 167"/>
                <a:gd name="T29" fmla="*/ 36 h 76"/>
                <a:gd name="T30" fmla="*/ 167 w 167"/>
                <a:gd name="T31" fmla="*/ 46 h 76"/>
                <a:gd name="T32" fmla="*/ 166 w 167"/>
                <a:gd name="T33" fmla="*/ 36 h 76"/>
                <a:gd name="T34" fmla="*/ 88 w 167"/>
                <a:gd name="T35" fmla="*/ 3 h 76"/>
                <a:gd name="T36" fmla="*/ 28 w 167"/>
                <a:gd name="T3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7" h="76">
                  <a:moveTo>
                    <a:pt x="28" y="0"/>
                  </a:moveTo>
                  <a:cubicBezTo>
                    <a:pt x="26" y="0"/>
                    <a:pt x="25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5" y="28"/>
                    <a:pt x="0" y="54"/>
                    <a:pt x="0" y="76"/>
                  </a:cubicBezTo>
                  <a:cubicBezTo>
                    <a:pt x="0" y="54"/>
                    <a:pt x="5" y="28"/>
                    <a:pt x="12" y="1"/>
                  </a:cubicBezTo>
                  <a:cubicBezTo>
                    <a:pt x="14" y="0"/>
                    <a:pt x="17" y="0"/>
                    <a:pt x="19" y="0"/>
                  </a:cubicBezTo>
                  <a:cubicBezTo>
                    <a:pt x="20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37" y="0"/>
                    <a:pt x="49" y="1"/>
                    <a:pt x="62" y="1"/>
                  </a:cubicBezTo>
                  <a:cubicBezTo>
                    <a:pt x="70" y="2"/>
                    <a:pt x="79" y="2"/>
                    <a:pt x="88" y="3"/>
                  </a:cubicBezTo>
                  <a:cubicBezTo>
                    <a:pt x="94" y="4"/>
                    <a:pt x="100" y="5"/>
                    <a:pt x="106" y="5"/>
                  </a:cubicBezTo>
                  <a:cubicBezTo>
                    <a:pt x="144" y="11"/>
                    <a:pt x="165" y="22"/>
                    <a:pt x="166" y="36"/>
                  </a:cubicBezTo>
                  <a:cubicBezTo>
                    <a:pt x="167" y="39"/>
                    <a:pt x="167" y="43"/>
                    <a:pt x="167" y="46"/>
                  </a:cubicBezTo>
                  <a:cubicBezTo>
                    <a:pt x="167" y="43"/>
                    <a:pt x="167" y="39"/>
                    <a:pt x="166" y="36"/>
                  </a:cubicBezTo>
                  <a:cubicBezTo>
                    <a:pt x="165" y="20"/>
                    <a:pt x="138" y="8"/>
                    <a:pt x="88" y="3"/>
                  </a:cubicBezTo>
                  <a:cubicBezTo>
                    <a:pt x="66" y="1"/>
                    <a:pt x="44" y="0"/>
                    <a:pt x="28" y="0"/>
                  </a:cubicBezTo>
                </a:path>
              </a:pathLst>
            </a:custGeom>
            <a:solidFill>
              <a:srgbClr val="8B6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CCF68048-D448-4D44-8F92-2D1A630BDA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8328" y="5444638"/>
              <a:ext cx="210169" cy="179579"/>
            </a:xfrm>
            <a:custGeom>
              <a:avLst/>
              <a:gdLst>
                <a:gd name="T0" fmla="*/ 69 w 165"/>
                <a:gd name="T1" fmla="*/ 66 h 141"/>
                <a:gd name="T2" fmla="*/ 58 w 165"/>
                <a:gd name="T3" fmla="*/ 55 h 141"/>
                <a:gd name="T4" fmla="*/ 69 w 165"/>
                <a:gd name="T5" fmla="*/ 44 h 141"/>
                <a:gd name="T6" fmla="*/ 80 w 165"/>
                <a:gd name="T7" fmla="*/ 55 h 141"/>
                <a:gd name="T8" fmla="*/ 69 w 165"/>
                <a:gd name="T9" fmla="*/ 66 h 141"/>
                <a:gd name="T10" fmla="*/ 60 w 165"/>
                <a:gd name="T11" fmla="*/ 0 h 141"/>
                <a:gd name="T12" fmla="*/ 5 w 165"/>
                <a:gd name="T13" fmla="*/ 19 h 141"/>
                <a:gd name="T14" fmla="*/ 0 w 165"/>
                <a:gd name="T15" fmla="*/ 59 h 141"/>
                <a:gd name="T16" fmla="*/ 0 w 165"/>
                <a:gd name="T17" fmla="*/ 61 h 141"/>
                <a:gd name="T18" fmla="*/ 0 w 165"/>
                <a:gd name="T19" fmla="*/ 61 h 141"/>
                <a:gd name="T20" fmla="*/ 0 w 165"/>
                <a:gd name="T21" fmla="*/ 61 h 141"/>
                <a:gd name="T22" fmla="*/ 0 w 165"/>
                <a:gd name="T23" fmla="*/ 61 h 141"/>
                <a:gd name="T24" fmla="*/ 0 w 165"/>
                <a:gd name="T25" fmla="*/ 61 h 141"/>
                <a:gd name="T26" fmla="*/ 16 w 165"/>
                <a:gd name="T27" fmla="*/ 120 h 141"/>
                <a:gd name="T28" fmla="*/ 43 w 165"/>
                <a:gd name="T29" fmla="*/ 141 h 141"/>
                <a:gd name="T30" fmla="*/ 87 w 165"/>
                <a:gd name="T31" fmla="*/ 107 h 141"/>
                <a:gd name="T32" fmla="*/ 131 w 165"/>
                <a:gd name="T33" fmla="*/ 138 h 141"/>
                <a:gd name="T34" fmla="*/ 143 w 165"/>
                <a:gd name="T35" fmla="*/ 129 h 141"/>
                <a:gd name="T36" fmla="*/ 165 w 165"/>
                <a:gd name="T37" fmla="*/ 46 h 141"/>
                <a:gd name="T38" fmla="*/ 164 w 165"/>
                <a:gd name="T39" fmla="*/ 14 h 141"/>
                <a:gd name="T40" fmla="*/ 154 w 165"/>
                <a:gd name="T41" fmla="*/ 12 h 141"/>
                <a:gd name="T42" fmla="*/ 152 w 165"/>
                <a:gd name="T43" fmla="*/ 11 h 141"/>
                <a:gd name="T44" fmla="*/ 60 w 165"/>
                <a:gd name="T4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141">
                  <a:moveTo>
                    <a:pt x="69" y="66"/>
                  </a:moveTo>
                  <a:cubicBezTo>
                    <a:pt x="63" y="66"/>
                    <a:pt x="58" y="61"/>
                    <a:pt x="58" y="55"/>
                  </a:cubicBezTo>
                  <a:cubicBezTo>
                    <a:pt x="58" y="49"/>
                    <a:pt x="63" y="44"/>
                    <a:pt x="69" y="44"/>
                  </a:cubicBezTo>
                  <a:cubicBezTo>
                    <a:pt x="75" y="44"/>
                    <a:pt x="80" y="49"/>
                    <a:pt x="80" y="55"/>
                  </a:cubicBezTo>
                  <a:cubicBezTo>
                    <a:pt x="80" y="61"/>
                    <a:pt x="75" y="66"/>
                    <a:pt x="69" y="66"/>
                  </a:cubicBezTo>
                  <a:moveTo>
                    <a:pt x="60" y="0"/>
                  </a:moveTo>
                  <a:cubicBezTo>
                    <a:pt x="31" y="0"/>
                    <a:pt x="9" y="5"/>
                    <a:pt x="5" y="19"/>
                  </a:cubicBezTo>
                  <a:cubicBezTo>
                    <a:pt x="2" y="31"/>
                    <a:pt x="0" y="45"/>
                    <a:pt x="0" y="59"/>
                  </a:cubicBezTo>
                  <a:cubicBezTo>
                    <a:pt x="0" y="60"/>
                    <a:pt x="0" y="60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3"/>
                    <a:pt x="4" y="104"/>
                    <a:pt x="16" y="120"/>
                  </a:cubicBezTo>
                  <a:cubicBezTo>
                    <a:pt x="23" y="129"/>
                    <a:pt x="32" y="136"/>
                    <a:pt x="43" y="141"/>
                  </a:cubicBezTo>
                  <a:cubicBezTo>
                    <a:pt x="49" y="121"/>
                    <a:pt x="66" y="107"/>
                    <a:pt x="87" y="107"/>
                  </a:cubicBezTo>
                  <a:cubicBezTo>
                    <a:pt x="108" y="107"/>
                    <a:pt x="125" y="120"/>
                    <a:pt x="131" y="138"/>
                  </a:cubicBezTo>
                  <a:cubicBezTo>
                    <a:pt x="135" y="135"/>
                    <a:pt x="139" y="132"/>
                    <a:pt x="143" y="129"/>
                  </a:cubicBezTo>
                  <a:cubicBezTo>
                    <a:pt x="160" y="111"/>
                    <a:pt x="165" y="82"/>
                    <a:pt x="165" y="46"/>
                  </a:cubicBezTo>
                  <a:cubicBezTo>
                    <a:pt x="165" y="36"/>
                    <a:pt x="164" y="25"/>
                    <a:pt x="164" y="14"/>
                  </a:cubicBezTo>
                  <a:cubicBezTo>
                    <a:pt x="161" y="13"/>
                    <a:pt x="157" y="12"/>
                    <a:pt x="154" y="12"/>
                  </a:cubicBezTo>
                  <a:cubicBezTo>
                    <a:pt x="153" y="12"/>
                    <a:pt x="153" y="11"/>
                    <a:pt x="152" y="11"/>
                  </a:cubicBezTo>
                  <a:cubicBezTo>
                    <a:pt x="123" y="5"/>
                    <a:pt x="88" y="0"/>
                    <a:pt x="60" y="0"/>
                  </a:cubicBezTo>
                </a:path>
              </a:pathLst>
            </a:custGeom>
            <a:solidFill>
              <a:srgbClr val="FFD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4">
              <a:extLst>
                <a:ext uri="{FF2B5EF4-FFF2-40B4-BE49-F238E27FC236}">
                  <a16:creationId xmlns:a16="http://schemas.microsoft.com/office/drawing/2014/main" id="{9FCC4E03-B4C0-4377-A857-64CDB658C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1972" y="5500720"/>
              <a:ext cx="28325" cy="28325"/>
            </a:xfrm>
            <a:prstGeom prst="ellipse">
              <a:avLst/>
            </a:pr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757CE6EF-4782-4D7F-AD1B-E96039E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278" y="5581163"/>
              <a:ext cx="111599" cy="52117"/>
            </a:xfrm>
            <a:custGeom>
              <a:avLst/>
              <a:gdLst>
                <a:gd name="T0" fmla="*/ 44 w 88"/>
                <a:gd name="T1" fmla="*/ 0 h 41"/>
                <a:gd name="T2" fmla="*/ 0 w 88"/>
                <a:gd name="T3" fmla="*/ 34 h 41"/>
                <a:gd name="T4" fmla="*/ 35 w 88"/>
                <a:gd name="T5" fmla="*/ 41 h 41"/>
                <a:gd name="T6" fmla="*/ 42 w 88"/>
                <a:gd name="T7" fmla="*/ 41 h 41"/>
                <a:gd name="T8" fmla="*/ 88 w 88"/>
                <a:gd name="T9" fmla="*/ 31 h 41"/>
                <a:gd name="T10" fmla="*/ 44 w 88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1">
                  <a:moveTo>
                    <a:pt x="44" y="0"/>
                  </a:moveTo>
                  <a:cubicBezTo>
                    <a:pt x="23" y="0"/>
                    <a:pt x="6" y="14"/>
                    <a:pt x="0" y="34"/>
                  </a:cubicBezTo>
                  <a:cubicBezTo>
                    <a:pt x="10" y="38"/>
                    <a:pt x="22" y="40"/>
                    <a:pt x="35" y="41"/>
                  </a:cubicBezTo>
                  <a:cubicBezTo>
                    <a:pt x="37" y="41"/>
                    <a:pt x="40" y="41"/>
                    <a:pt x="42" y="41"/>
                  </a:cubicBezTo>
                  <a:cubicBezTo>
                    <a:pt x="61" y="41"/>
                    <a:pt x="76" y="38"/>
                    <a:pt x="88" y="31"/>
                  </a:cubicBezTo>
                  <a:cubicBezTo>
                    <a:pt x="82" y="13"/>
                    <a:pt x="65" y="0"/>
                    <a:pt x="44" y="0"/>
                  </a:cubicBezTo>
                </a:path>
              </a:pathLst>
            </a:custGeom>
            <a:solidFill>
              <a:srgbClr val="FBC4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A38A9622-0501-4371-873C-1C5395DFF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794" y="5842883"/>
              <a:ext cx="553465" cy="557430"/>
            </a:xfrm>
            <a:custGeom>
              <a:avLst/>
              <a:gdLst>
                <a:gd name="T0" fmla="*/ 5 w 435"/>
                <a:gd name="T1" fmla="*/ 54 h 438"/>
                <a:gd name="T2" fmla="*/ 265 w 435"/>
                <a:gd name="T3" fmla="*/ 158 h 438"/>
                <a:gd name="T4" fmla="*/ 303 w 435"/>
                <a:gd name="T5" fmla="*/ 151 h 438"/>
                <a:gd name="T6" fmla="*/ 299 w 435"/>
                <a:gd name="T7" fmla="*/ 47 h 438"/>
                <a:gd name="T8" fmla="*/ 328 w 435"/>
                <a:gd name="T9" fmla="*/ 14 h 438"/>
                <a:gd name="T10" fmla="*/ 358 w 435"/>
                <a:gd name="T11" fmla="*/ 0 h 438"/>
                <a:gd name="T12" fmla="*/ 370 w 435"/>
                <a:gd name="T13" fmla="*/ 92 h 438"/>
                <a:gd name="T14" fmla="*/ 426 w 435"/>
                <a:gd name="T15" fmla="*/ 185 h 438"/>
                <a:gd name="T16" fmla="*/ 434 w 435"/>
                <a:gd name="T17" fmla="*/ 219 h 438"/>
                <a:gd name="T18" fmla="*/ 425 w 435"/>
                <a:gd name="T19" fmla="*/ 350 h 438"/>
                <a:gd name="T20" fmla="*/ 254 w 435"/>
                <a:gd name="T21" fmla="*/ 438 h 438"/>
                <a:gd name="T22" fmla="*/ 98 w 435"/>
                <a:gd name="T23" fmla="*/ 339 h 438"/>
                <a:gd name="T24" fmla="*/ 145 w 435"/>
                <a:gd name="T25" fmla="*/ 193 h 438"/>
                <a:gd name="T26" fmla="*/ 20 w 435"/>
                <a:gd name="T27" fmla="*/ 121 h 438"/>
                <a:gd name="T28" fmla="*/ 2 w 435"/>
                <a:gd name="T29" fmla="*/ 84 h 438"/>
                <a:gd name="T30" fmla="*/ 5 w 435"/>
                <a:gd name="T31" fmla="*/ 54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5" h="438">
                  <a:moveTo>
                    <a:pt x="5" y="54"/>
                  </a:moveTo>
                  <a:cubicBezTo>
                    <a:pt x="265" y="158"/>
                    <a:pt x="265" y="158"/>
                    <a:pt x="265" y="158"/>
                  </a:cubicBezTo>
                  <a:cubicBezTo>
                    <a:pt x="303" y="151"/>
                    <a:pt x="303" y="151"/>
                    <a:pt x="303" y="151"/>
                  </a:cubicBezTo>
                  <a:cubicBezTo>
                    <a:pt x="303" y="151"/>
                    <a:pt x="286" y="90"/>
                    <a:pt x="299" y="47"/>
                  </a:cubicBezTo>
                  <a:cubicBezTo>
                    <a:pt x="303" y="32"/>
                    <a:pt x="314" y="20"/>
                    <a:pt x="328" y="14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70" y="92"/>
                    <a:pt x="370" y="92"/>
                    <a:pt x="370" y="92"/>
                  </a:cubicBezTo>
                  <a:cubicBezTo>
                    <a:pt x="426" y="185"/>
                    <a:pt x="426" y="185"/>
                    <a:pt x="426" y="185"/>
                  </a:cubicBezTo>
                  <a:cubicBezTo>
                    <a:pt x="432" y="196"/>
                    <a:pt x="435" y="208"/>
                    <a:pt x="434" y="219"/>
                  </a:cubicBezTo>
                  <a:cubicBezTo>
                    <a:pt x="425" y="350"/>
                    <a:pt x="425" y="350"/>
                    <a:pt x="425" y="350"/>
                  </a:cubicBezTo>
                  <a:cubicBezTo>
                    <a:pt x="254" y="438"/>
                    <a:pt x="254" y="438"/>
                    <a:pt x="254" y="438"/>
                  </a:cubicBezTo>
                  <a:cubicBezTo>
                    <a:pt x="98" y="339"/>
                    <a:pt x="98" y="339"/>
                    <a:pt x="98" y="339"/>
                  </a:cubicBezTo>
                  <a:cubicBezTo>
                    <a:pt x="145" y="193"/>
                    <a:pt x="145" y="193"/>
                    <a:pt x="145" y="193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7" y="114"/>
                    <a:pt x="0" y="99"/>
                    <a:pt x="2" y="84"/>
                  </a:cubicBezTo>
                  <a:lnTo>
                    <a:pt x="5" y="54"/>
                  </a:lnTo>
                  <a:close/>
                </a:path>
              </a:pathLst>
            </a:custGeom>
            <a:solidFill>
              <a:srgbClr val="FFC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04ADEE6B-89BF-43D8-8835-2078CBC94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2" y="6288713"/>
              <a:ext cx="290045" cy="218667"/>
            </a:xfrm>
            <a:custGeom>
              <a:avLst/>
              <a:gdLst>
                <a:gd name="T0" fmla="*/ 0 w 512"/>
                <a:gd name="T1" fmla="*/ 197 h 386"/>
                <a:gd name="T2" fmla="*/ 56 w 512"/>
                <a:gd name="T3" fmla="*/ 386 h 386"/>
                <a:gd name="T4" fmla="*/ 512 w 512"/>
                <a:gd name="T5" fmla="*/ 150 h 386"/>
                <a:gd name="T6" fmla="*/ 384 w 512"/>
                <a:gd name="T7" fmla="*/ 0 h 386"/>
                <a:gd name="T8" fmla="*/ 0 w 512"/>
                <a:gd name="T9" fmla="*/ 19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2" h="386">
                  <a:moveTo>
                    <a:pt x="0" y="197"/>
                  </a:moveTo>
                  <a:lnTo>
                    <a:pt x="56" y="386"/>
                  </a:lnTo>
                  <a:lnTo>
                    <a:pt x="512" y="150"/>
                  </a:lnTo>
                  <a:lnTo>
                    <a:pt x="384" y="0"/>
                  </a:lnTo>
                  <a:lnTo>
                    <a:pt x="0" y="197"/>
                  </a:lnTo>
                  <a:close/>
                </a:path>
              </a:pathLst>
            </a:custGeom>
            <a:solidFill>
              <a:srgbClr val="E4E3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569EA4B-FEAA-43D8-90CD-383BBE26E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986" y="6373688"/>
              <a:ext cx="744070" cy="484313"/>
            </a:xfrm>
            <a:custGeom>
              <a:avLst/>
              <a:gdLst>
                <a:gd name="connsiteX0" fmla="*/ 258323 w 744070"/>
                <a:gd name="connsiteY0" fmla="*/ 0 h 484313"/>
                <a:gd name="connsiteX1" fmla="*/ 709296 w 744070"/>
                <a:gd name="connsiteY1" fmla="*/ 449641 h 484313"/>
                <a:gd name="connsiteX2" fmla="*/ 744070 w 744070"/>
                <a:gd name="connsiteY2" fmla="*/ 484313 h 484313"/>
                <a:gd name="connsiteX3" fmla="*/ 100204 w 744070"/>
                <a:gd name="connsiteY3" fmla="*/ 484313 h 484313"/>
                <a:gd name="connsiteX4" fmla="*/ 64825 w 744070"/>
                <a:gd name="connsiteY4" fmla="*/ 360345 h 484313"/>
                <a:gd name="connsiteX5" fmla="*/ 0 w 744070"/>
                <a:gd name="connsiteY5" fmla="*/ 133657 h 484313"/>
                <a:gd name="connsiteX6" fmla="*/ 258323 w 744070"/>
                <a:gd name="connsiteY6" fmla="*/ 0 h 484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4070" h="484313">
                  <a:moveTo>
                    <a:pt x="258323" y="0"/>
                  </a:moveTo>
                  <a:cubicBezTo>
                    <a:pt x="453338" y="194440"/>
                    <a:pt x="599600" y="340269"/>
                    <a:pt x="709296" y="449641"/>
                  </a:cubicBezTo>
                  <a:lnTo>
                    <a:pt x="744070" y="484313"/>
                  </a:lnTo>
                  <a:lnTo>
                    <a:pt x="100204" y="484313"/>
                  </a:lnTo>
                  <a:lnTo>
                    <a:pt x="64825" y="360345"/>
                  </a:lnTo>
                  <a:cubicBezTo>
                    <a:pt x="28811" y="234258"/>
                    <a:pt x="0" y="133657"/>
                    <a:pt x="0" y="133657"/>
                  </a:cubicBezTo>
                  <a:cubicBezTo>
                    <a:pt x="258323" y="0"/>
                    <a:pt x="258323" y="0"/>
                    <a:pt x="258323" y="0"/>
                  </a:cubicBezTo>
                  <a:close/>
                </a:path>
              </a:pathLst>
            </a:cu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E72188F-8710-49E0-BF9D-F5733D018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03" y="6390116"/>
              <a:ext cx="497353" cy="467884"/>
            </a:xfrm>
            <a:custGeom>
              <a:avLst/>
              <a:gdLst>
                <a:gd name="connsiteX0" fmla="*/ 66280 w 497353"/>
                <a:gd name="connsiteY0" fmla="*/ 0 h 467884"/>
                <a:gd name="connsiteX1" fmla="*/ 497353 w 497353"/>
                <a:gd name="connsiteY1" fmla="*/ 467884 h 467884"/>
                <a:gd name="connsiteX2" fmla="*/ 355878 w 497353"/>
                <a:gd name="connsiteY2" fmla="*/ 467884 h 467884"/>
                <a:gd name="connsiteX3" fmla="*/ 0 w 497353"/>
                <a:gd name="connsiteY3" fmla="*/ 34556 h 46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7353" h="467884">
                  <a:moveTo>
                    <a:pt x="66280" y="0"/>
                  </a:moveTo>
                  <a:lnTo>
                    <a:pt x="497353" y="467884"/>
                  </a:lnTo>
                  <a:lnTo>
                    <a:pt x="355878" y="467884"/>
                  </a:lnTo>
                  <a:lnTo>
                    <a:pt x="0" y="34556"/>
                  </a:lnTo>
                  <a:close/>
                </a:path>
              </a:pathLst>
            </a:custGeom>
            <a:solidFill>
              <a:srgbClr val="605E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AD6FF684-B0F4-496B-9117-5B849A063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423" y="6086475"/>
              <a:ext cx="380684" cy="313838"/>
            </a:xfrm>
            <a:custGeom>
              <a:avLst/>
              <a:gdLst>
                <a:gd name="T0" fmla="*/ 672 w 672"/>
                <a:gd name="T1" fmla="*/ 386 h 554"/>
                <a:gd name="T2" fmla="*/ 294 w 672"/>
                <a:gd name="T3" fmla="*/ 0 h 554"/>
                <a:gd name="T4" fmla="*/ 0 w 672"/>
                <a:gd name="T5" fmla="*/ 332 h 554"/>
                <a:gd name="T6" fmla="*/ 351 w 672"/>
                <a:gd name="T7" fmla="*/ 554 h 554"/>
                <a:gd name="T8" fmla="*/ 672 w 672"/>
                <a:gd name="T9" fmla="*/ 386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2" h="554">
                  <a:moveTo>
                    <a:pt x="672" y="386"/>
                  </a:moveTo>
                  <a:lnTo>
                    <a:pt x="294" y="0"/>
                  </a:lnTo>
                  <a:lnTo>
                    <a:pt x="0" y="332"/>
                  </a:lnTo>
                  <a:lnTo>
                    <a:pt x="351" y="554"/>
                  </a:lnTo>
                  <a:lnTo>
                    <a:pt x="672" y="386"/>
                  </a:lnTo>
                  <a:close/>
                </a:path>
              </a:pathLst>
            </a:custGeom>
            <a:solidFill>
              <a:srgbClr val="F9B8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51">
              <a:extLst>
                <a:ext uri="{FF2B5EF4-FFF2-40B4-BE49-F238E27FC236}">
                  <a16:creationId xmlns:a16="http://schemas.microsoft.com/office/drawing/2014/main" id="{7B380E24-A29C-41FE-A352-4636DFF4A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221" y="6783829"/>
              <a:ext cx="265119" cy="44187"/>
            </a:xfrm>
            <a:prstGeom prst="rect">
              <a:avLst/>
            </a:prstGeom>
            <a:solidFill>
              <a:srgbClr val="4443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Arc 84">
            <a:extLst>
              <a:ext uri="{FF2B5EF4-FFF2-40B4-BE49-F238E27FC236}">
                <a16:creationId xmlns:a16="http://schemas.microsoft.com/office/drawing/2014/main" id="{3FDE2E32-55A1-47D4-8BA3-A74AA58710FC}"/>
              </a:ext>
            </a:extLst>
          </p:cNvPr>
          <p:cNvSpPr/>
          <p:nvPr/>
        </p:nvSpPr>
        <p:spPr>
          <a:xfrm>
            <a:off x="6092634" y="1866901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Arc 85">
            <a:extLst>
              <a:ext uri="{FF2B5EF4-FFF2-40B4-BE49-F238E27FC236}">
                <a16:creationId xmlns:a16="http://schemas.microsoft.com/office/drawing/2014/main" id="{F006245B-CF7C-459E-96E6-9C5B6F3A727A}"/>
              </a:ext>
            </a:extLst>
          </p:cNvPr>
          <p:cNvSpPr/>
          <p:nvPr/>
        </p:nvSpPr>
        <p:spPr>
          <a:xfrm flipH="1">
            <a:off x="5117104" y="2689226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Arc 86">
            <a:extLst>
              <a:ext uri="{FF2B5EF4-FFF2-40B4-BE49-F238E27FC236}">
                <a16:creationId xmlns:a16="http://schemas.microsoft.com/office/drawing/2014/main" id="{34219E64-6959-4878-8FA7-2BEB46A31060}"/>
              </a:ext>
            </a:extLst>
          </p:cNvPr>
          <p:cNvSpPr/>
          <p:nvPr/>
        </p:nvSpPr>
        <p:spPr>
          <a:xfrm>
            <a:off x="6092634" y="3504752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Arc 87">
            <a:extLst>
              <a:ext uri="{FF2B5EF4-FFF2-40B4-BE49-F238E27FC236}">
                <a16:creationId xmlns:a16="http://schemas.microsoft.com/office/drawing/2014/main" id="{65E216E0-C32C-440F-AAB5-139A4374FFFF}"/>
              </a:ext>
            </a:extLst>
          </p:cNvPr>
          <p:cNvSpPr/>
          <p:nvPr/>
        </p:nvSpPr>
        <p:spPr>
          <a:xfrm flipH="1">
            <a:off x="5117104" y="4327077"/>
            <a:ext cx="978896" cy="978896"/>
          </a:xfrm>
          <a:prstGeom prst="arc">
            <a:avLst>
              <a:gd name="adj1" fmla="val 11517247"/>
              <a:gd name="adj2" fmla="val 16819286"/>
            </a:avLst>
          </a:prstGeom>
          <a:ln w="139700" cap="rnd">
            <a:solidFill>
              <a:srgbClr val="605E87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9A63EE7D-5057-4B8E-8757-B9E740D440F8}"/>
              </a:ext>
            </a:extLst>
          </p:cNvPr>
          <p:cNvSpPr/>
          <p:nvPr/>
        </p:nvSpPr>
        <p:spPr>
          <a:xfrm>
            <a:off x="6503025" y="14986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86E19F7B-2058-4825-89DB-B751C993E96C}"/>
              </a:ext>
            </a:extLst>
          </p:cNvPr>
          <p:cNvSpPr/>
          <p:nvPr/>
        </p:nvSpPr>
        <p:spPr>
          <a:xfrm>
            <a:off x="6503025" y="3119100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DDF2124-B230-4F3B-9077-EAE3F12511A3}"/>
              </a:ext>
            </a:extLst>
          </p:cNvPr>
          <p:cNvSpPr/>
          <p:nvPr/>
        </p:nvSpPr>
        <p:spPr>
          <a:xfrm>
            <a:off x="4928606" y="3944933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61CF362-72A2-4C2D-8DDA-229C19A034B8}"/>
              </a:ext>
            </a:extLst>
          </p:cNvPr>
          <p:cNvSpPr/>
          <p:nvPr/>
        </p:nvSpPr>
        <p:spPr>
          <a:xfrm>
            <a:off x="4928606" y="2315367"/>
            <a:ext cx="807700" cy="807700"/>
          </a:xfrm>
          <a:prstGeom prst="ellipse">
            <a:avLst/>
          </a:prstGeom>
          <a:solidFill>
            <a:srgbClr val="FED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7F98DE7-6D5C-4AAB-AB76-499E06BB19E1}"/>
              </a:ext>
            </a:extLst>
          </p:cNvPr>
          <p:cNvSpPr/>
          <p:nvPr/>
        </p:nvSpPr>
        <p:spPr>
          <a:xfrm>
            <a:off x="6656116" y="16516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218963C-54BE-40FA-B0AC-376E38B5298A}"/>
              </a:ext>
            </a:extLst>
          </p:cNvPr>
          <p:cNvSpPr/>
          <p:nvPr/>
        </p:nvSpPr>
        <p:spPr>
          <a:xfrm>
            <a:off x="6656116" y="3272191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6BC5FD4B-CC98-4B20-94B1-1FAF5D5488A7}"/>
              </a:ext>
            </a:extLst>
          </p:cNvPr>
          <p:cNvSpPr/>
          <p:nvPr/>
        </p:nvSpPr>
        <p:spPr>
          <a:xfrm>
            <a:off x="5081697" y="4098024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E46B063A-AE2E-4FDB-B04E-ABFAA771C3CD}"/>
              </a:ext>
            </a:extLst>
          </p:cNvPr>
          <p:cNvSpPr/>
          <p:nvPr/>
        </p:nvSpPr>
        <p:spPr>
          <a:xfrm>
            <a:off x="5081697" y="2468458"/>
            <a:ext cx="501518" cy="501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67279C2-29BA-4EDC-AFAB-C926DD4E73BB}"/>
              </a:ext>
            </a:extLst>
          </p:cNvPr>
          <p:cNvGrpSpPr/>
          <p:nvPr/>
        </p:nvGrpSpPr>
        <p:grpSpPr>
          <a:xfrm>
            <a:off x="5197083" y="4269467"/>
            <a:ext cx="270746" cy="158632"/>
            <a:chOff x="4113213" y="4046538"/>
            <a:chExt cx="360363" cy="211138"/>
          </a:xfrm>
          <a:solidFill>
            <a:srgbClr val="FF4D67"/>
          </a:solidFill>
          <a:effectLst/>
        </p:grpSpPr>
        <p:sp>
          <p:nvSpPr>
            <p:cNvPr id="105" name="Freeform 84">
              <a:extLst>
                <a:ext uri="{FF2B5EF4-FFF2-40B4-BE49-F238E27FC236}">
                  <a16:creationId xmlns:a16="http://schemas.microsoft.com/office/drawing/2014/main" id="{D3F6DF5E-78B5-406D-AAD4-506C37608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213" y="4098925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6 w 28"/>
                <a:gd name="T11" fmla="*/ 12 h 28"/>
                <a:gd name="T12" fmla="*/ 8 w 28"/>
                <a:gd name="T13" fmla="*/ 14 h 28"/>
                <a:gd name="T14" fmla="*/ 14 w 28"/>
                <a:gd name="T15" fmla="*/ 20 h 28"/>
                <a:gd name="T16" fmla="*/ 20 w 28"/>
                <a:gd name="T17" fmla="*/ 14 h 28"/>
                <a:gd name="T18" fmla="*/ 14 w 28"/>
                <a:gd name="T19" fmla="*/ 8 h 28"/>
                <a:gd name="T20" fmla="*/ 12 w 28"/>
                <a:gd name="T21" fmla="*/ 6 h 28"/>
                <a:gd name="T22" fmla="*/ 14 w 28"/>
                <a:gd name="T23" fmla="*/ 4 h 28"/>
                <a:gd name="T24" fmla="*/ 24 w 28"/>
                <a:gd name="T25" fmla="*/ 14 h 28"/>
                <a:gd name="T26" fmla="*/ 14 w 28"/>
                <a:gd name="T27" fmla="*/ 24 h 28"/>
                <a:gd name="T28" fmla="*/ 4 w 28"/>
                <a:gd name="T29" fmla="*/ 14 h 28"/>
                <a:gd name="T30" fmla="*/ 6 w 28"/>
                <a:gd name="T3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6" y="12"/>
                  </a:moveTo>
                  <a:cubicBezTo>
                    <a:pt x="7" y="12"/>
                    <a:pt x="8" y="13"/>
                    <a:pt x="8" y="14"/>
                  </a:cubicBezTo>
                  <a:cubicBezTo>
                    <a:pt x="8" y="17"/>
                    <a:pt x="11" y="20"/>
                    <a:pt x="14" y="20"/>
                  </a:cubicBezTo>
                  <a:cubicBezTo>
                    <a:pt x="17" y="20"/>
                    <a:pt x="20" y="17"/>
                    <a:pt x="20" y="14"/>
                  </a:cubicBezTo>
                  <a:cubicBezTo>
                    <a:pt x="20" y="11"/>
                    <a:pt x="17" y="8"/>
                    <a:pt x="14" y="8"/>
                  </a:cubicBezTo>
                  <a:cubicBezTo>
                    <a:pt x="13" y="8"/>
                    <a:pt x="12" y="7"/>
                    <a:pt x="12" y="6"/>
                  </a:cubicBezTo>
                  <a:cubicBezTo>
                    <a:pt x="12" y="5"/>
                    <a:pt x="13" y="4"/>
                    <a:pt x="14" y="4"/>
                  </a:cubicBezTo>
                  <a:cubicBezTo>
                    <a:pt x="20" y="4"/>
                    <a:pt x="24" y="8"/>
                    <a:pt x="24" y="14"/>
                  </a:cubicBezTo>
                  <a:cubicBezTo>
                    <a:pt x="24" y="20"/>
                    <a:pt x="20" y="24"/>
                    <a:pt x="14" y="24"/>
                  </a:cubicBezTo>
                  <a:cubicBezTo>
                    <a:pt x="8" y="24"/>
                    <a:pt x="4" y="20"/>
                    <a:pt x="4" y="14"/>
                  </a:cubicBezTo>
                  <a:cubicBezTo>
                    <a:pt x="4" y="13"/>
                    <a:pt x="5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6" name="Freeform 85">
              <a:extLst>
                <a:ext uri="{FF2B5EF4-FFF2-40B4-BE49-F238E27FC236}">
                  <a16:creationId xmlns:a16="http://schemas.microsoft.com/office/drawing/2014/main" id="{D242F6A0-7E15-4A7D-98FF-193BE789C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4046538"/>
              <a:ext cx="360363" cy="211138"/>
            </a:xfrm>
            <a:custGeom>
              <a:avLst/>
              <a:gdLst>
                <a:gd name="T0" fmla="*/ 0 w 96"/>
                <a:gd name="T1" fmla="*/ 29 h 56"/>
                <a:gd name="T2" fmla="*/ 48 w 96"/>
                <a:gd name="T3" fmla="*/ 56 h 56"/>
                <a:gd name="T4" fmla="*/ 96 w 96"/>
                <a:gd name="T5" fmla="*/ 29 h 56"/>
                <a:gd name="T6" fmla="*/ 96 w 96"/>
                <a:gd name="T7" fmla="*/ 27 h 56"/>
                <a:gd name="T8" fmla="*/ 48 w 96"/>
                <a:gd name="T9" fmla="*/ 0 h 56"/>
                <a:gd name="T10" fmla="*/ 0 w 96"/>
                <a:gd name="T11" fmla="*/ 27 h 56"/>
                <a:gd name="T12" fmla="*/ 0 w 96"/>
                <a:gd name="T13" fmla="*/ 29 h 56"/>
                <a:gd name="T14" fmla="*/ 48 w 96"/>
                <a:gd name="T15" fmla="*/ 10 h 56"/>
                <a:gd name="T16" fmla="*/ 66 w 96"/>
                <a:gd name="T17" fmla="*/ 28 h 56"/>
                <a:gd name="T18" fmla="*/ 48 w 96"/>
                <a:gd name="T19" fmla="*/ 46 h 56"/>
                <a:gd name="T20" fmla="*/ 30 w 96"/>
                <a:gd name="T21" fmla="*/ 28 h 56"/>
                <a:gd name="T22" fmla="*/ 48 w 96"/>
                <a:gd name="T2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6">
                  <a:moveTo>
                    <a:pt x="0" y="29"/>
                  </a:moveTo>
                  <a:cubicBezTo>
                    <a:pt x="1" y="30"/>
                    <a:pt x="22" y="56"/>
                    <a:pt x="48" y="56"/>
                  </a:cubicBezTo>
                  <a:cubicBezTo>
                    <a:pt x="74" y="56"/>
                    <a:pt x="95" y="30"/>
                    <a:pt x="96" y="29"/>
                  </a:cubicBezTo>
                  <a:cubicBezTo>
                    <a:pt x="96" y="29"/>
                    <a:pt x="96" y="27"/>
                    <a:pt x="96" y="27"/>
                  </a:cubicBezTo>
                  <a:cubicBezTo>
                    <a:pt x="95" y="26"/>
                    <a:pt x="74" y="0"/>
                    <a:pt x="48" y="0"/>
                  </a:cubicBezTo>
                  <a:cubicBezTo>
                    <a:pt x="22" y="0"/>
                    <a:pt x="1" y="26"/>
                    <a:pt x="0" y="27"/>
                  </a:cubicBezTo>
                  <a:cubicBezTo>
                    <a:pt x="0" y="27"/>
                    <a:pt x="0" y="29"/>
                    <a:pt x="0" y="29"/>
                  </a:cubicBezTo>
                  <a:close/>
                  <a:moveTo>
                    <a:pt x="48" y="10"/>
                  </a:moveTo>
                  <a:cubicBezTo>
                    <a:pt x="58" y="10"/>
                    <a:pt x="66" y="18"/>
                    <a:pt x="66" y="28"/>
                  </a:cubicBezTo>
                  <a:cubicBezTo>
                    <a:pt x="66" y="38"/>
                    <a:pt x="58" y="46"/>
                    <a:pt x="48" y="46"/>
                  </a:cubicBezTo>
                  <a:cubicBezTo>
                    <a:pt x="38" y="46"/>
                    <a:pt x="30" y="38"/>
                    <a:pt x="30" y="28"/>
                  </a:cubicBezTo>
                  <a:cubicBezTo>
                    <a:pt x="30" y="18"/>
                    <a:pt x="38" y="10"/>
                    <a:pt x="4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725FA6C-624F-4D4D-A426-E14BAF461F09}"/>
              </a:ext>
            </a:extLst>
          </p:cNvPr>
          <p:cNvGrpSpPr/>
          <p:nvPr/>
        </p:nvGrpSpPr>
        <p:grpSpPr>
          <a:xfrm>
            <a:off x="6783809" y="1778842"/>
            <a:ext cx="246133" cy="247217"/>
            <a:chOff x="7718425" y="3248025"/>
            <a:chExt cx="360363" cy="361951"/>
          </a:xfrm>
          <a:solidFill>
            <a:srgbClr val="FF4D67"/>
          </a:solidFill>
        </p:grpSpPr>
        <p:sp>
          <p:nvSpPr>
            <p:cNvPr id="108" name="Freeform 63">
              <a:extLst>
                <a:ext uri="{FF2B5EF4-FFF2-40B4-BE49-F238E27FC236}">
                  <a16:creationId xmlns:a16="http://schemas.microsoft.com/office/drawing/2014/main" id="{7BE7B3F5-C19C-41B4-BFF8-188F7DC86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3248025"/>
              <a:ext cx="360363" cy="331788"/>
            </a:xfrm>
            <a:custGeom>
              <a:avLst/>
              <a:gdLst>
                <a:gd name="T0" fmla="*/ 20 w 96"/>
                <a:gd name="T1" fmla="*/ 88 h 88"/>
                <a:gd name="T2" fmla="*/ 8 w 96"/>
                <a:gd name="T3" fmla="*/ 75 h 88"/>
                <a:gd name="T4" fmla="*/ 17 w 96"/>
                <a:gd name="T5" fmla="*/ 65 h 88"/>
                <a:gd name="T6" fmla="*/ 2 w 96"/>
                <a:gd name="T7" fmla="*/ 56 h 88"/>
                <a:gd name="T8" fmla="*/ 0 w 96"/>
                <a:gd name="T9" fmla="*/ 42 h 88"/>
                <a:gd name="T10" fmla="*/ 13 w 96"/>
                <a:gd name="T11" fmla="*/ 40 h 88"/>
                <a:gd name="T12" fmla="*/ 8 w 96"/>
                <a:gd name="T13" fmla="*/ 23 h 88"/>
                <a:gd name="T14" fmla="*/ 8 w 96"/>
                <a:gd name="T15" fmla="*/ 20 h 88"/>
                <a:gd name="T16" fmla="*/ 23 w 96"/>
                <a:gd name="T17" fmla="*/ 8 h 88"/>
                <a:gd name="T18" fmla="*/ 40 w 96"/>
                <a:gd name="T19" fmla="*/ 13 h 88"/>
                <a:gd name="T20" fmla="*/ 42 w 96"/>
                <a:gd name="T21" fmla="*/ 0 h 88"/>
                <a:gd name="T22" fmla="*/ 56 w 96"/>
                <a:gd name="T23" fmla="*/ 2 h 88"/>
                <a:gd name="T24" fmla="*/ 65 w 96"/>
                <a:gd name="T25" fmla="*/ 17 h 88"/>
                <a:gd name="T26" fmla="*/ 76 w 96"/>
                <a:gd name="T27" fmla="*/ 8 h 88"/>
                <a:gd name="T28" fmla="*/ 88 w 96"/>
                <a:gd name="T29" fmla="*/ 21 h 88"/>
                <a:gd name="T30" fmla="*/ 79 w 96"/>
                <a:gd name="T31" fmla="*/ 31 h 88"/>
                <a:gd name="T32" fmla="*/ 94 w 96"/>
                <a:gd name="T33" fmla="*/ 40 h 88"/>
                <a:gd name="T34" fmla="*/ 96 w 96"/>
                <a:gd name="T35" fmla="*/ 54 h 88"/>
                <a:gd name="T36" fmla="*/ 83 w 96"/>
                <a:gd name="T37" fmla="*/ 56 h 88"/>
                <a:gd name="T38" fmla="*/ 88 w 96"/>
                <a:gd name="T39" fmla="*/ 73 h 88"/>
                <a:gd name="T40" fmla="*/ 76 w 96"/>
                <a:gd name="T41" fmla="*/ 88 h 88"/>
                <a:gd name="T42" fmla="*/ 64 w 96"/>
                <a:gd name="T43" fmla="*/ 78 h 88"/>
                <a:gd name="T44" fmla="*/ 67 w 96"/>
                <a:gd name="T45" fmla="*/ 76 h 88"/>
                <a:gd name="T46" fmla="*/ 83 w 96"/>
                <a:gd name="T47" fmla="*/ 75 h 88"/>
                <a:gd name="T48" fmla="*/ 75 w 96"/>
                <a:gd name="T49" fmla="*/ 65 h 88"/>
                <a:gd name="T50" fmla="*/ 81 w 96"/>
                <a:gd name="T51" fmla="*/ 52 h 88"/>
                <a:gd name="T52" fmla="*/ 92 w 96"/>
                <a:gd name="T53" fmla="*/ 44 h 88"/>
                <a:gd name="T54" fmla="*/ 79 w 96"/>
                <a:gd name="T55" fmla="*/ 42 h 88"/>
                <a:gd name="T56" fmla="*/ 76 w 96"/>
                <a:gd name="T57" fmla="*/ 29 h 88"/>
                <a:gd name="T58" fmla="*/ 75 w 96"/>
                <a:gd name="T59" fmla="*/ 13 h 88"/>
                <a:gd name="T60" fmla="*/ 65 w 96"/>
                <a:gd name="T61" fmla="*/ 21 h 88"/>
                <a:gd name="T62" fmla="*/ 52 w 96"/>
                <a:gd name="T63" fmla="*/ 15 h 88"/>
                <a:gd name="T64" fmla="*/ 44 w 96"/>
                <a:gd name="T65" fmla="*/ 4 h 88"/>
                <a:gd name="T66" fmla="*/ 42 w 96"/>
                <a:gd name="T67" fmla="*/ 17 h 88"/>
                <a:gd name="T68" fmla="*/ 29 w 96"/>
                <a:gd name="T69" fmla="*/ 20 h 88"/>
                <a:gd name="T70" fmla="*/ 13 w 96"/>
                <a:gd name="T71" fmla="*/ 21 h 88"/>
                <a:gd name="T72" fmla="*/ 21 w 96"/>
                <a:gd name="T73" fmla="*/ 31 h 88"/>
                <a:gd name="T74" fmla="*/ 15 w 96"/>
                <a:gd name="T75" fmla="*/ 44 h 88"/>
                <a:gd name="T76" fmla="*/ 4 w 96"/>
                <a:gd name="T77" fmla="*/ 52 h 88"/>
                <a:gd name="T78" fmla="*/ 17 w 96"/>
                <a:gd name="T79" fmla="*/ 54 h 88"/>
                <a:gd name="T80" fmla="*/ 20 w 96"/>
                <a:gd name="T81" fmla="*/ 67 h 88"/>
                <a:gd name="T82" fmla="*/ 21 w 96"/>
                <a:gd name="T83" fmla="*/ 83 h 88"/>
                <a:gd name="T84" fmla="*/ 32 w 96"/>
                <a:gd name="T85" fmla="*/ 76 h 88"/>
                <a:gd name="T86" fmla="*/ 23 w 96"/>
                <a:gd name="T8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8">
                  <a:moveTo>
                    <a:pt x="21" y="88"/>
                  </a:moveTo>
                  <a:cubicBezTo>
                    <a:pt x="21" y="88"/>
                    <a:pt x="20" y="88"/>
                    <a:pt x="20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5"/>
                    <a:pt x="8" y="75"/>
                  </a:cubicBezTo>
                  <a:cubicBezTo>
                    <a:pt x="8" y="74"/>
                    <a:pt x="8" y="74"/>
                    <a:pt x="8" y="73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5" y="63"/>
                    <a:pt x="14" y="59"/>
                    <a:pt x="1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37"/>
                    <a:pt x="15" y="33"/>
                    <a:pt x="17" y="3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1"/>
                    <a:pt x="8" y="20"/>
                    <a:pt x="8" y="2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5"/>
                    <a:pt x="37" y="14"/>
                    <a:pt x="40" y="1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1"/>
                    <a:pt x="56" y="2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4"/>
                    <a:pt x="63" y="15"/>
                    <a:pt x="65" y="1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5" y="8"/>
                    <a:pt x="76" y="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2"/>
                    <a:pt x="88" y="22"/>
                    <a:pt x="88" y="23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1" y="33"/>
                    <a:pt x="82" y="37"/>
                    <a:pt x="83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6" y="41"/>
                    <a:pt x="96" y="42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5"/>
                    <a:pt x="95" y="56"/>
                    <a:pt x="94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2" y="59"/>
                    <a:pt x="81" y="63"/>
                    <a:pt x="79" y="65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88" y="74"/>
                    <a:pt x="88" y="76"/>
                    <a:pt x="88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4" y="88"/>
                    <a:pt x="73" y="8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3" y="78"/>
                    <a:pt x="63" y="76"/>
                    <a:pt x="64" y="76"/>
                  </a:cubicBezTo>
                  <a:cubicBezTo>
                    <a:pt x="65" y="75"/>
                    <a:pt x="66" y="75"/>
                    <a:pt x="67" y="76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5" y="66"/>
                    <a:pt x="75" y="65"/>
                    <a:pt x="75" y="65"/>
                  </a:cubicBezTo>
                  <a:cubicBezTo>
                    <a:pt x="77" y="62"/>
                    <a:pt x="79" y="56"/>
                    <a:pt x="79" y="54"/>
                  </a:cubicBezTo>
                  <a:cubicBezTo>
                    <a:pt x="79" y="53"/>
                    <a:pt x="80" y="52"/>
                    <a:pt x="81" y="52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0" y="44"/>
                    <a:pt x="79" y="43"/>
                    <a:pt x="79" y="42"/>
                  </a:cubicBezTo>
                  <a:cubicBezTo>
                    <a:pt x="79" y="40"/>
                    <a:pt x="77" y="34"/>
                    <a:pt x="75" y="31"/>
                  </a:cubicBezTo>
                  <a:cubicBezTo>
                    <a:pt x="75" y="31"/>
                    <a:pt x="75" y="30"/>
                    <a:pt x="76" y="29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2" y="19"/>
                    <a:pt x="57" y="18"/>
                    <a:pt x="54" y="17"/>
                  </a:cubicBezTo>
                  <a:cubicBezTo>
                    <a:pt x="53" y="17"/>
                    <a:pt x="52" y="16"/>
                    <a:pt x="52" y="1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6"/>
                    <a:pt x="43" y="17"/>
                    <a:pt x="42" y="17"/>
                  </a:cubicBezTo>
                  <a:cubicBezTo>
                    <a:pt x="39" y="18"/>
                    <a:pt x="34" y="19"/>
                    <a:pt x="31" y="21"/>
                  </a:cubicBezTo>
                  <a:cubicBezTo>
                    <a:pt x="31" y="21"/>
                    <a:pt x="30" y="21"/>
                    <a:pt x="29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1"/>
                    <a:pt x="21" y="31"/>
                  </a:cubicBezTo>
                  <a:cubicBezTo>
                    <a:pt x="19" y="34"/>
                    <a:pt x="17" y="40"/>
                    <a:pt x="17" y="42"/>
                  </a:cubicBezTo>
                  <a:cubicBezTo>
                    <a:pt x="17" y="43"/>
                    <a:pt x="16" y="44"/>
                    <a:pt x="1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6" y="52"/>
                    <a:pt x="17" y="53"/>
                    <a:pt x="17" y="54"/>
                  </a:cubicBezTo>
                  <a:cubicBezTo>
                    <a:pt x="17" y="56"/>
                    <a:pt x="19" y="62"/>
                    <a:pt x="21" y="65"/>
                  </a:cubicBezTo>
                  <a:cubicBezTo>
                    <a:pt x="21" y="65"/>
                    <a:pt x="21" y="66"/>
                    <a:pt x="20" y="67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5"/>
                    <a:pt x="31" y="75"/>
                    <a:pt x="32" y="76"/>
                  </a:cubicBezTo>
                  <a:cubicBezTo>
                    <a:pt x="33" y="76"/>
                    <a:pt x="33" y="78"/>
                    <a:pt x="32" y="7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64">
              <a:extLst>
                <a:ext uri="{FF2B5EF4-FFF2-40B4-BE49-F238E27FC236}">
                  <a16:creationId xmlns:a16="http://schemas.microsoft.com/office/drawing/2014/main" id="{D7A157B6-45E0-433B-90AB-3E2894F33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496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0" name="Freeform 65">
              <a:extLst>
                <a:ext uri="{FF2B5EF4-FFF2-40B4-BE49-F238E27FC236}">
                  <a16:creationId xmlns:a16="http://schemas.microsoft.com/office/drawing/2014/main" id="{8E049428-5E5A-4D31-B685-3173CD3EF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3579813"/>
              <a:ext cx="60325" cy="30163"/>
            </a:xfrm>
            <a:custGeom>
              <a:avLst/>
              <a:gdLst>
                <a:gd name="T0" fmla="*/ 14 w 16"/>
                <a:gd name="T1" fmla="*/ 0 h 8"/>
                <a:gd name="T2" fmla="*/ 2 w 16"/>
                <a:gd name="T3" fmla="*/ 0 h 8"/>
                <a:gd name="T4" fmla="*/ 0 w 16"/>
                <a:gd name="T5" fmla="*/ 2 h 8"/>
                <a:gd name="T6" fmla="*/ 2 w 16"/>
                <a:gd name="T7" fmla="*/ 4 h 8"/>
                <a:gd name="T8" fmla="*/ 6 w 16"/>
                <a:gd name="T9" fmla="*/ 4 h 8"/>
                <a:gd name="T10" fmla="*/ 6 w 16"/>
                <a:gd name="T11" fmla="*/ 6 h 8"/>
                <a:gd name="T12" fmla="*/ 8 w 16"/>
                <a:gd name="T13" fmla="*/ 8 h 8"/>
                <a:gd name="T14" fmla="*/ 10 w 16"/>
                <a:gd name="T15" fmla="*/ 6 h 8"/>
                <a:gd name="T16" fmla="*/ 10 w 16"/>
                <a:gd name="T17" fmla="*/ 4 h 8"/>
                <a:gd name="T18" fmla="*/ 14 w 16"/>
                <a:gd name="T19" fmla="*/ 4 h 8"/>
                <a:gd name="T20" fmla="*/ 16 w 16"/>
                <a:gd name="T21" fmla="*/ 2 h 8"/>
                <a:gd name="T22" fmla="*/ 14 w 1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8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7" y="8"/>
                    <a:pt x="8" y="8"/>
                  </a:cubicBezTo>
                  <a:cubicBezTo>
                    <a:pt x="9" y="8"/>
                    <a:pt x="10" y="7"/>
                    <a:pt x="10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66">
              <a:extLst>
                <a:ext uri="{FF2B5EF4-FFF2-40B4-BE49-F238E27FC236}">
                  <a16:creationId xmlns:a16="http://schemas.microsoft.com/office/drawing/2014/main" id="{B70E1FAB-8775-4032-BCC0-35EC6166C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738" y="3338513"/>
              <a:ext cx="187325" cy="196850"/>
            </a:xfrm>
            <a:custGeom>
              <a:avLst/>
              <a:gdLst>
                <a:gd name="T0" fmla="*/ 25 w 50"/>
                <a:gd name="T1" fmla="*/ 0 h 52"/>
                <a:gd name="T2" fmla="*/ 0 w 50"/>
                <a:gd name="T3" fmla="*/ 24 h 52"/>
                <a:gd name="T4" fmla="*/ 17 w 50"/>
                <a:gd name="T5" fmla="*/ 47 h 52"/>
                <a:gd name="T6" fmla="*/ 17 w 50"/>
                <a:gd name="T7" fmla="*/ 50 h 52"/>
                <a:gd name="T8" fmla="*/ 19 w 50"/>
                <a:gd name="T9" fmla="*/ 52 h 52"/>
                <a:gd name="T10" fmla="*/ 31 w 50"/>
                <a:gd name="T11" fmla="*/ 52 h 52"/>
                <a:gd name="T12" fmla="*/ 33 w 50"/>
                <a:gd name="T13" fmla="*/ 50 h 52"/>
                <a:gd name="T14" fmla="*/ 33 w 50"/>
                <a:gd name="T15" fmla="*/ 47 h 52"/>
                <a:gd name="T16" fmla="*/ 50 w 50"/>
                <a:gd name="T17" fmla="*/ 24 h 52"/>
                <a:gd name="T18" fmla="*/ 25 w 50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2">
                  <a:moveTo>
                    <a:pt x="25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4"/>
                    <a:pt x="7" y="43"/>
                    <a:pt x="17" y="47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3" y="51"/>
                    <a:pt x="33" y="5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43" y="43"/>
                    <a:pt x="50" y="34"/>
                    <a:pt x="50" y="24"/>
                  </a:cubicBezTo>
                  <a:cubicBezTo>
                    <a:pt x="50" y="11"/>
                    <a:pt x="39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3EC0F959-C14D-4C63-8FC5-ADA2F38BEB9B}"/>
              </a:ext>
            </a:extLst>
          </p:cNvPr>
          <p:cNvGrpSpPr/>
          <p:nvPr/>
        </p:nvGrpSpPr>
        <p:grpSpPr>
          <a:xfrm>
            <a:off x="6795194" y="3399884"/>
            <a:ext cx="223362" cy="246133"/>
            <a:chOff x="6291263" y="5054601"/>
            <a:chExt cx="327025" cy="360363"/>
          </a:xfrm>
          <a:solidFill>
            <a:srgbClr val="FF4D67"/>
          </a:solidFill>
        </p:grpSpPr>
        <p:sp>
          <p:nvSpPr>
            <p:cNvPr id="113" name="Freeform 179">
              <a:extLst>
                <a:ext uri="{FF2B5EF4-FFF2-40B4-BE49-F238E27FC236}">
                  <a16:creationId xmlns:a16="http://schemas.microsoft.com/office/drawing/2014/main" id="{D2767634-0B9F-4149-BE70-82C8EF602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1263" y="5054601"/>
              <a:ext cx="327025" cy="360363"/>
            </a:xfrm>
            <a:custGeom>
              <a:avLst/>
              <a:gdLst>
                <a:gd name="T0" fmla="*/ 81 w 87"/>
                <a:gd name="T1" fmla="*/ 39 h 96"/>
                <a:gd name="T2" fmla="*/ 78 w 87"/>
                <a:gd name="T3" fmla="*/ 34 h 96"/>
                <a:gd name="T4" fmla="*/ 40 w 87"/>
                <a:gd name="T5" fmla="*/ 0 h 96"/>
                <a:gd name="T6" fmla="*/ 0 w 87"/>
                <a:gd name="T7" fmla="*/ 40 h 96"/>
                <a:gd name="T8" fmla="*/ 16 w 87"/>
                <a:gd name="T9" fmla="*/ 72 h 96"/>
                <a:gd name="T10" fmla="*/ 16 w 87"/>
                <a:gd name="T11" fmla="*/ 94 h 96"/>
                <a:gd name="T12" fmla="*/ 18 w 87"/>
                <a:gd name="T13" fmla="*/ 96 h 96"/>
                <a:gd name="T14" fmla="*/ 58 w 87"/>
                <a:gd name="T15" fmla="*/ 96 h 96"/>
                <a:gd name="T16" fmla="*/ 60 w 87"/>
                <a:gd name="T17" fmla="*/ 94 h 96"/>
                <a:gd name="T18" fmla="*/ 60 w 87"/>
                <a:gd name="T19" fmla="*/ 82 h 96"/>
                <a:gd name="T20" fmla="*/ 74 w 87"/>
                <a:gd name="T21" fmla="*/ 78 h 96"/>
                <a:gd name="T22" fmla="*/ 78 w 87"/>
                <a:gd name="T23" fmla="*/ 60 h 96"/>
                <a:gd name="T24" fmla="*/ 82 w 87"/>
                <a:gd name="T25" fmla="*/ 60 h 96"/>
                <a:gd name="T26" fmla="*/ 86 w 87"/>
                <a:gd name="T27" fmla="*/ 58 h 96"/>
                <a:gd name="T28" fmla="*/ 87 w 87"/>
                <a:gd name="T29" fmla="*/ 55 h 96"/>
                <a:gd name="T30" fmla="*/ 87 w 87"/>
                <a:gd name="T31" fmla="*/ 54 h 96"/>
                <a:gd name="T32" fmla="*/ 81 w 87"/>
                <a:gd name="T33" fmla="*/ 39 h 96"/>
                <a:gd name="T34" fmla="*/ 64 w 87"/>
                <a:gd name="T35" fmla="*/ 62 h 96"/>
                <a:gd name="T36" fmla="*/ 62 w 87"/>
                <a:gd name="T37" fmla="*/ 64 h 96"/>
                <a:gd name="T38" fmla="*/ 22 w 87"/>
                <a:gd name="T39" fmla="*/ 64 h 96"/>
                <a:gd name="T40" fmla="*/ 20 w 87"/>
                <a:gd name="T41" fmla="*/ 62 h 96"/>
                <a:gd name="T42" fmla="*/ 20 w 87"/>
                <a:gd name="T43" fmla="*/ 22 h 96"/>
                <a:gd name="T44" fmla="*/ 22 w 87"/>
                <a:gd name="T45" fmla="*/ 20 h 96"/>
                <a:gd name="T46" fmla="*/ 62 w 87"/>
                <a:gd name="T47" fmla="*/ 20 h 96"/>
                <a:gd name="T48" fmla="*/ 64 w 87"/>
                <a:gd name="T49" fmla="*/ 22 h 96"/>
                <a:gd name="T50" fmla="*/ 64 w 87"/>
                <a:gd name="T51" fmla="*/ 6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7" h="96">
                  <a:moveTo>
                    <a:pt x="81" y="39"/>
                  </a:moveTo>
                  <a:cubicBezTo>
                    <a:pt x="80" y="37"/>
                    <a:pt x="78" y="34"/>
                    <a:pt x="78" y="34"/>
                  </a:cubicBezTo>
                  <a:cubicBezTo>
                    <a:pt x="78" y="13"/>
                    <a:pt x="59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5"/>
                    <a:pt x="5" y="65"/>
                    <a:pt x="16" y="72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7" y="96"/>
                    <a:pt x="18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59" y="96"/>
                    <a:pt x="60" y="95"/>
                    <a:pt x="60" y="9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7" y="82"/>
                    <a:pt x="71" y="81"/>
                    <a:pt x="74" y="78"/>
                  </a:cubicBezTo>
                  <a:cubicBezTo>
                    <a:pt x="78" y="75"/>
                    <a:pt x="78" y="65"/>
                    <a:pt x="78" y="60"/>
                  </a:cubicBezTo>
                  <a:cubicBezTo>
                    <a:pt x="79" y="60"/>
                    <a:pt x="81" y="60"/>
                    <a:pt x="82" y="60"/>
                  </a:cubicBezTo>
                  <a:cubicBezTo>
                    <a:pt x="84" y="60"/>
                    <a:pt x="85" y="59"/>
                    <a:pt x="86" y="58"/>
                  </a:cubicBezTo>
                  <a:cubicBezTo>
                    <a:pt x="87" y="57"/>
                    <a:pt x="87" y="56"/>
                    <a:pt x="87" y="55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0"/>
                    <a:pt x="84" y="44"/>
                    <a:pt x="81" y="39"/>
                  </a:cubicBezTo>
                  <a:close/>
                  <a:moveTo>
                    <a:pt x="64" y="62"/>
                  </a:moveTo>
                  <a:cubicBezTo>
                    <a:pt x="64" y="63"/>
                    <a:pt x="63" y="64"/>
                    <a:pt x="6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3"/>
                    <a:pt x="20" y="6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20"/>
                    <a:pt x="64" y="21"/>
                    <a:pt x="64" y="22"/>
                  </a:cubicBezTo>
                  <a:lnTo>
                    <a:pt x="6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4" name="Freeform 180">
              <a:extLst>
                <a:ext uri="{FF2B5EF4-FFF2-40B4-BE49-F238E27FC236}">
                  <a16:creationId xmlns:a16="http://schemas.microsoft.com/office/drawing/2014/main" id="{16A95282-1182-4865-9B66-25A9356F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200" y="5159376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5" name="Freeform 181">
              <a:extLst>
                <a:ext uri="{FF2B5EF4-FFF2-40B4-BE49-F238E27FC236}">
                  <a16:creationId xmlns:a16="http://schemas.microsoft.com/office/drawing/2014/main" id="{936707BE-26FE-4009-A914-C40BD76BF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189538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6" name="Freeform 182">
              <a:extLst>
                <a:ext uri="{FF2B5EF4-FFF2-40B4-BE49-F238E27FC236}">
                  <a16:creationId xmlns:a16="http://schemas.microsoft.com/office/drawing/2014/main" id="{6E8DE9AF-7042-46D0-A8A0-F0D3C5F40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19701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7" name="Freeform 183">
              <a:extLst>
                <a:ext uri="{FF2B5EF4-FFF2-40B4-BE49-F238E27FC236}">
                  <a16:creationId xmlns:a16="http://schemas.microsoft.com/office/drawing/2014/main" id="{C00F1781-2E60-4AF8-806C-BB1839D6B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5249863"/>
              <a:ext cx="106363" cy="14288"/>
            </a:xfrm>
            <a:custGeom>
              <a:avLst/>
              <a:gdLst>
                <a:gd name="T0" fmla="*/ 26 w 28"/>
                <a:gd name="T1" fmla="*/ 4 h 4"/>
                <a:gd name="T2" fmla="*/ 2 w 28"/>
                <a:gd name="T3" fmla="*/ 4 h 4"/>
                <a:gd name="T4" fmla="*/ 0 w 28"/>
                <a:gd name="T5" fmla="*/ 2 h 4"/>
                <a:gd name="T6" fmla="*/ 2 w 28"/>
                <a:gd name="T7" fmla="*/ 0 h 4"/>
                <a:gd name="T8" fmla="*/ 26 w 28"/>
                <a:gd name="T9" fmla="*/ 0 h 4"/>
                <a:gd name="T10" fmla="*/ 28 w 28"/>
                <a:gd name="T11" fmla="*/ 2 h 4"/>
                <a:gd name="T12" fmla="*/ 26 w 2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4">
                  <a:moveTo>
                    <a:pt x="2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1"/>
                    <a:pt x="28" y="2"/>
                  </a:cubicBezTo>
                  <a:cubicBezTo>
                    <a:pt x="28" y="3"/>
                    <a:pt x="27" y="4"/>
                    <a:pt x="2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18" name="Freeform 6">
            <a:extLst>
              <a:ext uri="{FF2B5EF4-FFF2-40B4-BE49-F238E27FC236}">
                <a16:creationId xmlns:a16="http://schemas.microsoft.com/office/drawing/2014/main" id="{250C5294-B36D-4B1A-85F8-194432DE6C41}"/>
              </a:ext>
            </a:extLst>
          </p:cNvPr>
          <p:cNvSpPr>
            <a:spLocks noEditPoints="1"/>
          </p:cNvSpPr>
          <p:nvPr/>
        </p:nvSpPr>
        <p:spPr bwMode="auto">
          <a:xfrm>
            <a:off x="6343581" y="5638298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rgbClr val="FF4D6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E9472BF3-3C11-4E0A-A77F-0B25DC7F464A}"/>
              </a:ext>
            </a:extLst>
          </p:cNvPr>
          <p:cNvGrpSpPr/>
          <p:nvPr/>
        </p:nvGrpSpPr>
        <p:grpSpPr>
          <a:xfrm>
            <a:off x="5230749" y="2617062"/>
            <a:ext cx="203415" cy="204311"/>
            <a:chOff x="5554663" y="3248025"/>
            <a:chExt cx="360363" cy="361950"/>
          </a:xfrm>
          <a:solidFill>
            <a:srgbClr val="FF4D67"/>
          </a:solidFill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3169C4A-693A-4942-A036-7748D1478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3CEC476-94E1-441E-B7F1-5328A15DD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89325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27EBCD0C-0AF1-4B66-8DB2-435DC9E2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57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4934A8A8-9F7E-4D85-843E-0169ABF4A5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1025" y="3429000"/>
              <a:ext cx="666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4" name="Freeform 33">
              <a:extLst>
                <a:ext uri="{FF2B5EF4-FFF2-40B4-BE49-F238E27FC236}">
                  <a16:creationId xmlns:a16="http://schemas.microsoft.com/office/drawing/2014/main" id="{5A8B153F-AE18-4207-BD7A-5FC94D537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368675"/>
              <a:ext cx="360363" cy="241300"/>
            </a:xfrm>
            <a:custGeom>
              <a:avLst/>
              <a:gdLst>
                <a:gd name="T0" fmla="*/ 2 w 96"/>
                <a:gd name="T1" fmla="*/ 64 h 64"/>
                <a:gd name="T2" fmla="*/ 96 w 96"/>
                <a:gd name="T3" fmla="*/ 62 h 64"/>
                <a:gd name="T4" fmla="*/ 0 w 96"/>
                <a:gd name="T5" fmla="*/ 0 h 64"/>
                <a:gd name="T6" fmla="*/ 10 w 96"/>
                <a:gd name="T7" fmla="*/ 32 h 64"/>
                <a:gd name="T8" fmla="*/ 10 w 96"/>
                <a:gd name="T9" fmla="*/ 28 h 64"/>
                <a:gd name="T10" fmla="*/ 24 w 96"/>
                <a:gd name="T11" fmla="*/ 16 h 64"/>
                <a:gd name="T12" fmla="*/ 8 w 96"/>
                <a:gd name="T13" fmla="*/ 14 h 64"/>
                <a:gd name="T14" fmla="*/ 24 w 96"/>
                <a:gd name="T15" fmla="*/ 12 h 64"/>
                <a:gd name="T16" fmla="*/ 26 w 96"/>
                <a:gd name="T17" fmla="*/ 4 h 64"/>
                <a:gd name="T18" fmla="*/ 28 w 96"/>
                <a:gd name="T19" fmla="*/ 12 h 64"/>
                <a:gd name="T20" fmla="*/ 46 w 96"/>
                <a:gd name="T21" fmla="*/ 6 h 64"/>
                <a:gd name="T22" fmla="*/ 50 w 96"/>
                <a:gd name="T23" fmla="*/ 6 h 64"/>
                <a:gd name="T24" fmla="*/ 68 w 96"/>
                <a:gd name="T25" fmla="*/ 12 h 64"/>
                <a:gd name="T26" fmla="*/ 70 w 96"/>
                <a:gd name="T27" fmla="*/ 4 h 64"/>
                <a:gd name="T28" fmla="*/ 72 w 96"/>
                <a:gd name="T29" fmla="*/ 12 h 64"/>
                <a:gd name="T30" fmla="*/ 88 w 96"/>
                <a:gd name="T31" fmla="*/ 14 h 64"/>
                <a:gd name="T32" fmla="*/ 72 w 96"/>
                <a:gd name="T33" fmla="*/ 16 h 64"/>
                <a:gd name="T34" fmla="*/ 86 w 96"/>
                <a:gd name="T35" fmla="*/ 28 h 64"/>
                <a:gd name="T36" fmla="*/ 86 w 96"/>
                <a:gd name="T37" fmla="*/ 32 h 64"/>
                <a:gd name="T38" fmla="*/ 72 w 96"/>
                <a:gd name="T39" fmla="*/ 44 h 64"/>
                <a:gd name="T40" fmla="*/ 88 w 96"/>
                <a:gd name="T41" fmla="*/ 46 h 64"/>
                <a:gd name="T42" fmla="*/ 72 w 96"/>
                <a:gd name="T43" fmla="*/ 48 h 64"/>
                <a:gd name="T44" fmla="*/ 70 w 96"/>
                <a:gd name="T45" fmla="*/ 56 h 64"/>
                <a:gd name="T46" fmla="*/ 68 w 96"/>
                <a:gd name="T47" fmla="*/ 48 h 64"/>
                <a:gd name="T48" fmla="*/ 50 w 96"/>
                <a:gd name="T49" fmla="*/ 54 h 64"/>
                <a:gd name="T50" fmla="*/ 46 w 96"/>
                <a:gd name="T51" fmla="*/ 54 h 64"/>
                <a:gd name="T52" fmla="*/ 28 w 96"/>
                <a:gd name="T53" fmla="*/ 48 h 64"/>
                <a:gd name="T54" fmla="*/ 26 w 96"/>
                <a:gd name="T55" fmla="*/ 56 h 64"/>
                <a:gd name="T56" fmla="*/ 24 w 96"/>
                <a:gd name="T57" fmla="*/ 48 h 64"/>
                <a:gd name="T58" fmla="*/ 8 w 96"/>
                <a:gd name="T59" fmla="*/ 46 h 64"/>
                <a:gd name="T60" fmla="*/ 24 w 96"/>
                <a:gd name="T61" fmla="*/ 44 h 64"/>
                <a:gd name="T62" fmla="*/ 10 w 96"/>
                <a:gd name="T6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64">
                  <a:moveTo>
                    <a:pt x="0" y="62"/>
                  </a:moveTo>
                  <a:cubicBezTo>
                    <a:pt x="0" y="63"/>
                    <a:pt x="1" y="64"/>
                    <a:pt x="2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5" y="64"/>
                    <a:pt x="96" y="63"/>
                    <a:pt x="96" y="62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2"/>
                  </a:lnTo>
                  <a:close/>
                  <a:moveTo>
                    <a:pt x="10" y="32"/>
                  </a:moveTo>
                  <a:cubicBezTo>
                    <a:pt x="9" y="32"/>
                    <a:pt x="8" y="31"/>
                    <a:pt x="8" y="30"/>
                  </a:cubicBezTo>
                  <a:cubicBezTo>
                    <a:pt x="8" y="29"/>
                    <a:pt x="9" y="28"/>
                    <a:pt x="1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8" y="15"/>
                    <a:pt x="8" y="14"/>
                  </a:cubicBezTo>
                  <a:cubicBezTo>
                    <a:pt x="8" y="13"/>
                    <a:pt x="9" y="12"/>
                    <a:pt x="1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5"/>
                    <a:pt x="25" y="4"/>
                    <a:pt x="26" y="4"/>
                  </a:cubicBezTo>
                  <a:cubicBezTo>
                    <a:pt x="27" y="4"/>
                    <a:pt x="28" y="5"/>
                    <a:pt x="28" y="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5"/>
                    <a:pt x="47" y="4"/>
                    <a:pt x="48" y="4"/>
                  </a:cubicBezTo>
                  <a:cubicBezTo>
                    <a:pt x="49" y="4"/>
                    <a:pt x="50" y="5"/>
                    <a:pt x="50" y="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5"/>
                    <a:pt x="69" y="4"/>
                    <a:pt x="70" y="4"/>
                  </a:cubicBezTo>
                  <a:cubicBezTo>
                    <a:pt x="71" y="4"/>
                    <a:pt x="72" y="5"/>
                    <a:pt x="72" y="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7" y="12"/>
                    <a:pt x="88" y="13"/>
                    <a:pt x="88" y="14"/>
                  </a:cubicBezTo>
                  <a:cubicBezTo>
                    <a:pt x="88" y="15"/>
                    <a:pt x="87" y="16"/>
                    <a:pt x="86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8" y="29"/>
                    <a:pt x="88" y="30"/>
                  </a:cubicBezTo>
                  <a:cubicBezTo>
                    <a:pt x="88" y="31"/>
                    <a:pt x="87" y="32"/>
                    <a:pt x="86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44"/>
                    <a:pt x="88" y="45"/>
                    <a:pt x="88" y="46"/>
                  </a:cubicBezTo>
                  <a:cubicBezTo>
                    <a:pt x="88" y="47"/>
                    <a:pt x="87" y="48"/>
                    <a:pt x="8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1" y="56"/>
                    <a:pt x="70" y="56"/>
                  </a:cubicBezTo>
                  <a:cubicBezTo>
                    <a:pt x="69" y="56"/>
                    <a:pt x="68" y="55"/>
                    <a:pt x="68" y="54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0" y="54"/>
                    <a:pt x="50" y="54"/>
                    <a:pt x="50" y="54"/>
                  </a:cubicBezTo>
                  <a:cubicBezTo>
                    <a:pt x="50" y="55"/>
                    <a:pt x="49" y="56"/>
                    <a:pt x="48" y="56"/>
                  </a:cubicBezTo>
                  <a:cubicBezTo>
                    <a:pt x="47" y="56"/>
                    <a:pt x="46" y="55"/>
                    <a:pt x="46" y="54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7" y="56"/>
                    <a:pt x="26" y="56"/>
                  </a:cubicBezTo>
                  <a:cubicBezTo>
                    <a:pt x="25" y="56"/>
                    <a:pt x="24" y="55"/>
                    <a:pt x="24" y="54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8" y="47"/>
                    <a:pt x="8" y="46"/>
                  </a:cubicBezTo>
                  <a:cubicBezTo>
                    <a:pt x="8" y="45"/>
                    <a:pt x="9" y="44"/>
                    <a:pt x="10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1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5" name="Freeform 34">
              <a:extLst>
                <a:ext uri="{FF2B5EF4-FFF2-40B4-BE49-F238E27FC236}">
                  <a16:creationId xmlns:a16="http://schemas.microsoft.com/office/drawing/2014/main" id="{92232B8F-0687-4D1F-AEED-4C13578CA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4663" y="3248025"/>
              <a:ext cx="360363" cy="106363"/>
            </a:xfrm>
            <a:custGeom>
              <a:avLst/>
              <a:gdLst>
                <a:gd name="T0" fmla="*/ 94 w 96"/>
                <a:gd name="T1" fmla="*/ 8 h 28"/>
                <a:gd name="T2" fmla="*/ 80 w 96"/>
                <a:gd name="T3" fmla="*/ 8 h 28"/>
                <a:gd name="T4" fmla="*/ 80 w 96"/>
                <a:gd name="T5" fmla="*/ 2 h 28"/>
                <a:gd name="T6" fmla="*/ 78 w 96"/>
                <a:gd name="T7" fmla="*/ 0 h 28"/>
                <a:gd name="T8" fmla="*/ 66 w 96"/>
                <a:gd name="T9" fmla="*/ 0 h 28"/>
                <a:gd name="T10" fmla="*/ 64 w 96"/>
                <a:gd name="T11" fmla="*/ 2 h 28"/>
                <a:gd name="T12" fmla="*/ 64 w 96"/>
                <a:gd name="T13" fmla="*/ 8 h 28"/>
                <a:gd name="T14" fmla="*/ 32 w 96"/>
                <a:gd name="T15" fmla="*/ 8 h 28"/>
                <a:gd name="T16" fmla="*/ 32 w 96"/>
                <a:gd name="T17" fmla="*/ 2 h 28"/>
                <a:gd name="T18" fmla="*/ 30 w 96"/>
                <a:gd name="T19" fmla="*/ 0 h 28"/>
                <a:gd name="T20" fmla="*/ 18 w 96"/>
                <a:gd name="T21" fmla="*/ 0 h 28"/>
                <a:gd name="T22" fmla="*/ 16 w 96"/>
                <a:gd name="T23" fmla="*/ 2 h 28"/>
                <a:gd name="T24" fmla="*/ 16 w 96"/>
                <a:gd name="T25" fmla="*/ 8 h 28"/>
                <a:gd name="T26" fmla="*/ 2 w 96"/>
                <a:gd name="T27" fmla="*/ 8 h 28"/>
                <a:gd name="T28" fmla="*/ 0 w 96"/>
                <a:gd name="T29" fmla="*/ 10 h 28"/>
                <a:gd name="T30" fmla="*/ 0 w 96"/>
                <a:gd name="T31" fmla="*/ 28 h 28"/>
                <a:gd name="T32" fmla="*/ 96 w 96"/>
                <a:gd name="T33" fmla="*/ 28 h 28"/>
                <a:gd name="T34" fmla="*/ 96 w 96"/>
                <a:gd name="T35" fmla="*/ 10 h 28"/>
                <a:gd name="T36" fmla="*/ 94 w 96"/>
                <a:gd name="T37" fmla="*/ 8 h 28"/>
                <a:gd name="T38" fmla="*/ 28 w 96"/>
                <a:gd name="T39" fmla="*/ 16 h 28"/>
                <a:gd name="T40" fmla="*/ 20 w 96"/>
                <a:gd name="T41" fmla="*/ 16 h 28"/>
                <a:gd name="T42" fmla="*/ 20 w 96"/>
                <a:gd name="T43" fmla="*/ 4 h 28"/>
                <a:gd name="T44" fmla="*/ 28 w 96"/>
                <a:gd name="T45" fmla="*/ 4 h 28"/>
                <a:gd name="T46" fmla="*/ 28 w 96"/>
                <a:gd name="T47" fmla="*/ 16 h 28"/>
                <a:gd name="T48" fmla="*/ 76 w 96"/>
                <a:gd name="T49" fmla="*/ 16 h 28"/>
                <a:gd name="T50" fmla="*/ 68 w 96"/>
                <a:gd name="T51" fmla="*/ 16 h 28"/>
                <a:gd name="T52" fmla="*/ 68 w 96"/>
                <a:gd name="T53" fmla="*/ 4 h 28"/>
                <a:gd name="T54" fmla="*/ 76 w 96"/>
                <a:gd name="T55" fmla="*/ 4 h 28"/>
                <a:gd name="T56" fmla="*/ 76 w 96"/>
                <a:gd name="T5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6" h="28">
                  <a:moveTo>
                    <a:pt x="9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5" y="0"/>
                    <a:pt x="64" y="1"/>
                    <a:pt x="6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1" y="0"/>
                    <a:pt x="30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9"/>
                    <a:pt x="95" y="8"/>
                    <a:pt x="94" y="8"/>
                  </a:cubicBezTo>
                  <a:close/>
                  <a:moveTo>
                    <a:pt x="28" y="16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8" y="4"/>
                    <a:pt x="28" y="4"/>
                    <a:pt x="28" y="4"/>
                  </a:cubicBezTo>
                  <a:lnTo>
                    <a:pt x="28" y="16"/>
                  </a:lnTo>
                  <a:close/>
                  <a:moveTo>
                    <a:pt x="76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6" y="4"/>
                    <a:pt x="76" y="4"/>
                    <a:pt x="76" y="4"/>
                  </a:cubicBezTo>
                  <a:lnTo>
                    <a:pt x="7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34" name="Subtitle 176">
            <a:extLst>
              <a:ext uri="{FF2B5EF4-FFF2-40B4-BE49-F238E27FC236}">
                <a16:creationId xmlns:a16="http://schemas.microsoft.com/office/drawing/2014/main" id="{1B280D24-9994-46E1-ABC0-0987DA8E2AD2}"/>
              </a:ext>
            </a:extLst>
          </p:cNvPr>
          <p:cNvSpPr txBox="1">
            <a:spLocks/>
          </p:cNvSpPr>
          <p:nvPr/>
        </p:nvSpPr>
        <p:spPr>
          <a:xfrm>
            <a:off x="1181845" y="1397267"/>
            <a:ext cx="3289892" cy="48702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ID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DCC42B88-2A82-4971-B05D-4EBD4BE15D71}"/>
              </a:ext>
            </a:extLst>
          </p:cNvPr>
          <p:cNvSpPr/>
          <p:nvPr/>
        </p:nvSpPr>
        <p:spPr>
          <a:xfrm>
            <a:off x="7151494" y="4643802"/>
            <a:ext cx="551670" cy="551670"/>
          </a:xfrm>
          <a:prstGeom prst="ellipse">
            <a:avLst/>
          </a:prstGeom>
          <a:solidFill>
            <a:srgbClr val="FF4D6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6">
            <a:extLst>
              <a:ext uri="{FF2B5EF4-FFF2-40B4-BE49-F238E27FC236}">
                <a16:creationId xmlns:a16="http://schemas.microsoft.com/office/drawing/2014/main" id="{6A535A8B-478B-48EF-9C93-56E9FC114346}"/>
              </a:ext>
            </a:extLst>
          </p:cNvPr>
          <p:cNvSpPr>
            <a:spLocks noEditPoints="1"/>
          </p:cNvSpPr>
          <p:nvPr/>
        </p:nvSpPr>
        <p:spPr bwMode="auto">
          <a:xfrm>
            <a:off x="7275236" y="4760686"/>
            <a:ext cx="299132" cy="299132"/>
          </a:xfrm>
          <a:custGeom>
            <a:avLst/>
            <a:gdLst>
              <a:gd name="T0" fmla="*/ 4 w 96"/>
              <a:gd name="T1" fmla="*/ 52 h 96"/>
              <a:gd name="T2" fmla="*/ 10 w 96"/>
              <a:gd name="T3" fmla="*/ 52 h 96"/>
              <a:gd name="T4" fmla="*/ 44 w 96"/>
              <a:gd name="T5" fmla="*/ 86 h 96"/>
              <a:gd name="T6" fmla="*/ 44 w 96"/>
              <a:gd name="T7" fmla="*/ 92 h 96"/>
              <a:gd name="T8" fmla="*/ 48 w 96"/>
              <a:gd name="T9" fmla="*/ 96 h 96"/>
              <a:gd name="T10" fmla="*/ 52 w 96"/>
              <a:gd name="T11" fmla="*/ 92 h 96"/>
              <a:gd name="T12" fmla="*/ 52 w 96"/>
              <a:gd name="T13" fmla="*/ 86 h 96"/>
              <a:gd name="T14" fmla="*/ 86 w 96"/>
              <a:gd name="T15" fmla="*/ 52 h 96"/>
              <a:gd name="T16" fmla="*/ 92 w 96"/>
              <a:gd name="T17" fmla="*/ 52 h 96"/>
              <a:gd name="T18" fmla="*/ 96 w 96"/>
              <a:gd name="T19" fmla="*/ 48 h 96"/>
              <a:gd name="T20" fmla="*/ 92 w 96"/>
              <a:gd name="T21" fmla="*/ 44 h 96"/>
              <a:gd name="T22" fmla="*/ 86 w 96"/>
              <a:gd name="T23" fmla="*/ 44 h 96"/>
              <a:gd name="T24" fmla="*/ 52 w 96"/>
              <a:gd name="T25" fmla="*/ 10 h 96"/>
              <a:gd name="T26" fmla="*/ 52 w 96"/>
              <a:gd name="T27" fmla="*/ 4 h 96"/>
              <a:gd name="T28" fmla="*/ 48 w 96"/>
              <a:gd name="T29" fmla="*/ 0 h 96"/>
              <a:gd name="T30" fmla="*/ 44 w 96"/>
              <a:gd name="T31" fmla="*/ 4 h 96"/>
              <a:gd name="T32" fmla="*/ 44 w 96"/>
              <a:gd name="T33" fmla="*/ 10 h 96"/>
              <a:gd name="T34" fmla="*/ 10 w 96"/>
              <a:gd name="T35" fmla="*/ 44 h 96"/>
              <a:gd name="T36" fmla="*/ 4 w 96"/>
              <a:gd name="T37" fmla="*/ 44 h 96"/>
              <a:gd name="T38" fmla="*/ 0 w 96"/>
              <a:gd name="T39" fmla="*/ 48 h 96"/>
              <a:gd name="T40" fmla="*/ 4 w 96"/>
              <a:gd name="T41" fmla="*/ 52 h 96"/>
              <a:gd name="T42" fmla="*/ 18 w 96"/>
              <a:gd name="T43" fmla="*/ 52 h 96"/>
              <a:gd name="T44" fmla="*/ 27 w 96"/>
              <a:gd name="T45" fmla="*/ 52 h 96"/>
              <a:gd name="T46" fmla="*/ 44 w 96"/>
              <a:gd name="T47" fmla="*/ 69 h 96"/>
              <a:gd name="T48" fmla="*/ 44 w 96"/>
              <a:gd name="T49" fmla="*/ 78 h 96"/>
              <a:gd name="T50" fmla="*/ 18 w 96"/>
              <a:gd name="T51" fmla="*/ 52 h 96"/>
              <a:gd name="T52" fmla="*/ 52 w 96"/>
              <a:gd name="T53" fmla="*/ 52 h 96"/>
              <a:gd name="T54" fmla="*/ 61 w 96"/>
              <a:gd name="T55" fmla="*/ 52 h 96"/>
              <a:gd name="T56" fmla="*/ 52 w 96"/>
              <a:gd name="T57" fmla="*/ 61 h 96"/>
              <a:gd name="T58" fmla="*/ 52 w 96"/>
              <a:gd name="T59" fmla="*/ 52 h 96"/>
              <a:gd name="T60" fmla="*/ 52 w 96"/>
              <a:gd name="T61" fmla="*/ 44 h 96"/>
              <a:gd name="T62" fmla="*/ 52 w 96"/>
              <a:gd name="T63" fmla="*/ 35 h 96"/>
              <a:gd name="T64" fmla="*/ 61 w 96"/>
              <a:gd name="T65" fmla="*/ 44 h 96"/>
              <a:gd name="T66" fmla="*/ 52 w 96"/>
              <a:gd name="T67" fmla="*/ 44 h 96"/>
              <a:gd name="T68" fmla="*/ 44 w 96"/>
              <a:gd name="T69" fmla="*/ 44 h 96"/>
              <a:gd name="T70" fmla="*/ 35 w 96"/>
              <a:gd name="T71" fmla="*/ 44 h 96"/>
              <a:gd name="T72" fmla="*/ 44 w 96"/>
              <a:gd name="T73" fmla="*/ 35 h 96"/>
              <a:gd name="T74" fmla="*/ 44 w 96"/>
              <a:gd name="T75" fmla="*/ 44 h 96"/>
              <a:gd name="T76" fmla="*/ 44 w 96"/>
              <a:gd name="T77" fmla="*/ 52 h 96"/>
              <a:gd name="T78" fmla="*/ 44 w 96"/>
              <a:gd name="T79" fmla="*/ 61 h 96"/>
              <a:gd name="T80" fmla="*/ 35 w 96"/>
              <a:gd name="T81" fmla="*/ 52 h 96"/>
              <a:gd name="T82" fmla="*/ 44 w 96"/>
              <a:gd name="T83" fmla="*/ 52 h 96"/>
              <a:gd name="T84" fmla="*/ 52 w 96"/>
              <a:gd name="T85" fmla="*/ 78 h 96"/>
              <a:gd name="T86" fmla="*/ 52 w 96"/>
              <a:gd name="T87" fmla="*/ 69 h 96"/>
              <a:gd name="T88" fmla="*/ 69 w 96"/>
              <a:gd name="T89" fmla="*/ 52 h 96"/>
              <a:gd name="T90" fmla="*/ 78 w 96"/>
              <a:gd name="T91" fmla="*/ 52 h 96"/>
              <a:gd name="T92" fmla="*/ 52 w 96"/>
              <a:gd name="T93" fmla="*/ 78 h 96"/>
              <a:gd name="T94" fmla="*/ 78 w 96"/>
              <a:gd name="T95" fmla="*/ 44 h 96"/>
              <a:gd name="T96" fmla="*/ 69 w 96"/>
              <a:gd name="T97" fmla="*/ 44 h 96"/>
              <a:gd name="T98" fmla="*/ 52 w 96"/>
              <a:gd name="T99" fmla="*/ 27 h 96"/>
              <a:gd name="T100" fmla="*/ 52 w 96"/>
              <a:gd name="T101" fmla="*/ 18 h 96"/>
              <a:gd name="T102" fmla="*/ 78 w 96"/>
              <a:gd name="T103" fmla="*/ 44 h 96"/>
              <a:gd name="T104" fmla="*/ 44 w 96"/>
              <a:gd name="T105" fmla="*/ 18 h 96"/>
              <a:gd name="T106" fmla="*/ 44 w 96"/>
              <a:gd name="T107" fmla="*/ 27 h 96"/>
              <a:gd name="T108" fmla="*/ 27 w 96"/>
              <a:gd name="T109" fmla="*/ 44 h 96"/>
              <a:gd name="T110" fmla="*/ 18 w 96"/>
              <a:gd name="T111" fmla="*/ 44 h 96"/>
              <a:gd name="T112" fmla="*/ 44 w 96"/>
              <a:gd name="T113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96">
                <a:moveTo>
                  <a:pt x="4" y="52"/>
                </a:moveTo>
                <a:cubicBezTo>
                  <a:pt x="10" y="52"/>
                  <a:pt x="10" y="52"/>
                  <a:pt x="10" y="52"/>
                </a:cubicBezTo>
                <a:cubicBezTo>
                  <a:pt x="12" y="70"/>
                  <a:pt x="26" y="84"/>
                  <a:pt x="44" y="86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94"/>
                  <a:pt x="46" y="96"/>
                  <a:pt x="48" y="96"/>
                </a:cubicBezTo>
                <a:cubicBezTo>
                  <a:pt x="50" y="96"/>
                  <a:pt x="52" y="94"/>
                  <a:pt x="52" y="92"/>
                </a:cubicBezTo>
                <a:cubicBezTo>
                  <a:pt x="52" y="86"/>
                  <a:pt x="52" y="86"/>
                  <a:pt x="52" y="86"/>
                </a:cubicBezTo>
                <a:cubicBezTo>
                  <a:pt x="70" y="84"/>
                  <a:pt x="84" y="70"/>
                  <a:pt x="86" y="52"/>
                </a:cubicBezTo>
                <a:cubicBezTo>
                  <a:pt x="92" y="52"/>
                  <a:pt x="92" y="52"/>
                  <a:pt x="92" y="52"/>
                </a:cubicBezTo>
                <a:cubicBezTo>
                  <a:pt x="94" y="52"/>
                  <a:pt x="96" y="50"/>
                  <a:pt x="96" y="48"/>
                </a:cubicBezTo>
                <a:cubicBezTo>
                  <a:pt x="96" y="46"/>
                  <a:pt x="94" y="44"/>
                  <a:pt x="92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26"/>
                  <a:pt x="70" y="12"/>
                  <a:pt x="52" y="10"/>
                </a:cubicBezTo>
                <a:cubicBezTo>
                  <a:pt x="52" y="4"/>
                  <a:pt x="52" y="4"/>
                  <a:pt x="52" y="4"/>
                </a:cubicBezTo>
                <a:cubicBezTo>
                  <a:pt x="52" y="2"/>
                  <a:pt x="50" y="0"/>
                  <a:pt x="48" y="0"/>
                </a:cubicBezTo>
                <a:cubicBezTo>
                  <a:pt x="46" y="0"/>
                  <a:pt x="44" y="2"/>
                  <a:pt x="44" y="4"/>
                </a:cubicBezTo>
                <a:cubicBezTo>
                  <a:pt x="44" y="10"/>
                  <a:pt x="44" y="10"/>
                  <a:pt x="44" y="10"/>
                </a:cubicBezTo>
                <a:cubicBezTo>
                  <a:pt x="26" y="12"/>
                  <a:pt x="12" y="26"/>
                  <a:pt x="10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2" y="44"/>
                  <a:pt x="0" y="46"/>
                  <a:pt x="0" y="48"/>
                </a:cubicBezTo>
                <a:cubicBezTo>
                  <a:pt x="0" y="50"/>
                  <a:pt x="2" y="52"/>
                  <a:pt x="4" y="52"/>
                </a:cubicBezTo>
                <a:close/>
                <a:moveTo>
                  <a:pt x="18" y="52"/>
                </a:moveTo>
                <a:cubicBezTo>
                  <a:pt x="27" y="52"/>
                  <a:pt x="27" y="52"/>
                  <a:pt x="27" y="52"/>
                </a:cubicBezTo>
                <a:cubicBezTo>
                  <a:pt x="29" y="60"/>
                  <a:pt x="36" y="67"/>
                  <a:pt x="44" y="69"/>
                </a:cubicBezTo>
                <a:cubicBezTo>
                  <a:pt x="44" y="78"/>
                  <a:pt x="44" y="78"/>
                  <a:pt x="44" y="78"/>
                </a:cubicBezTo>
                <a:cubicBezTo>
                  <a:pt x="31" y="76"/>
                  <a:pt x="20" y="65"/>
                  <a:pt x="18" y="52"/>
                </a:cubicBezTo>
                <a:close/>
                <a:moveTo>
                  <a:pt x="52" y="52"/>
                </a:moveTo>
                <a:cubicBezTo>
                  <a:pt x="61" y="52"/>
                  <a:pt x="61" y="52"/>
                  <a:pt x="61" y="52"/>
                </a:cubicBezTo>
                <a:cubicBezTo>
                  <a:pt x="59" y="56"/>
                  <a:pt x="56" y="59"/>
                  <a:pt x="52" y="61"/>
                </a:cubicBezTo>
                <a:lnTo>
                  <a:pt x="52" y="52"/>
                </a:lnTo>
                <a:close/>
                <a:moveTo>
                  <a:pt x="52" y="44"/>
                </a:moveTo>
                <a:cubicBezTo>
                  <a:pt x="52" y="35"/>
                  <a:pt x="52" y="35"/>
                  <a:pt x="52" y="35"/>
                </a:cubicBezTo>
                <a:cubicBezTo>
                  <a:pt x="56" y="37"/>
                  <a:pt x="59" y="40"/>
                  <a:pt x="61" y="44"/>
                </a:cubicBezTo>
                <a:lnTo>
                  <a:pt x="52" y="44"/>
                </a:lnTo>
                <a:close/>
                <a:moveTo>
                  <a:pt x="44" y="44"/>
                </a:moveTo>
                <a:cubicBezTo>
                  <a:pt x="35" y="44"/>
                  <a:pt x="35" y="44"/>
                  <a:pt x="35" y="44"/>
                </a:cubicBezTo>
                <a:cubicBezTo>
                  <a:pt x="37" y="40"/>
                  <a:pt x="40" y="37"/>
                  <a:pt x="44" y="35"/>
                </a:cubicBezTo>
                <a:lnTo>
                  <a:pt x="44" y="44"/>
                </a:lnTo>
                <a:close/>
                <a:moveTo>
                  <a:pt x="44" y="52"/>
                </a:moveTo>
                <a:cubicBezTo>
                  <a:pt x="44" y="61"/>
                  <a:pt x="44" y="61"/>
                  <a:pt x="44" y="61"/>
                </a:cubicBezTo>
                <a:cubicBezTo>
                  <a:pt x="40" y="59"/>
                  <a:pt x="37" y="56"/>
                  <a:pt x="35" y="52"/>
                </a:cubicBezTo>
                <a:lnTo>
                  <a:pt x="44" y="52"/>
                </a:lnTo>
                <a:close/>
                <a:moveTo>
                  <a:pt x="52" y="78"/>
                </a:moveTo>
                <a:cubicBezTo>
                  <a:pt x="52" y="69"/>
                  <a:pt x="52" y="69"/>
                  <a:pt x="52" y="69"/>
                </a:cubicBezTo>
                <a:cubicBezTo>
                  <a:pt x="60" y="67"/>
                  <a:pt x="67" y="60"/>
                  <a:pt x="69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6" y="65"/>
                  <a:pt x="65" y="76"/>
                  <a:pt x="52" y="78"/>
                </a:cubicBezTo>
                <a:close/>
                <a:moveTo>
                  <a:pt x="78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7" y="36"/>
                  <a:pt x="60" y="29"/>
                  <a:pt x="52" y="27"/>
                </a:cubicBezTo>
                <a:cubicBezTo>
                  <a:pt x="52" y="18"/>
                  <a:pt x="52" y="18"/>
                  <a:pt x="52" y="18"/>
                </a:cubicBezTo>
                <a:cubicBezTo>
                  <a:pt x="65" y="20"/>
                  <a:pt x="76" y="31"/>
                  <a:pt x="78" y="44"/>
                </a:cubicBezTo>
                <a:close/>
                <a:moveTo>
                  <a:pt x="44" y="18"/>
                </a:moveTo>
                <a:cubicBezTo>
                  <a:pt x="44" y="27"/>
                  <a:pt x="44" y="27"/>
                  <a:pt x="44" y="27"/>
                </a:cubicBezTo>
                <a:cubicBezTo>
                  <a:pt x="36" y="29"/>
                  <a:pt x="29" y="36"/>
                  <a:pt x="27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20" y="31"/>
                  <a:pt x="31" y="20"/>
                  <a:pt x="4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2" name="Subtitle 176">
            <a:extLst>
              <a:ext uri="{FF2B5EF4-FFF2-40B4-BE49-F238E27FC236}">
                <a16:creationId xmlns:a16="http://schemas.microsoft.com/office/drawing/2014/main" id="{80A0A827-767C-47A2-A2DF-D306F9C59C00}"/>
              </a:ext>
            </a:extLst>
          </p:cNvPr>
          <p:cNvSpPr txBox="1">
            <a:spLocks/>
          </p:cNvSpPr>
          <p:nvPr/>
        </p:nvSpPr>
        <p:spPr>
          <a:xfrm>
            <a:off x="356337" y="1690271"/>
            <a:ext cx="3724723" cy="1062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20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problema à validação da jornada: pesquisa científica</a:t>
            </a:r>
            <a:endParaRPr lang="en-ID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Subtitle 176">
            <a:extLst>
              <a:ext uri="{FF2B5EF4-FFF2-40B4-BE49-F238E27FC236}">
                <a16:creationId xmlns:a16="http://schemas.microsoft.com/office/drawing/2014/main" id="{923A0920-1D5A-45B7-8432-87F54B8A8EB6}"/>
              </a:ext>
            </a:extLst>
          </p:cNvPr>
          <p:cNvSpPr txBox="1">
            <a:spLocks/>
          </p:cNvSpPr>
          <p:nvPr/>
        </p:nvSpPr>
        <p:spPr>
          <a:xfrm>
            <a:off x="288626" y="2932561"/>
            <a:ext cx="4135679" cy="23282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onceito de método científico</a:t>
            </a:r>
          </a:p>
          <a:p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hecimento científico</a:t>
            </a:r>
          </a:p>
        </p:txBody>
      </p:sp>
      <p:sp>
        <p:nvSpPr>
          <p:cNvPr id="128" name="Subtitle 176">
            <a:extLst>
              <a:ext uri="{FF2B5EF4-FFF2-40B4-BE49-F238E27FC236}">
                <a16:creationId xmlns:a16="http://schemas.microsoft.com/office/drawing/2014/main" id="{E2381CF6-1DF8-41A9-BFA1-B01A4CF40A23}"/>
              </a:ext>
            </a:extLst>
          </p:cNvPr>
          <p:cNvSpPr txBox="1">
            <a:spLocks/>
          </p:cNvSpPr>
          <p:nvPr/>
        </p:nvSpPr>
        <p:spPr>
          <a:xfrm>
            <a:off x="7574368" y="1832457"/>
            <a:ext cx="3724723" cy="511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2000" b="1" i="1" dirty="0">
                <a:solidFill>
                  <a:srgbClr val="4443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e da gaveta: mostre seu trabalho para o mundo!</a:t>
            </a:r>
            <a:endParaRPr lang="en-ID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Subtitle 176">
            <a:extLst>
              <a:ext uri="{FF2B5EF4-FFF2-40B4-BE49-F238E27FC236}">
                <a16:creationId xmlns:a16="http://schemas.microsoft.com/office/drawing/2014/main" id="{26262762-C9E9-4D24-9DC2-41CCAA1DA29F}"/>
              </a:ext>
            </a:extLst>
          </p:cNvPr>
          <p:cNvSpPr txBox="1">
            <a:spLocks/>
          </p:cNvSpPr>
          <p:nvPr/>
        </p:nvSpPr>
        <p:spPr>
          <a:xfrm>
            <a:off x="7863298" y="4426573"/>
            <a:ext cx="3797173" cy="4054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trabalho científico na instituição de ensino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ção do trabalho científico no mundo acadêmico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pt-BR" sz="1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ilidades para o desenvolvimento do trabalho científico acadêmic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pt-BR" sz="1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715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Tab6gIvxYnYQAjG8v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_gXqyYs.ZS4Ic2xZJJ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QRMCTDWs3JRPdcIUTe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Tab6gIvxYnYQAjG8v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Tab6gIvxYnYQAjG8vB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</TotalTime>
  <Words>735</Words>
  <Application>Microsoft Office PowerPoint</Application>
  <PresentationFormat>Widescreen</PresentationFormat>
  <Paragraphs>117</Paragraphs>
  <Slides>12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Droid Sans</vt:lpstr>
      <vt:lpstr>Ubuntu</vt:lpstr>
      <vt:lpstr>Tema do Office</vt:lpstr>
      <vt:lpstr>think-cell Slide</vt:lpstr>
      <vt:lpstr>Apresentação do PowerPoint</vt:lpstr>
      <vt:lpstr>Responda </vt:lpstr>
      <vt:lpstr>Objetivos:</vt:lpstr>
      <vt:lpstr>Habilidades:</vt:lpstr>
      <vt:lpstr>Diferenciais da nova proposta da disciplina</vt:lpstr>
      <vt:lpstr>Apresentação do PowerPoint</vt:lpstr>
      <vt:lpstr>Unidade 3:</vt:lpstr>
      <vt:lpstr>Unidade 4:</vt:lpstr>
      <vt:lpstr>Unidade 5:</vt:lpstr>
      <vt:lpstr>Apresentação do PowerPoint</vt:lpstr>
      <vt:lpstr>Livro da disciplina</vt:lpstr>
      <vt:lpstr>Atividade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alita Soares</dc:creator>
  <cp:lastModifiedBy>Talita Soares</cp:lastModifiedBy>
  <cp:revision>2</cp:revision>
  <dcterms:created xsi:type="dcterms:W3CDTF">2023-07-25T16:38:21Z</dcterms:created>
  <dcterms:modified xsi:type="dcterms:W3CDTF">2023-07-25T17:42:31Z</dcterms:modified>
</cp:coreProperties>
</file>